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9.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0.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1.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660" r:id="rId4"/>
    <p:sldMasterId id="2147483713" r:id="rId5"/>
    <p:sldMasterId id="2147483831" r:id="rId6"/>
    <p:sldMasterId id="2147483833" r:id="rId7"/>
    <p:sldMasterId id="2147483839" r:id="rId8"/>
    <p:sldMasterId id="2147483844" r:id="rId9"/>
    <p:sldMasterId id="2147483862" r:id="rId10"/>
    <p:sldMasterId id="2147483883" r:id="rId11"/>
    <p:sldMasterId id="2147483901" r:id="rId12"/>
    <p:sldMasterId id="2147483921" r:id="rId13"/>
    <p:sldMasterId id="2147483949" r:id="rId14"/>
    <p:sldMasterId id="2147483961" r:id="rId15"/>
  </p:sldMasterIdLst>
  <p:notesMasterIdLst>
    <p:notesMasterId r:id="rId71"/>
  </p:notesMasterIdLst>
  <p:handoutMasterIdLst>
    <p:handoutMasterId r:id="rId72"/>
  </p:handoutMasterIdLst>
  <p:sldIdLst>
    <p:sldId id="1323" r:id="rId16"/>
    <p:sldId id="256" r:id="rId17"/>
    <p:sldId id="1200" r:id="rId18"/>
    <p:sldId id="266" r:id="rId19"/>
    <p:sldId id="1201" r:id="rId20"/>
    <p:sldId id="286" r:id="rId21"/>
    <p:sldId id="1265" r:id="rId22"/>
    <p:sldId id="1255" r:id="rId23"/>
    <p:sldId id="529" r:id="rId24"/>
    <p:sldId id="531" r:id="rId25"/>
    <p:sldId id="539" r:id="rId26"/>
    <p:sldId id="540" r:id="rId27"/>
    <p:sldId id="538" r:id="rId28"/>
    <p:sldId id="1257" r:id="rId29"/>
    <p:sldId id="1258" r:id="rId30"/>
    <p:sldId id="1334" r:id="rId31"/>
    <p:sldId id="1335" r:id="rId32"/>
    <p:sldId id="1269" r:id="rId33"/>
    <p:sldId id="1266" r:id="rId34"/>
    <p:sldId id="1267" r:id="rId35"/>
    <p:sldId id="1260" r:id="rId36"/>
    <p:sldId id="1336" r:id="rId37"/>
    <p:sldId id="1337" r:id="rId38"/>
    <p:sldId id="1135" r:id="rId39"/>
    <p:sldId id="648" r:id="rId40"/>
    <p:sldId id="1217" r:id="rId41"/>
    <p:sldId id="1333" r:id="rId42"/>
    <p:sldId id="1214" r:id="rId43"/>
    <p:sldId id="1111" r:id="rId44"/>
    <p:sldId id="1331" r:id="rId45"/>
    <p:sldId id="259" r:id="rId46"/>
    <p:sldId id="1330" r:id="rId47"/>
    <p:sldId id="268" r:id="rId48"/>
    <p:sldId id="269" r:id="rId49"/>
    <p:sldId id="1136" r:id="rId50"/>
    <p:sldId id="279" r:id="rId51"/>
    <p:sldId id="1138" r:id="rId52"/>
    <p:sldId id="1324" r:id="rId53"/>
    <p:sldId id="914" r:id="rId54"/>
    <p:sldId id="1329" r:id="rId55"/>
    <p:sldId id="915" r:id="rId56"/>
    <p:sldId id="1309" r:id="rId57"/>
    <p:sldId id="1140" r:id="rId58"/>
    <p:sldId id="1240" r:id="rId59"/>
    <p:sldId id="1241" r:id="rId60"/>
    <p:sldId id="1144" r:id="rId61"/>
    <p:sldId id="1242" r:id="rId62"/>
    <p:sldId id="1145" r:id="rId63"/>
    <p:sldId id="1150" r:id="rId64"/>
    <p:sldId id="1151" r:id="rId65"/>
    <p:sldId id="1300" r:id="rId66"/>
    <p:sldId id="1154" r:id="rId67"/>
    <p:sldId id="260" r:id="rId68"/>
    <p:sldId id="745" r:id="rId69"/>
    <p:sldId id="1202" r:id="rId7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022A349-25CC-4002-92AD-1B4A7269185D}">
          <p14:sldIdLst>
            <p14:sldId id="1323"/>
            <p14:sldId id="256"/>
            <p14:sldId id="1200"/>
            <p14:sldId id="266"/>
            <p14:sldId id="1201"/>
            <p14:sldId id="286"/>
            <p14:sldId id="1265"/>
            <p14:sldId id="1255"/>
            <p14:sldId id="529"/>
            <p14:sldId id="531"/>
            <p14:sldId id="539"/>
            <p14:sldId id="540"/>
            <p14:sldId id="538"/>
            <p14:sldId id="1257"/>
            <p14:sldId id="1258"/>
            <p14:sldId id="1334"/>
            <p14:sldId id="1335"/>
            <p14:sldId id="1269"/>
            <p14:sldId id="1266"/>
            <p14:sldId id="1267"/>
            <p14:sldId id="1260"/>
            <p14:sldId id="1336"/>
            <p14:sldId id="1337"/>
          </p14:sldIdLst>
        </p14:section>
        <p14:section name="Default Section" id="{F83FAB5C-860E-4D4B-ABE7-16AD061686E9}">
          <p14:sldIdLst>
            <p14:sldId id="1135"/>
            <p14:sldId id="648"/>
            <p14:sldId id="1217"/>
            <p14:sldId id="1333"/>
            <p14:sldId id="1214"/>
            <p14:sldId id="1111"/>
            <p14:sldId id="1331"/>
            <p14:sldId id="259"/>
            <p14:sldId id="1330"/>
            <p14:sldId id="268"/>
            <p14:sldId id="269"/>
            <p14:sldId id="1136"/>
            <p14:sldId id="279"/>
            <p14:sldId id="1138"/>
            <p14:sldId id="1324"/>
            <p14:sldId id="914"/>
            <p14:sldId id="1329"/>
            <p14:sldId id="915"/>
            <p14:sldId id="1309"/>
            <p14:sldId id="1140"/>
            <p14:sldId id="1240"/>
            <p14:sldId id="1241"/>
            <p14:sldId id="1144"/>
            <p14:sldId id="1242"/>
            <p14:sldId id="1145"/>
            <p14:sldId id="1150"/>
            <p14:sldId id="1151"/>
            <p14:sldId id="1300"/>
            <p14:sldId id="1154"/>
            <p14:sldId id="260"/>
            <p14:sldId id="745"/>
            <p14:sldId id="120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llen (ESO), Paul J" initials="M(PJ" lastIdx="1" clrIdx="0">
    <p:extLst>
      <p:ext uri="{19B8F6BF-5375-455C-9EA6-DF929625EA0E}">
        <p15:presenceInfo xmlns:p15="http://schemas.microsoft.com/office/powerpoint/2012/main" userId="S-1-5-21-852109325-4236797708-1392725387-123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BF22"/>
    <a:srgbClr val="0079C1"/>
    <a:srgbClr val="FCF3E7"/>
    <a:srgbClr val="C85412"/>
    <a:srgbClr val="E61E84"/>
    <a:srgbClr val="FFCE2C"/>
    <a:srgbClr val="FF5D00"/>
    <a:srgbClr val="20201E"/>
    <a:srgbClr val="6A2C91"/>
    <a:srgbClr val="E75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469B6B-228A-4B08-B188-8A0BB0C00AE4}" v="13" dt="2020-10-29T10:00:10.8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3883" autoAdjust="0"/>
  </p:normalViewPr>
  <p:slideViewPr>
    <p:cSldViewPr snapToGrid="0" snapToObjects="1">
      <p:cViewPr varScale="1">
        <p:scale>
          <a:sx n="60" d="100"/>
          <a:sy n="60" d="100"/>
        </p:scale>
        <p:origin x="812" y="52"/>
      </p:cViewPr>
      <p:guideLst/>
    </p:cSldViewPr>
  </p:slideViewPr>
  <p:notesTextViewPr>
    <p:cViewPr>
      <p:scale>
        <a:sx n="40" d="100"/>
        <a:sy n="40" d="100"/>
      </p:scale>
      <p:origin x="0" y="0"/>
    </p:cViewPr>
  </p:notesTextViewPr>
  <p:sorterViewPr>
    <p:cViewPr>
      <p:scale>
        <a:sx n="66" d="100"/>
        <a:sy n="66" d="100"/>
      </p:scale>
      <p:origin x="0" y="0"/>
    </p:cViewPr>
  </p:sorterViewPr>
  <p:notesViewPr>
    <p:cSldViewPr snapToGrid="0" snapToObject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presProps" Target="presProps.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46.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commentAuthors" Target="commentAuthors.xml"/><Relationship Id="rId78"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llen (ESO), Paul J" userId="bf3d1d73-b4d7-4bb4-8793-c91dcec30622" providerId="ADAL" clId="{D2F2F0B9-7BA9-42FC-8891-843586C76C47}"/>
    <pc:docChg chg="undo redo custSel addSld delSld modSld modSection">
      <pc:chgData name="Mullen (ESO), Paul J" userId="bf3d1d73-b4d7-4bb4-8793-c91dcec30622" providerId="ADAL" clId="{D2F2F0B9-7BA9-42FC-8891-843586C76C47}" dt="2020-10-29T15:16:40.669" v="468" actId="6549"/>
      <pc:docMkLst>
        <pc:docMk/>
      </pc:docMkLst>
      <pc:sldChg chg="add del">
        <pc:chgData name="Mullen (ESO), Paul J" userId="bf3d1d73-b4d7-4bb4-8793-c91dcec30622" providerId="ADAL" clId="{D2F2F0B9-7BA9-42FC-8891-843586C76C47}" dt="2020-10-29T09:59:25.624" v="3" actId="2696"/>
        <pc:sldMkLst>
          <pc:docMk/>
          <pc:sldMk cId="3577702591" sldId="307"/>
        </pc:sldMkLst>
      </pc:sldChg>
      <pc:sldChg chg="modSp add del">
        <pc:chgData name="Mullen (ESO), Paul J" userId="bf3d1d73-b4d7-4bb4-8793-c91dcec30622" providerId="ADAL" clId="{D2F2F0B9-7BA9-42FC-8891-843586C76C47}" dt="2020-10-29T09:59:44.292" v="6" actId="207"/>
        <pc:sldMkLst>
          <pc:docMk/>
          <pc:sldMk cId="2766033195" sldId="529"/>
        </pc:sldMkLst>
        <pc:spChg chg="mod">
          <ac:chgData name="Mullen (ESO), Paul J" userId="bf3d1d73-b4d7-4bb4-8793-c91dcec30622" providerId="ADAL" clId="{D2F2F0B9-7BA9-42FC-8891-843586C76C47}" dt="2020-10-29T09:59:41.026" v="5" actId="207"/>
          <ac:spMkLst>
            <pc:docMk/>
            <pc:sldMk cId="2766033195" sldId="529"/>
            <ac:spMk id="2" creationId="{DF85689A-C375-43FA-9B00-7F6913C5DC6D}"/>
          </ac:spMkLst>
        </pc:spChg>
        <pc:spChg chg="mod">
          <ac:chgData name="Mullen (ESO), Paul J" userId="bf3d1d73-b4d7-4bb4-8793-c91dcec30622" providerId="ADAL" clId="{D2F2F0B9-7BA9-42FC-8891-843586C76C47}" dt="2020-10-29T09:59:44.292" v="6" actId="207"/>
          <ac:spMkLst>
            <pc:docMk/>
            <pc:sldMk cId="2766033195" sldId="529"/>
            <ac:spMk id="10" creationId="{16E55317-8425-4743-803D-B757134B2595}"/>
          </ac:spMkLst>
        </pc:spChg>
      </pc:sldChg>
      <pc:sldChg chg="add del">
        <pc:chgData name="Mullen (ESO), Paul J" userId="bf3d1d73-b4d7-4bb4-8793-c91dcec30622" providerId="ADAL" clId="{D2F2F0B9-7BA9-42FC-8891-843586C76C47}" dt="2020-10-29T09:59:20.781" v="2"/>
        <pc:sldMkLst>
          <pc:docMk/>
          <pc:sldMk cId="3620873025" sldId="531"/>
        </pc:sldMkLst>
      </pc:sldChg>
      <pc:sldChg chg="add del">
        <pc:chgData name="Mullen (ESO), Paul J" userId="bf3d1d73-b4d7-4bb4-8793-c91dcec30622" providerId="ADAL" clId="{D2F2F0B9-7BA9-42FC-8891-843586C76C47}" dt="2020-10-29T10:00:10.848" v="9" actId="2696"/>
        <pc:sldMkLst>
          <pc:docMk/>
          <pc:sldMk cId="2085660321" sldId="536"/>
        </pc:sldMkLst>
      </pc:sldChg>
      <pc:sldChg chg="add del">
        <pc:chgData name="Mullen (ESO), Paul J" userId="bf3d1d73-b4d7-4bb4-8793-c91dcec30622" providerId="ADAL" clId="{D2F2F0B9-7BA9-42FC-8891-843586C76C47}" dt="2020-10-29T09:59:20.781" v="2"/>
        <pc:sldMkLst>
          <pc:docMk/>
          <pc:sldMk cId="527506686" sldId="538"/>
        </pc:sldMkLst>
      </pc:sldChg>
      <pc:sldChg chg="add del">
        <pc:chgData name="Mullen (ESO), Paul J" userId="bf3d1d73-b4d7-4bb4-8793-c91dcec30622" providerId="ADAL" clId="{D2F2F0B9-7BA9-42FC-8891-843586C76C47}" dt="2020-10-29T09:59:20.781" v="2"/>
        <pc:sldMkLst>
          <pc:docMk/>
          <pc:sldMk cId="3741599622" sldId="539"/>
        </pc:sldMkLst>
      </pc:sldChg>
      <pc:sldChg chg="add del">
        <pc:chgData name="Mullen (ESO), Paul J" userId="bf3d1d73-b4d7-4bb4-8793-c91dcec30622" providerId="ADAL" clId="{D2F2F0B9-7BA9-42FC-8891-843586C76C47}" dt="2020-10-29T09:59:20.781" v="2"/>
        <pc:sldMkLst>
          <pc:docMk/>
          <pc:sldMk cId="4095658472" sldId="540"/>
        </pc:sldMkLst>
      </pc:sldChg>
      <pc:sldChg chg="add del">
        <pc:chgData name="Mullen (ESO), Paul J" userId="bf3d1d73-b4d7-4bb4-8793-c91dcec30622" providerId="ADAL" clId="{D2F2F0B9-7BA9-42FC-8891-843586C76C47}" dt="2020-10-29T09:59:54.507" v="8" actId="2696"/>
        <pc:sldMkLst>
          <pc:docMk/>
          <pc:sldMk cId="2864155370" sldId="1259"/>
        </pc:sldMkLst>
      </pc:sldChg>
      <pc:sldChg chg="add">
        <pc:chgData name="Mullen (ESO), Paul J" userId="bf3d1d73-b4d7-4bb4-8793-c91dcec30622" providerId="ADAL" clId="{D2F2F0B9-7BA9-42FC-8891-843586C76C47}" dt="2020-10-29T15:10:44.503" v="30"/>
        <pc:sldMkLst>
          <pc:docMk/>
          <pc:sldMk cId="3420860571" sldId="1260"/>
        </pc:sldMkLst>
      </pc:sldChg>
      <pc:sldChg chg="add">
        <pc:chgData name="Mullen (ESO), Paul J" userId="bf3d1d73-b4d7-4bb4-8793-c91dcec30622" providerId="ADAL" clId="{D2F2F0B9-7BA9-42FC-8891-843586C76C47}" dt="2020-10-29T15:12:34.944" v="217"/>
        <pc:sldMkLst>
          <pc:docMk/>
          <pc:sldMk cId="4010726206" sldId="1266"/>
        </pc:sldMkLst>
      </pc:sldChg>
      <pc:sldChg chg="delSp modSp add">
        <pc:chgData name="Mullen (ESO), Paul J" userId="bf3d1d73-b4d7-4bb4-8793-c91dcec30622" providerId="ADAL" clId="{D2F2F0B9-7BA9-42FC-8891-843586C76C47}" dt="2020-10-29T15:15:10.849" v="302" actId="20577"/>
        <pc:sldMkLst>
          <pc:docMk/>
          <pc:sldMk cId="4124864894" sldId="1267"/>
        </pc:sldMkLst>
        <pc:spChg chg="del mod">
          <ac:chgData name="Mullen (ESO), Paul J" userId="bf3d1d73-b4d7-4bb4-8793-c91dcec30622" providerId="ADAL" clId="{D2F2F0B9-7BA9-42FC-8891-843586C76C47}" dt="2020-10-29T15:13:15.341" v="289"/>
          <ac:spMkLst>
            <pc:docMk/>
            <pc:sldMk cId="4124864894" sldId="1267"/>
            <ac:spMk id="3" creationId="{00000000-0000-0000-0000-000000000000}"/>
          </ac:spMkLst>
        </pc:spChg>
        <pc:graphicFrameChg chg="mod modGraphic">
          <ac:chgData name="Mullen (ESO), Paul J" userId="bf3d1d73-b4d7-4bb4-8793-c91dcec30622" providerId="ADAL" clId="{D2F2F0B9-7BA9-42FC-8891-843586C76C47}" dt="2020-10-29T15:15:10.849" v="302" actId="20577"/>
          <ac:graphicFrameMkLst>
            <pc:docMk/>
            <pc:sldMk cId="4124864894" sldId="1267"/>
            <ac:graphicFrameMk id="5" creationId="{EB3E0D36-08D3-4482-9696-A7549EFFAEC6}"/>
          </ac:graphicFrameMkLst>
        </pc:graphicFrameChg>
      </pc:sldChg>
      <pc:sldChg chg="modSp add">
        <pc:chgData name="Mullen (ESO), Paul J" userId="bf3d1d73-b4d7-4bb4-8793-c91dcec30622" providerId="ADAL" clId="{D2F2F0B9-7BA9-42FC-8891-843586C76C47}" dt="2020-10-29T15:12:54.039" v="285" actId="20577"/>
        <pc:sldMkLst>
          <pc:docMk/>
          <pc:sldMk cId="50496816" sldId="1269"/>
        </pc:sldMkLst>
        <pc:spChg chg="mod">
          <ac:chgData name="Mullen (ESO), Paul J" userId="bf3d1d73-b4d7-4bb4-8793-c91dcec30622" providerId="ADAL" clId="{D2F2F0B9-7BA9-42FC-8891-843586C76C47}" dt="2020-10-29T15:12:54.039" v="285" actId="20577"/>
          <ac:spMkLst>
            <pc:docMk/>
            <pc:sldMk cId="50496816" sldId="1269"/>
            <ac:spMk id="5" creationId="{04682738-B6A1-4A15-9C54-CD1BF3E0C05C}"/>
          </ac:spMkLst>
        </pc:spChg>
      </pc:sldChg>
      <pc:sldChg chg="modSp add">
        <pc:chgData name="Mullen (ESO), Paul J" userId="bf3d1d73-b4d7-4bb4-8793-c91dcec30622" providerId="ADAL" clId="{D2F2F0B9-7BA9-42FC-8891-843586C76C47}" dt="2020-10-29T15:14:08.605" v="295" actId="123"/>
        <pc:sldMkLst>
          <pc:docMk/>
          <pc:sldMk cId="2421481988" sldId="1334"/>
        </pc:sldMkLst>
        <pc:spChg chg="mod">
          <ac:chgData name="Mullen (ESO), Paul J" userId="bf3d1d73-b4d7-4bb4-8793-c91dcec30622" providerId="ADAL" clId="{D2F2F0B9-7BA9-42FC-8891-843586C76C47}" dt="2020-10-29T15:14:08.605" v="295" actId="123"/>
          <ac:spMkLst>
            <pc:docMk/>
            <pc:sldMk cId="2421481988" sldId="1334"/>
            <ac:spMk id="6" creationId="{82E07708-617F-494B-96D2-84F4EF516508}"/>
          </ac:spMkLst>
        </pc:spChg>
      </pc:sldChg>
      <pc:sldChg chg="modSp add">
        <pc:chgData name="Mullen (ESO), Paul J" userId="bf3d1d73-b4d7-4bb4-8793-c91dcec30622" providerId="ADAL" clId="{D2F2F0B9-7BA9-42FC-8891-843586C76C47}" dt="2020-10-29T15:11:54.056" v="216" actId="20577"/>
        <pc:sldMkLst>
          <pc:docMk/>
          <pc:sldMk cId="2932440776" sldId="1335"/>
        </pc:sldMkLst>
        <pc:spChg chg="mod">
          <ac:chgData name="Mullen (ESO), Paul J" userId="bf3d1d73-b4d7-4bb4-8793-c91dcec30622" providerId="ADAL" clId="{D2F2F0B9-7BA9-42FC-8891-843586C76C47}" dt="2020-10-29T15:10:49.757" v="32" actId="20577"/>
          <ac:spMkLst>
            <pc:docMk/>
            <pc:sldMk cId="2932440776" sldId="1335"/>
            <ac:spMk id="4" creationId="{00000000-0000-0000-0000-000000000000}"/>
          </ac:spMkLst>
        </pc:spChg>
        <pc:graphicFrameChg chg="modGraphic">
          <ac:chgData name="Mullen (ESO), Paul J" userId="bf3d1d73-b4d7-4bb4-8793-c91dcec30622" providerId="ADAL" clId="{D2F2F0B9-7BA9-42FC-8891-843586C76C47}" dt="2020-10-29T15:11:54.056" v="216" actId="20577"/>
          <ac:graphicFrameMkLst>
            <pc:docMk/>
            <pc:sldMk cId="2932440776" sldId="1335"/>
            <ac:graphicFrameMk id="5" creationId="{BE571A63-DADC-44E7-B2AC-025B4F43597B}"/>
          </ac:graphicFrameMkLst>
        </pc:graphicFrameChg>
      </pc:sldChg>
      <pc:sldChg chg="add">
        <pc:chgData name="Mullen (ESO), Paul J" userId="bf3d1d73-b4d7-4bb4-8793-c91dcec30622" providerId="ADAL" clId="{D2F2F0B9-7BA9-42FC-8891-843586C76C47}" dt="2020-10-29T15:10:44.503" v="30"/>
        <pc:sldMkLst>
          <pc:docMk/>
          <pc:sldMk cId="3563996236" sldId="1336"/>
        </pc:sldMkLst>
      </pc:sldChg>
      <pc:sldChg chg="modSp add">
        <pc:chgData name="Mullen (ESO), Paul J" userId="bf3d1d73-b4d7-4bb4-8793-c91dcec30622" providerId="ADAL" clId="{D2F2F0B9-7BA9-42FC-8891-843586C76C47}" dt="2020-10-29T15:16:40.669" v="468" actId="6549"/>
        <pc:sldMkLst>
          <pc:docMk/>
          <pc:sldMk cId="1971618869" sldId="1337"/>
        </pc:sldMkLst>
        <pc:spChg chg="mod">
          <ac:chgData name="Mullen (ESO), Paul J" userId="bf3d1d73-b4d7-4bb4-8793-c91dcec30622" providerId="ADAL" clId="{D2F2F0B9-7BA9-42FC-8891-843586C76C47}" dt="2020-10-29T15:16:40.669" v="468" actId="6549"/>
          <ac:spMkLst>
            <pc:docMk/>
            <pc:sldMk cId="1971618869" sldId="1337"/>
            <ac:spMk id="3" creationId="{99958B4C-611D-4232-8E5C-AA2003AE1D79}"/>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2BE603-0F34-465F-9929-BD40BCCABAB0}" type="doc">
      <dgm:prSet loTypeId="urn:microsoft.com/office/officeart/2005/8/layout/hProcess11" loCatId="process" qsTypeId="urn:microsoft.com/office/officeart/2005/8/quickstyle/simple2" qsCatId="simple" csTypeId="urn:microsoft.com/office/officeart/2005/8/colors/accent1_2" csCatId="accent1" phldr="1"/>
      <dgm:spPr/>
    </dgm:pt>
    <dgm:pt modelId="{7CD8E68B-F33A-401B-A0C9-D44E3B7C0223}">
      <dgm:prSet phldrT="[Text]" custT="1"/>
      <dgm:spPr/>
      <dgm:t>
        <a:bodyPr/>
        <a:lstStyle/>
        <a:p>
          <a:r>
            <a:rPr lang="en-GB" sz="1400" b="1">
              <a:latin typeface="Arial" panose="020B0604020202020204" pitchFamily="34" charset="0"/>
              <a:cs typeface="Arial" panose="020B0604020202020204" pitchFamily="34" charset="0"/>
            </a:rPr>
            <a:t>October (total = 2)</a:t>
          </a:r>
        </a:p>
      </dgm:t>
    </dgm:pt>
    <dgm:pt modelId="{F51740B8-621C-41DC-9EC9-642C48BB44BF}" type="parTrans" cxnId="{63F46A82-EC7F-4986-A852-349B88192F87}">
      <dgm:prSet/>
      <dgm:spPr/>
      <dgm:t>
        <a:bodyPr/>
        <a:lstStyle/>
        <a:p>
          <a:endParaRPr lang="en-GB"/>
        </a:p>
      </dgm:t>
    </dgm:pt>
    <dgm:pt modelId="{E913C89F-BC5B-4F5E-86CC-DFBF52C914B2}" type="sibTrans" cxnId="{63F46A82-EC7F-4986-A852-349B88192F87}">
      <dgm:prSet/>
      <dgm:spPr/>
      <dgm:t>
        <a:bodyPr/>
        <a:lstStyle/>
        <a:p>
          <a:endParaRPr lang="en-GB"/>
        </a:p>
      </dgm:t>
    </dgm:pt>
    <dgm:pt modelId="{7946924E-35DC-482B-B9CF-A038DB0A66A8}">
      <dgm:prSet phldrT="[Text]" custT="1"/>
      <dgm:spPr/>
      <dgm:t>
        <a:bodyPr/>
        <a:lstStyle/>
        <a:p>
          <a:r>
            <a:rPr lang="en-GB" sz="1400" b="1" dirty="0">
              <a:latin typeface="Arial" panose="020B0604020202020204" pitchFamily="34" charset="0"/>
              <a:cs typeface="Arial" panose="020B0604020202020204" pitchFamily="34" charset="0"/>
            </a:rPr>
            <a:t>November (total = 4)</a:t>
          </a:r>
        </a:p>
      </dgm:t>
    </dgm:pt>
    <dgm:pt modelId="{36D086F8-6B8B-4A93-88C7-7BE45A648EEF}" type="parTrans" cxnId="{527D1CC6-590E-45B1-98A6-15240EB1E5F5}">
      <dgm:prSet/>
      <dgm:spPr/>
      <dgm:t>
        <a:bodyPr/>
        <a:lstStyle/>
        <a:p>
          <a:endParaRPr lang="en-GB"/>
        </a:p>
      </dgm:t>
    </dgm:pt>
    <dgm:pt modelId="{B1F9C64E-7B5D-464A-8FCC-E97072C504AD}" type="sibTrans" cxnId="{527D1CC6-590E-45B1-98A6-15240EB1E5F5}">
      <dgm:prSet/>
      <dgm:spPr/>
      <dgm:t>
        <a:bodyPr/>
        <a:lstStyle/>
        <a:p>
          <a:endParaRPr lang="en-GB"/>
        </a:p>
      </dgm:t>
    </dgm:pt>
    <dgm:pt modelId="{02A327C0-5D39-40D5-9BEA-B328F530D6E1}">
      <dgm:prSet phldrT="[Text]" custT="1"/>
      <dgm:spPr/>
      <dgm:t>
        <a:bodyPr/>
        <a:lstStyle/>
        <a:p>
          <a:r>
            <a:rPr lang="en-GB" sz="1400" b="0" dirty="0">
              <a:latin typeface="Arial" panose="020B0604020202020204" pitchFamily="34" charset="0"/>
              <a:cs typeface="Arial" panose="020B0604020202020204" pitchFamily="34" charset="0"/>
            </a:rPr>
            <a:t>CMP328 – 19 Nov</a:t>
          </a:r>
        </a:p>
      </dgm:t>
    </dgm:pt>
    <dgm:pt modelId="{DB5AE64D-5D36-4ED9-8221-91364C279755}" type="parTrans" cxnId="{B58280F8-0DE4-4E89-8473-44517059A37D}">
      <dgm:prSet/>
      <dgm:spPr/>
      <dgm:t>
        <a:bodyPr/>
        <a:lstStyle/>
        <a:p>
          <a:endParaRPr lang="en-GB"/>
        </a:p>
      </dgm:t>
    </dgm:pt>
    <dgm:pt modelId="{DEA2181A-4A52-4662-9513-B56C282F18F2}" type="sibTrans" cxnId="{B58280F8-0DE4-4E89-8473-44517059A37D}">
      <dgm:prSet/>
      <dgm:spPr/>
      <dgm:t>
        <a:bodyPr/>
        <a:lstStyle/>
        <a:p>
          <a:endParaRPr lang="en-GB"/>
        </a:p>
      </dgm:t>
    </dgm:pt>
    <dgm:pt modelId="{97C83CD2-B6E5-4DB0-91B0-DE104B7B9FD2}">
      <dgm:prSet custT="1"/>
      <dgm:spPr/>
      <dgm:t>
        <a:bodyPr/>
        <a:lstStyle/>
        <a:p>
          <a:r>
            <a:rPr lang="en-GB" sz="1400">
              <a:latin typeface="Arial" panose="020B0604020202020204" pitchFamily="34" charset="0"/>
              <a:cs typeface="Arial" panose="020B0604020202020204" pitchFamily="34" charset="0"/>
            </a:rPr>
            <a:t>CMP344 – 22 Oct</a:t>
          </a:r>
        </a:p>
      </dgm:t>
    </dgm:pt>
    <dgm:pt modelId="{AE7FC7C0-8CFE-4D6F-918A-991D264515B3}" type="parTrans" cxnId="{6F579381-C94D-438A-A19B-67415A23C0E9}">
      <dgm:prSet/>
      <dgm:spPr/>
      <dgm:t>
        <a:bodyPr/>
        <a:lstStyle/>
        <a:p>
          <a:endParaRPr lang="en-GB"/>
        </a:p>
      </dgm:t>
    </dgm:pt>
    <dgm:pt modelId="{51B929C9-C8DC-40D7-8EA6-E8E30B1E4E25}" type="sibTrans" cxnId="{6F579381-C94D-438A-A19B-67415A23C0E9}">
      <dgm:prSet/>
      <dgm:spPr/>
      <dgm:t>
        <a:bodyPr/>
        <a:lstStyle/>
        <a:p>
          <a:endParaRPr lang="en-GB"/>
        </a:p>
      </dgm:t>
    </dgm:pt>
    <dgm:pt modelId="{13F64CC6-B1C3-4662-B1C4-134F89184727}">
      <dgm:prSet phldrT="[Text]" custT="1"/>
      <dgm:spPr/>
      <dgm:t>
        <a:bodyPr/>
        <a:lstStyle/>
        <a:p>
          <a:r>
            <a:rPr lang="en-GB" sz="1400" b="0" dirty="0">
              <a:latin typeface="Arial" panose="020B0604020202020204" pitchFamily="34" charset="0"/>
              <a:cs typeface="Arial" panose="020B0604020202020204" pitchFamily="34" charset="0"/>
            </a:rPr>
            <a:t>CMP326</a:t>
          </a:r>
        </a:p>
      </dgm:t>
    </dgm:pt>
    <dgm:pt modelId="{848690CF-A026-43F8-A9AB-D2ECA353CC08}" type="parTrans" cxnId="{00DBEF6C-FA99-42A6-994F-0ACF459F7465}">
      <dgm:prSet/>
      <dgm:spPr/>
      <dgm:t>
        <a:bodyPr/>
        <a:lstStyle/>
        <a:p>
          <a:endParaRPr lang="en-GB"/>
        </a:p>
      </dgm:t>
    </dgm:pt>
    <dgm:pt modelId="{D137C667-B68A-460E-9180-84C4EB94E707}" type="sibTrans" cxnId="{00DBEF6C-FA99-42A6-994F-0ACF459F7465}">
      <dgm:prSet/>
      <dgm:spPr/>
      <dgm:t>
        <a:bodyPr/>
        <a:lstStyle/>
        <a:p>
          <a:endParaRPr lang="en-GB"/>
        </a:p>
      </dgm:t>
    </dgm:pt>
    <dgm:pt modelId="{9A753435-7308-4622-9863-9DB855116DCF}">
      <dgm:prSet custT="1"/>
      <dgm:spPr/>
      <dgm:t>
        <a:bodyPr/>
        <a:lstStyle/>
        <a:p>
          <a:r>
            <a:rPr lang="en-GB" sz="1400">
              <a:latin typeface="Arial" panose="020B0604020202020204" pitchFamily="34" charset="0"/>
              <a:cs typeface="Arial" panose="020B0604020202020204" pitchFamily="34" charset="0"/>
            </a:rPr>
            <a:t>CMP328 – 15 Oct</a:t>
          </a:r>
        </a:p>
      </dgm:t>
    </dgm:pt>
    <dgm:pt modelId="{E2C65CCC-9C80-4BA9-86D8-13132F96F32F}" type="parTrans" cxnId="{CA4C8B1C-8B5C-457B-9F63-8C53E9E14A51}">
      <dgm:prSet/>
      <dgm:spPr/>
      <dgm:t>
        <a:bodyPr/>
        <a:lstStyle/>
        <a:p>
          <a:endParaRPr lang="en-GB"/>
        </a:p>
      </dgm:t>
    </dgm:pt>
    <dgm:pt modelId="{7CD8A3A9-6775-42F0-A8F8-98877EC0892F}" type="sibTrans" cxnId="{CA4C8B1C-8B5C-457B-9F63-8C53E9E14A51}">
      <dgm:prSet/>
      <dgm:spPr/>
      <dgm:t>
        <a:bodyPr/>
        <a:lstStyle/>
        <a:p>
          <a:endParaRPr lang="en-GB"/>
        </a:p>
      </dgm:t>
    </dgm:pt>
    <dgm:pt modelId="{B87EBEAC-D713-46B0-8D4F-F0C7C6DA5427}">
      <dgm:prSet phldrT="[Text]" custT="1"/>
      <dgm:spPr/>
      <dgm:t>
        <a:bodyPr/>
        <a:lstStyle/>
        <a:p>
          <a:r>
            <a:rPr lang="en-GB" sz="1400" b="1" dirty="0">
              <a:latin typeface="Arial" panose="020B0604020202020204" pitchFamily="34" charset="0"/>
              <a:cs typeface="Arial" panose="020B0604020202020204" pitchFamily="34" charset="0"/>
            </a:rPr>
            <a:t>December (total = 2)</a:t>
          </a:r>
          <a:endParaRPr lang="en-GB" sz="1400" b="1" dirty="0">
            <a:highlight>
              <a:srgbClr val="FFFF00"/>
            </a:highlight>
            <a:latin typeface="Arial" panose="020B0604020202020204" pitchFamily="34" charset="0"/>
            <a:cs typeface="Arial" panose="020B0604020202020204" pitchFamily="34" charset="0"/>
          </a:endParaRPr>
        </a:p>
      </dgm:t>
    </dgm:pt>
    <dgm:pt modelId="{ADB59348-C9C4-42EB-A2B0-87B3E86B7AEA}" type="parTrans" cxnId="{DA65CDD6-9DFC-4BFB-85C0-39CFAACB55F1}">
      <dgm:prSet/>
      <dgm:spPr/>
      <dgm:t>
        <a:bodyPr/>
        <a:lstStyle/>
        <a:p>
          <a:endParaRPr lang="en-GB"/>
        </a:p>
      </dgm:t>
    </dgm:pt>
    <dgm:pt modelId="{BD7A073A-4872-4C1D-9980-843DF5A2B8AE}" type="sibTrans" cxnId="{DA65CDD6-9DFC-4BFB-85C0-39CFAACB55F1}">
      <dgm:prSet/>
      <dgm:spPr/>
      <dgm:t>
        <a:bodyPr/>
        <a:lstStyle/>
        <a:p>
          <a:endParaRPr lang="en-GB"/>
        </a:p>
      </dgm:t>
    </dgm:pt>
    <dgm:pt modelId="{00A5B285-5C81-47D4-8980-415D94DC31F2}">
      <dgm:prSet phldrT="[Text]" custT="1"/>
      <dgm:spPr/>
      <dgm:t>
        <a:bodyPr/>
        <a:lstStyle/>
        <a:p>
          <a:r>
            <a:rPr lang="en-GB" sz="1400" b="1" dirty="0">
              <a:latin typeface="Arial" panose="020B0604020202020204" pitchFamily="34" charset="0"/>
              <a:cs typeface="Arial" panose="020B0604020202020204" pitchFamily="34" charset="0"/>
            </a:rPr>
            <a:t>January (total = 4)</a:t>
          </a:r>
        </a:p>
      </dgm:t>
    </dgm:pt>
    <dgm:pt modelId="{5E11A762-0E12-481F-8BA3-68A39ACABD4F}" type="parTrans" cxnId="{04412C78-2C3C-496B-8824-6A94150F0A9B}">
      <dgm:prSet/>
      <dgm:spPr/>
      <dgm:t>
        <a:bodyPr/>
        <a:lstStyle/>
        <a:p>
          <a:endParaRPr lang="en-GB"/>
        </a:p>
      </dgm:t>
    </dgm:pt>
    <dgm:pt modelId="{6ED76270-41DD-442A-B73F-CE7C53B37D99}" type="sibTrans" cxnId="{04412C78-2C3C-496B-8824-6A94150F0A9B}">
      <dgm:prSet/>
      <dgm:spPr/>
      <dgm:t>
        <a:bodyPr/>
        <a:lstStyle/>
        <a:p>
          <a:endParaRPr lang="en-GB"/>
        </a:p>
      </dgm:t>
    </dgm:pt>
    <dgm:pt modelId="{9CFF7B1A-E735-4AB1-9DC1-66B67A9E3FC0}">
      <dgm:prSet phldrT="[Text]" custT="1"/>
      <dgm:spPr/>
      <dgm:t>
        <a:bodyPr/>
        <a:lstStyle/>
        <a:p>
          <a:r>
            <a:rPr lang="en-GB" sz="1400" b="0" dirty="0">
              <a:latin typeface="Arial" panose="020B0604020202020204" pitchFamily="34" charset="0"/>
              <a:cs typeface="Arial" panose="020B0604020202020204" pitchFamily="34" charset="0"/>
            </a:rPr>
            <a:t>CMP326</a:t>
          </a:r>
        </a:p>
      </dgm:t>
    </dgm:pt>
    <dgm:pt modelId="{8E5C4F12-2D3E-460A-A34D-73FBC2C02937}" type="parTrans" cxnId="{6CCF4A2C-CB48-48EF-9B4E-A1ADF96C2F5F}">
      <dgm:prSet/>
      <dgm:spPr/>
      <dgm:t>
        <a:bodyPr/>
        <a:lstStyle/>
        <a:p>
          <a:endParaRPr lang="en-GB"/>
        </a:p>
      </dgm:t>
    </dgm:pt>
    <dgm:pt modelId="{43BA23C6-3B8B-4112-8B70-9A38A8B42E67}" type="sibTrans" cxnId="{6CCF4A2C-CB48-48EF-9B4E-A1ADF96C2F5F}">
      <dgm:prSet/>
      <dgm:spPr/>
      <dgm:t>
        <a:bodyPr/>
        <a:lstStyle/>
        <a:p>
          <a:endParaRPr lang="en-GB"/>
        </a:p>
      </dgm:t>
    </dgm:pt>
    <dgm:pt modelId="{5E0955CE-5E9C-4BAB-B63A-F673E2FEC894}">
      <dgm:prSet phldrT="[Text]" custT="1"/>
      <dgm:spPr/>
      <dgm:t>
        <a:bodyPr/>
        <a:lstStyle/>
        <a:p>
          <a:r>
            <a:rPr lang="en-GB" sz="1400" b="0">
              <a:latin typeface="Arial" panose="020B0604020202020204" pitchFamily="34" charset="0"/>
              <a:cs typeface="Arial" panose="020B0604020202020204" pitchFamily="34" charset="0"/>
            </a:rPr>
            <a:t>CMP328 x 2</a:t>
          </a:r>
          <a:endParaRPr lang="en-GB" sz="1400" b="1">
            <a:latin typeface="Arial" panose="020B0604020202020204" pitchFamily="34" charset="0"/>
            <a:cs typeface="Arial" panose="020B0604020202020204" pitchFamily="34" charset="0"/>
          </a:endParaRPr>
        </a:p>
      </dgm:t>
    </dgm:pt>
    <dgm:pt modelId="{A0A7733E-4E0A-4DE6-9499-799F911EB8F2}" type="parTrans" cxnId="{1D9FAC79-B0BF-459F-BA26-93229BB4DAC5}">
      <dgm:prSet/>
      <dgm:spPr/>
      <dgm:t>
        <a:bodyPr/>
        <a:lstStyle/>
        <a:p>
          <a:endParaRPr lang="en-GB"/>
        </a:p>
      </dgm:t>
    </dgm:pt>
    <dgm:pt modelId="{E4B46969-BCA5-4324-AB32-77D91485D119}" type="sibTrans" cxnId="{1D9FAC79-B0BF-459F-BA26-93229BB4DAC5}">
      <dgm:prSet/>
      <dgm:spPr/>
      <dgm:t>
        <a:bodyPr/>
        <a:lstStyle/>
        <a:p>
          <a:endParaRPr lang="en-GB"/>
        </a:p>
      </dgm:t>
    </dgm:pt>
    <dgm:pt modelId="{AED3A7F7-2CA9-4A2D-ABC0-076FA91B3DFB}">
      <dgm:prSet phldrT="[Text]" custT="1"/>
      <dgm:spPr/>
      <dgm:t>
        <a:bodyPr/>
        <a:lstStyle/>
        <a:p>
          <a:r>
            <a:rPr lang="en-GB" sz="1400" b="0" dirty="0">
              <a:latin typeface="Arial" panose="020B0604020202020204" pitchFamily="34" charset="0"/>
              <a:cs typeface="Arial" panose="020B0604020202020204" pitchFamily="34" charset="0"/>
            </a:rPr>
            <a:t>CMP326</a:t>
          </a:r>
        </a:p>
      </dgm:t>
    </dgm:pt>
    <dgm:pt modelId="{56F83A3D-9778-4B38-947E-03901EA0DFF9}" type="parTrans" cxnId="{BFE4820F-7B7C-4976-9496-3C7B96BA1C00}">
      <dgm:prSet/>
      <dgm:spPr/>
      <dgm:t>
        <a:bodyPr/>
        <a:lstStyle/>
        <a:p>
          <a:endParaRPr lang="en-GB"/>
        </a:p>
      </dgm:t>
    </dgm:pt>
    <dgm:pt modelId="{2E66AFBE-0D8D-461E-AD88-C191A4E35530}" type="sibTrans" cxnId="{BFE4820F-7B7C-4976-9496-3C7B96BA1C00}">
      <dgm:prSet/>
      <dgm:spPr/>
      <dgm:t>
        <a:bodyPr/>
        <a:lstStyle/>
        <a:p>
          <a:endParaRPr lang="en-GB"/>
        </a:p>
      </dgm:t>
    </dgm:pt>
    <dgm:pt modelId="{9F2D48FD-4B5F-4EF1-9BC6-06370A5BCEE8}">
      <dgm:prSet phldrT="[Text]" custT="1"/>
      <dgm:spPr/>
      <dgm:t>
        <a:bodyPr/>
        <a:lstStyle/>
        <a:p>
          <a:r>
            <a:rPr lang="en-GB" sz="1400" b="0" dirty="0">
              <a:latin typeface="Arial" panose="020B0604020202020204" pitchFamily="34" charset="0"/>
              <a:cs typeface="Arial" panose="020B0604020202020204" pitchFamily="34" charset="0"/>
            </a:rPr>
            <a:t>CMP344 </a:t>
          </a:r>
        </a:p>
      </dgm:t>
    </dgm:pt>
    <dgm:pt modelId="{29804BCF-77DD-4630-B3A8-00E61C95AB78}" type="parTrans" cxnId="{3D30577F-7FB3-4081-9D32-968878C08AB8}">
      <dgm:prSet/>
      <dgm:spPr/>
      <dgm:t>
        <a:bodyPr/>
        <a:lstStyle/>
        <a:p>
          <a:endParaRPr lang="en-GB"/>
        </a:p>
      </dgm:t>
    </dgm:pt>
    <dgm:pt modelId="{E9F1FDAF-24BB-49C0-8C32-AAE39151FAA9}" type="sibTrans" cxnId="{3D30577F-7FB3-4081-9D32-968878C08AB8}">
      <dgm:prSet/>
      <dgm:spPr/>
      <dgm:t>
        <a:bodyPr/>
        <a:lstStyle/>
        <a:p>
          <a:endParaRPr lang="en-GB"/>
        </a:p>
      </dgm:t>
    </dgm:pt>
    <dgm:pt modelId="{D68B3B25-86C3-4FCE-BF11-7EE3D12B0A88}">
      <dgm:prSet phldrT="[Text]" custT="1"/>
      <dgm:spPr/>
      <dgm:t>
        <a:bodyPr/>
        <a:lstStyle/>
        <a:p>
          <a:r>
            <a:rPr lang="en-GB" sz="1400" b="0" dirty="0">
              <a:latin typeface="Arial" panose="020B0604020202020204" pitchFamily="34" charset="0"/>
              <a:cs typeface="Arial" panose="020B0604020202020204" pitchFamily="34" charset="0"/>
            </a:rPr>
            <a:t>CMP330</a:t>
          </a:r>
        </a:p>
      </dgm:t>
    </dgm:pt>
    <dgm:pt modelId="{476D317E-4CF3-4DAF-9A3B-3802BF3EE303}" type="parTrans" cxnId="{77E460BF-6645-443E-A929-65F25968A99F}">
      <dgm:prSet/>
      <dgm:spPr/>
      <dgm:t>
        <a:bodyPr/>
        <a:lstStyle/>
        <a:p>
          <a:endParaRPr lang="en-GB"/>
        </a:p>
      </dgm:t>
    </dgm:pt>
    <dgm:pt modelId="{8C97F92A-E225-4F8D-93A8-4DA19D3A2D80}" type="sibTrans" cxnId="{77E460BF-6645-443E-A929-65F25968A99F}">
      <dgm:prSet/>
      <dgm:spPr/>
      <dgm:t>
        <a:bodyPr/>
        <a:lstStyle/>
        <a:p>
          <a:endParaRPr lang="en-GB"/>
        </a:p>
      </dgm:t>
    </dgm:pt>
    <dgm:pt modelId="{94C9ED6A-3561-40F9-A193-1F9CDE3DC138}">
      <dgm:prSet phldrT="[Text]" custT="1"/>
      <dgm:spPr/>
      <dgm:t>
        <a:bodyPr/>
        <a:lstStyle/>
        <a:p>
          <a:r>
            <a:rPr lang="en-GB" sz="1400" b="0" dirty="0">
              <a:latin typeface="Arial" panose="020B0604020202020204" pitchFamily="34" charset="0"/>
              <a:cs typeface="Arial" panose="020B0604020202020204" pitchFamily="34" charset="0"/>
            </a:rPr>
            <a:t>CMP330 </a:t>
          </a:r>
        </a:p>
      </dgm:t>
    </dgm:pt>
    <dgm:pt modelId="{C57B0ED0-21EE-4E89-9E4A-408877D746BE}" type="parTrans" cxnId="{8232123A-7491-41C7-89A5-873C990311AD}">
      <dgm:prSet/>
      <dgm:spPr/>
      <dgm:t>
        <a:bodyPr/>
        <a:lstStyle/>
        <a:p>
          <a:endParaRPr lang="en-GB"/>
        </a:p>
      </dgm:t>
    </dgm:pt>
    <dgm:pt modelId="{BC101725-4B2D-4BEB-B6F9-51479AF210B0}" type="sibTrans" cxnId="{8232123A-7491-41C7-89A5-873C990311AD}">
      <dgm:prSet/>
      <dgm:spPr/>
      <dgm:t>
        <a:bodyPr/>
        <a:lstStyle/>
        <a:p>
          <a:endParaRPr lang="en-GB"/>
        </a:p>
      </dgm:t>
    </dgm:pt>
    <dgm:pt modelId="{06F5E050-776E-4C83-960A-6EB5572C988B}">
      <dgm:prSet phldrT="[Text]" custT="1"/>
      <dgm:spPr/>
      <dgm:t>
        <a:bodyPr/>
        <a:lstStyle/>
        <a:p>
          <a:r>
            <a:rPr lang="en-GB" sz="1400" b="0" dirty="0">
              <a:latin typeface="Arial" panose="020B0604020202020204" pitchFamily="34" charset="0"/>
              <a:cs typeface="Arial" panose="020B0604020202020204" pitchFamily="34" charset="0"/>
            </a:rPr>
            <a:t>CMP330 – 9 Nov</a:t>
          </a:r>
        </a:p>
      </dgm:t>
    </dgm:pt>
    <dgm:pt modelId="{3CDC9037-EA02-44A8-B0A6-FB388978CCF6}" type="parTrans" cxnId="{4C324690-98F9-40E0-8BE2-9B6F45A4A7C2}">
      <dgm:prSet/>
      <dgm:spPr/>
    </dgm:pt>
    <dgm:pt modelId="{15D2887E-D363-4390-B33D-65262B645DC9}" type="sibTrans" cxnId="{4C324690-98F9-40E0-8BE2-9B6F45A4A7C2}">
      <dgm:prSet/>
      <dgm:spPr/>
    </dgm:pt>
    <dgm:pt modelId="{8AF3F1BA-5969-43C5-8BFB-077865A2A651}" type="pres">
      <dgm:prSet presAssocID="{B32BE603-0F34-465F-9929-BD40BCCABAB0}" presName="Name0" presStyleCnt="0">
        <dgm:presLayoutVars>
          <dgm:dir/>
          <dgm:resizeHandles val="exact"/>
        </dgm:presLayoutVars>
      </dgm:prSet>
      <dgm:spPr/>
    </dgm:pt>
    <dgm:pt modelId="{B3A7A256-5718-40C6-8433-A6EB731A366A}" type="pres">
      <dgm:prSet presAssocID="{B32BE603-0F34-465F-9929-BD40BCCABAB0}" presName="arrow" presStyleLbl="bgShp" presStyleIdx="0" presStyleCnt="1" custLinFactNeighborX="1222" custLinFactNeighborY="-2678"/>
      <dgm:spPr>
        <a:solidFill>
          <a:schemeClr val="accent2">
            <a:lumMod val="20000"/>
            <a:lumOff val="80000"/>
          </a:schemeClr>
        </a:solidFill>
      </dgm:spPr>
    </dgm:pt>
    <dgm:pt modelId="{7C29544A-5B95-4706-92CC-754F2DA6E449}" type="pres">
      <dgm:prSet presAssocID="{B32BE603-0F34-465F-9929-BD40BCCABAB0}" presName="points" presStyleCnt="0"/>
      <dgm:spPr/>
    </dgm:pt>
    <dgm:pt modelId="{0185B372-A865-41D7-B541-AFC8836DFC9A}" type="pres">
      <dgm:prSet presAssocID="{7CD8E68B-F33A-401B-A0C9-D44E3B7C0223}" presName="compositeA" presStyleCnt="0"/>
      <dgm:spPr/>
    </dgm:pt>
    <dgm:pt modelId="{4A25DB10-2F4C-4C3B-AA90-89AF5060E07D}" type="pres">
      <dgm:prSet presAssocID="{7CD8E68B-F33A-401B-A0C9-D44E3B7C0223}" presName="textA" presStyleLbl="revTx" presStyleIdx="0" presStyleCnt="4">
        <dgm:presLayoutVars>
          <dgm:bulletEnabled val="1"/>
        </dgm:presLayoutVars>
      </dgm:prSet>
      <dgm:spPr/>
    </dgm:pt>
    <dgm:pt modelId="{8AE41372-5572-4388-9231-36AAD5ACA36E}" type="pres">
      <dgm:prSet presAssocID="{7CD8E68B-F33A-401B-A0C9-D44E3B7C0223}" presName="circleA" presStyleLbl="node1" presStyleIdx="0" presStyleCnt="4"/>
      <dgm:spPr/>
    </dgm:pt>
    <dgm:pt modelId="{951C5A10-AC1A-4AC7-8164-6DB98D4CDACB}" type="pres">
      <dgm:prSet presAssocID="{7CD8E68B-F33A-401B-A0C9-D44E3B7C0223}" presName="spaceA" presStyleCnt="0"/>
      <dgm:spPr/>
    </dgm:pt>
    <dgm:pt modelId="{90FCDAF3-7D98-4A66-A21F-19E4A3DA3220}" type="pres">
      <dgm:prSet presAssocID="{E913C89F-BC5B-4F5E-86CC-DFBF52C914B2}" presName="space" presStyleCnt="0"/>
      <dgm:spPr/>
    </dgm:pt>
    <dgm:pt modelId="{C7C88924-A533-4E4E-870E-843F0320098C}" type="pres">
      <dgm:prSet presAssocID="{7946924E-35DC-482B-B9CF-A038DB0A66A8}" presName="compositeB" presStyleCnt="0"/>
      <dgm:spPr/>
    </dgm:pt>
    <dgm:pt modelId="{6AAEE0BF-62A0-4AB9-BC30-D04FDFC2161F}" type="pres">
      <dgm:prSet presAssocID="{7946924E-35DC-482B-B9CF-A038DB0A66A8}" presName="textB" presStyleLbl="revTx" presStyleIdx="1" presStyleCnt="4">
        <dgm:presLayoutVars>
          <dgm:bulletEnabled val="1"/>
        </dgm:presLayoutVars>
      </dgm:prSet>
      <dgm:spPr/>
    </dgm:pt>
    <dgm:pt modelId="{4BBF6B8C-40B0-4B3E-A5A2-D53892D18E0A}" type="pres">
      <dgm:prSet presAssocID="{7946924E-35DC-482B-B9CF-A038DB0A66A8}" presName="circleB" presStyleLbl="node1" presStyleIdx="1" presStyleCnt="4"/>
      <dgm:spPr/>
    </dgm:pt>
    <dgm:pt modelId="{92B6186E-9DCE-4E8C-8F66-42B37307CE68}" type="pres">
      <dgm:prSet presAssocID="{7946924E-35DC-482B-B9CF-A038DB0A66A8}" presName="spaceB" presStyleCnt="0"/>
      <dgm:spPr/>
    </dgm:pt>
    <dgm:pt modelId="{7C758041-A742-4873-9968-78A992B662C7}" type="pres">
      <dgm:prSet presAssocID="{B1F9C64E-7B5D-464A-8FCC-E97072C504AD}" presName="space" presStyleCnt="0"/>
      <dgm:spPr/>
    </dgm:pt>
    <dgm:pt modelId="{D47E8A28-8035-4CEC-95E1-78F8EA5704B3}" type="pres">
      <dgm:prSet presAssocID="{B87EBEAC-D713-46B0-8D4F-F0C7C6DA5427}" presName="compositeA" presStyleCnt="0"/>
      <dgm:spPr/>
    </dgm:pt>
    <dgm:pt modelId="{39B3DF8F-3146-4AC4-A9CB-370E50AD8E4A}" type="pres">
      <dgm:prSet presAssocID="{B87EBEAC-D713-46B0-8D4F-F0C7C6DA5427}" presName="textA" presStyleLbl="revTx" presStyleIdx="2" presStyleCnt="4">
        <dgm:presLayoutVars>
          <dgm:bulletEnabled val="1"/>
        </dgm:presLayoutVars>
      </dgm:prSet>
      <dgm:spPr/>
    </dgm:pt>
    <dgm:pt modelId="{18968397-735A-4549-9EAF-295BEED424FB}" type="pres">
      <dgm:prSet presAssocID="{B87EBEAC-D713-46B0-8D4F-F0C7C6DA5427}" presName="circleA" presStyleLbl="node1" presStyleIdx="2" presStyleCnt="4"/>
      <dgm:spPr/>
    </dgm:pt>
    <dgm:pt modelId="{66C31E1E-21AE-4F70-ACF3-3FF52C7EBB29}" type="pres">
      <dgm:prSet presAssocID="{B87EBEAC-D713-46B0-8D4F-F0C7C6DA5427}" presName="spaceA" presStyleCnt="0"/>
      <dgm:spPr/>
    </dgm:pt>
    <dgm:pt modelId="{1B957F79-50DE-46B5-81F0-0961450175E7}" type="pres">
      <dgm:prSet presAssocID="{BD7A073A-4872-4C1D-9980-843DF5A2B8AE}" presName="space" presStyleCnt="0"/>
      <dgm:spPr/>
    </dgm:pt>
    <dgm:pt modelId="{AB016DB6-C15F-4E19-A51F-8221F7CC0F20}" type="pres">
      <dgm:prSet presAssocID="{00A5B285-5C81-47D4-8980-415D94DC31F2}" presName="compositeB" presStyleCnt="0"/>
      <dgm:spPr/>
    </dgm:pt>
    <dgm:pt modelId="{B10AC0D2-9941-46BD-9698-C56DE4899E91}" type="pres">
      <dgm:prSet presAssocID="{00A5B285-5C81-47D4-8980-415D94DC31F2}" presName="textB" presStyleLbl="revTx" presStyleIdx="3" presStyleCnt="4">
        <dgm:presLayoutVars>
          <dgm:bulletEnabled val="1"/>
        </dgm:presLayoutVars>
      </dgm:prSet>
      <dgm:spPr/>
    </dgm:pt>
    <dgm:pt modelId="{E2356E44-6BD3-48A8-89B4-FB01A69F1D14}" type="pres">
      <dgm:prSet presAssocID="{00A5B285-5C81-47D4-8980-415D94DC31F2}" presName="circleB" presStyleLbl="node1" presStyleIdx="3" presStyleCnt="4"/>
      <dgm:spPr/>
    </dgm:pt>
    <dgm:pt modelId="{0D7BE910-1062-469A-B831-828F573CFEE5}" type="pres">
      <dgm:prSet presAssocID="{00A5B285-5C81-47D4-8980-415D94DC31F2}" presName="spaceB" presStyleCnt="0"/>
      <dgm:spPr/>
    </dgm:pt>
  </dgm:ptLst>
  <dgm:cxnLst>
    <dgm:cxn modelId="{CCD03D04-5B65-4F36-9464-053C5ACBD0CF}" type="presOf" srcId="{9A753435-7308-4622-9863-9DB855116DCF}" destId="{4A25DB10-2F4C-4C3B-AA90-89AF5060E07D}" srcOrd="0" destOrd="1" presId="urn:microsoft.com/office/officeart/2005/8/layout/hProcess11"/>
    <dgm:cxn modelId="{BFE4820F-7B7C-4976-9496-3C7B96BA1C00}" srcId="{00A5B285-5C81-47D4-8980-415D94DC31F2}" destId="{AED3A7F7-2CA9-4A2D-ABC0-076FA91B3DFB}" srcOrd="1" destOrd="0" parTransId="{56F83A3D-9778-4B38-947E-03901EA0DFF9}" sibTransId="{2E66AFBE-0D8D-461E-AD88-C191A4E35530}"/>
    <dgm:cxn modelId="{3D888A16-FEB8-40B5-BE3E-DAE5164B58E9}" type="presOf" srcId="{AED3A7F7-2CA9-4A2D-ABC0-076FA91B3DFB}" destId="{B10AC0D2-9941-46BD-9698-C56DE4899E91}" srcOrd="0" destOrd="2" presId="urn:microsoft.com/office/officeart/2005/8/layout/hProcess11"/>
    <dgm:cxn modelId="{CA4C8B1C-8B5C-457B-9F63-8C53E9E14A51}" srcId="{7CD8E68B-F33A-401B-A0C9-D44E3B7C0223}" destId="{9A753435-7308-4622-9863-9DB855116DCF}" srcOrd="0" destOrd="0" parTransId="{E2C65CCC-9C80-4BA9-86D8-13132F96F32F}" sibTransId="{7CD8A3A9-6775-42F0-A8F8-98877EC0892F}"/>
    <dgm:cxn modelId="{6CCF4A2C-CB48-48EF-9B4E-A1ADF96C2F5F}" srcId="{B87EBEAC-D713-46B0-8D4F-F0C7C6DA5427}" destId="{9CFF7B1A-E735-4AB1-9DC1-66B67A9E3FC0}" srcOrd="0" destOrd="0" parTransId="{8E5C4F12-2D3E-460A-A34D-73FBC2C02937}" sibTransId="{43BA23C6-3B8B-4112-8B70-9A38A8B42E67}"/>
    <dgm:cxn modelId="{8232123A-7491-41C7-89A5-873C990311AD}" srcId="{00A5B285-5C81-47D4-8980-415D94DC31F2}" destId="{94C9ED6A-3561-40F9-A193-1F9CDE3DC138}" srcOrd="2" destOrd="0" parTransId="{C57B0ED0-21EE-4E89-9E4A-408877D746BE}" sibTransId="{BC101725-4B2D-4BEB-B6F9-51479AF210B0}"/>
    <dgm:cxn modelId="{DDCC2C5D-445C-4CA5-B0BC-074DE15BABC2}" type="presOf" srcId="{5E0955CE-5E9C-4BAB-B63A-F673E2FEC894}" destId="{B10AC0D2-9941-46BD-9698-C56DE4899E91}" srcOrd="0" destOrd="1" presId="urn:microsoft.com/office/officeart/2005/8/layout/hProcess11"/>
    <dgm:cxn modelId="{6BD26643-F797-4E3E-BD80-3F70E57BE6C6}" type="presOf" srcId="{97C83CD2-B6E5-4DB0-91B0-DE104B7B9FD2}" destId="{4A25DB10-2F4C-4C3B-AA90-89AF5060E07D}" srcOrd="0" destOrd="2" presId="urn:microsoft.com/office/officeart/2005/8/layout/hProcess11"/>
    <dgm:cxn modelId="{8B435363-C935-46E5-8901-60B7880D4DFF}" type="presOf" srcId="{7946924E-35DC-482B-B9CF-A038DB0A66A8}" destId="{6AAEE0BF-62A0-4AB9-BC30-D04FDFC2161F}" srcOrd="0" destOrd="0" presId="urn:microsoft.com/office/officeart/2005/8/layout/hProcess11"/>
    <dgm:cxn modelId="{00DBEF6C-FA99-42A6-994F-0ACF459F7465}" srcId="{7946924E-35DC-482B-B9CF-A038DB0A66A8}" destId="{13F64CC6-B1C3-4662-B1C4-134F89184727}" srcOrd="3" destOrd="0" parTransId="{848690CF-A026-43F8-A9AB-D2ECA353CC08}" sibTransId="{D137C667-B68A-460E-9180-84C4EB94E707}"/>
    <dgm:cxn modelId="{B9FF6055-3869-4714-A7F8-4E616170F486}" type="presOf" srcId="{94C9ED6A-3561-40F9-A193-1F9CDE3DC138}" destId="{B10AC0D2-9941-46BD-9698-C56DE4899E91}" srcOrd="0" destOrd="3" presId="urn:microsoft.com/office/officeart/2005/8/layout/hProcess11"/>
    <dgm:cxn modelId="{DACF1677-0474-491C-8A8C-670B45168495}" type="presOf" srcId="{9F2D48FD-4B5F-4EF1-9BC6-06370A5BCEE8}" destId="{6AAEE0BF-62A0-4AB9-BC30-D04FDFC2161F}" srcOrd="0" destOrd="3" presId="urn:microsoft.com/office/officeart/2005/8/layout/hProcess11"/>
    <dgm:cxn modelId="{04412C78-2C3C-496B-8824-6A94150F0A9B}" srcId="{B32BE603-0F34-465F-9929-BD40BCCABAB0}" destId="{00A5B285-5C81-47D4-8980-415D94DC31F2}" srcOrd="3" destOrd="0" parTransId="{5E11A762-0E12-481F-8BA3-68A39ACABD4F}" sibTransId="{6ED76270-41DD-442A-B73F-CE7C53B37D99}"/>
    <dgm:cxn modelId="{1D9FAC79-B0BF-459F-BA26-93229BB4DAC5}" srcId="{00A5B285-5C81-47D4-8980-415D94DC31F2}" destId="{5E0955CE-5E9C-4BAB-B63A-F673E2FEC894}" srcOrd="0" destOrd="0" parTransId="{A0A7733E-4E0A-4DE6-9499-799F911EB8F2}" sibTransId="{E4B46969-BCA5-4324-AB32-77D91485D119}"/>
    <dgm:cxn modelId="{F207017B-D601-4D89-9703-FB2686812AE5}" type="presOf" srcId="{13F64CC6-B1C3-4662-B1C4-134F89184727}" destId="{6AAEE0BF-62A0-4AB9-BC30-D04FDFC2161F}" srcOrd="0" destOrd="4" presId="urn:microsoft.com/office/officeart/2005/8/layout/hProcess11"/>
    <dgm:cxn modelId="{3D30577F-7FB3-4081-9D32-968878C08AB8}" srcId="{7946924E-35DC-482B-B9CF-A038DB0A66A8}" destId="{9F2D48FD-4B5F-4EF1-9BC6-06370A5BCEE8}" srcOrd="2" destOrd="0" parTransId="{29804BCF-77DD-4630-B3A8-00E61C95AB78}" sibTransId="{E9F1FDAF-24BB-49C0-8C32-AAE39151FAA9}"/>
    <dgm:cxn modelId="{6F579381-C94D-438A-A19B-67415A23C0E9}" srcId="{7CD8E68B-F33A-401B-A0C9-D44E3B7C0223}" destId="{97C83CD2-B6E5-4DB0-91B0-DE104B7B9FD2}" srcOrd="1" destOrd="0" parTransId="{AE7FC7C0-8CFE-4D6F-918A-991D264515B3}" sibTransId="{51B929C9-C8DC-40D7-8EA6-E8E30B1E4E25}"/>
    <dgm:cxn modelId="{63F46A82-EC7F-4986-A852-349B88192F87}" srcId="{B32BE603-0F34-465F-9929-BD40BCCABAB0}" destId="{7CD8E68B-F33A-401B-A0C9-D44E3B7C0223}" srcOrd="0" destOrd="0" parTransId="{F51740B8-621C-41DC-9EC9-642C48BB44BF}" sibTransId="{E913C89F-BC5B-4F5E-86CC-DFBF52C914B2}"/>
    <dgm:cxn modelId="{CF7CB08B-EB90-4E36-A720-905E6716E374}" type="presOf" srcId="{B32BE603-0F34-465F-9929-BD40BCCABAB0}" destId="{8AF3F1BA-5969-43C5-8BFB-077865A2A651}" srcOrd="0" destOrd="0" presId="urn:microsoft.com/office/officeart/2005/8/layout/hProcess11"/>
    <dgm:cxn modelId="{4C324690-98F9-40E0-8BE2-9B6F45A4A7C2}" srcId="{7946924E-35DC-482B-B9CF-A038DB0A66A8}" destId="{06F5E050-776E-4C83-960A-6EB5572C988B}" srcOrd="0" destOrd="0" parTransId="{3CDC9037-EA02-44A8-B0A6-FB388978CCF6}" sibTransId="{15D2887E-D363-4390-B33D-65262B645DC9}"/>
    <dgm:cxn modelId="{8876AFB7-D237-442E-A811-C4553C3691DF}" type="presOf" srcId="{02A327C0-5D39-40D5-9BEA-B328F530D6E1}" destId="{6AAEE0BF-62A0-4AB9-BC30-D04FDFC2161F}" srcOrd="0" destOrd="2" presId="urn:microsoft.com/office/officeart/2005/8/layout/hProcess11"/>
    <dgm:cxn modelId="{77E460BF-6645-443E-A929-65F25968A99F}" srcId="{B87EBEAC-D713-46B0-8D4F-F0C7C6DA5427}" destId="{D68B3B25-86C3-4FCE-BF11-7EE3D12B0A88}" srcOrd="1" destOrd="0" parTransId="{476D317E-4CF3-4DAF-9A3B-3802BF3EE303}" sibTransId="{8C97F92A-E225-4F8D-93A8-4DA19D3A2D80}"/>
    <dgm:cxn modelId="{527D1CC6-590E-45B1-98A6-15240EB1E5F5}" srcId="{B32BE603-0F34-465F-9929-BD40BCCABAB0}" destId="{7946924E-35DC-482B-B9CF-A038DB0A66A8}" srcOrd="1" destOrd="0" parTransId="{36D086F8-6B8B-4A93-88C7-7BE45A648EEF}" sibTransId="{B1F9C64E-7B5D-464A-8FCC-E97072C504AD}"/>
    <dgm:cxn modelId="{A4D960CE-EABC-4EF7-B47E-2437CDD23D3D}" type="presOf" srcId="{00A5B285-5C81-47D4-8980-415D94DC31F2}" destId="{B10AC0D2-9941-46BD-9698-C56DE4899E91}" srcOrd="0" destOrd="0" presId="urn:microsoft.com/office/officeart/2005/8/layout/hProcess11"/>
    <dgm:cxn modelId="{DA65CDD6-9DFC-4BFB-85C0-39CFAACB55F1}" srcId="{B32BE603-0F34-465F-9929-BD40BCCABAB0}" destId="{B87EBEAC-D713-46B0-8D4F-F0C7C6DA5427}" srcOrd="2" destOrd="0" parTransId="{ADB59348-C9C4-42EB-A2B0-87B3E86B7AEA}" sibTransId="{BD7A073A-4872-4C1D-9980-843DF5A2B8AE}"/>
    <dgm:cxn modelId="{0FAB34DD-B30A-47AA-A113-D4637DD81382}" type="presOf" srcId="{D68B3B25-86C3-4FCE-BF11-7EE3D12B0A88}" destId="{39B3DF8F-3146-4AC4-A9CB-370E50AD8E4A}" srcOrd="0" destOrd="2" presId="urn:microsoft.com/office/officeart/2005/8/layout/hProcess11"/>
    <dgm:cxn modelId="{838C8BEF-D4E3-4A4D-B12C-BB296BEAC515}" type="presOf" srcId="{7CD8E68B-F33A-401B-A0C9-D44E3B7C0223}" destId="{4A25DB10-2F4C-4C3B-AA90-89AF5060E07D}" srcOrd="0" destOrd="0" presId="urn:microsoft.com/office/officeart/2005/8/layout/hProcess11"/>
    <dgm:cxn modelId="{069CC6F3-78A9-4E3A-B1D8-D3BBDC36C881}" type="presOf" srcId="{B87EBEAC-D713-46B0-8D4F-F0C7C6DA5427}" destId="{39B3DF8F-3146-4AC4-A9CB-370E50AD8E4A}" srcOrd="0" destOrd="0" presId="urn:microsoft.com/office/officeart/2005/8/layout/hProcess11"/>
    <dgm:cxn modelId="{C57EF6F6-B764-4015-A6BF-A57CA6DE8488}" type="presOf" srcId="{06F5E050-776E-4C83-960A-6EB5572C988B}" destId="{6AAEE0BF-62A0-4AB9-BC30-D04FDFC2161F}" srcOrd="0" destOrd="1" presId="urn:microsoft.com/office/officeart/2005/8/layout/hProcess11"/>
    <dgm:cxn modelId="{B58280F8-0DE4-4E89-8473-44517059A37D}" srcId="{7946924E-35DC-482B-B9CF-A038DB0A66A8}" destId="{02A327C0-5D39-40D5-9BEA-B328F530D6E1}" srcOrd="1" destOrd="0" parTransId="{DB5AE64D-5D36-4ED9-8221-91364C279755}" sibTransId="{DEA2181A-4A52-4662-9513-B56C282F18F2}"/>
    <dgm:cxn modelId="{25DF06FD-34ED-462E-8AD3-165CA8450587}" type="presOf" srcId="{9CFF7B1A-E735-4AB1-9DC1-66B67A9E3FC0}" destId="{39B3DF8F-3146-4AC4-A9CB-370E50AD8E4A}" srcOrd="0" destOrd="1" presId="urn:microsoft.com/office/officeart/2005/8/layout/hProcess11"/>
    <dgm:cxn modelId="{567EA0E6-51CC-4A9C-82E4-6D60D985CE1F}" type="presParOf" srcId="{8AF3F1BA-5969-43C5-8BFB-077865A2A651}" destId="{B3A7A256-5718-40C6-8433-A6EB731A366A}" srcOrd="0" destOrd="0" presId="urn:microsoft.com/office/officeart/2005/8/layout/hProcess11"/>
    <dgm:cxn modelId="{B19530D5-9491-4F89-8176-504306DE6285}" type="presParOf" srcId="{8AF3F1BA-5969-43C5-8BFB-077865A2A651}" destId="{7C29544A-5B95-4706-92CC-754F2DA6E449}" srcOrd="1" destOrd="0" presId="urn:microsoft.com/office/officeart/2005/8/layout/hProcess11"/>
    <dgm:cxn modelId="{8C17DF55-8E34-45D5-BF43-F6BAD17A9057}" type="presParOf" srcId="{7C29544A-5B95-4706-92CC-754F2DA6E449}" destId="{0185B372-A865-41D7-B541-AFC8836DFC9A}" srcOrd="0" destOrd="0" presId="urn:microsoft.com/office/officeart/2005/8/layout/hProcess11"/>
    <dgm:cxn modelId="{4C4927AA-FABA-46DD-84FB-FCCEF5F5E6F2}" type="presParOf" srcId="{0185B372-A865-41D7-B541-AFC8836DFC9A}" destId="{4A25DB10-2F4C-4C3B-AA90-89AF5060E07D}" srcOrd="0" destOrd="0" presId="urn:microsoft.com/office/officeart/2005/8/layout/hProcess11"/>
    <dgm:cxn modelId="{977A1A93-813B-48D7-BE6C-8F6CAAD02D09}" type="presParOf" srcId="{0185B372-A865-41D7-B541-AFC8836DFC9A}" destId="{8AE41372-5572-4388-9231-36AAD5ACA36E}" srcOrd="1" destOrd="0" presId="urn:microsoft.com/office/officeart/2005/8/layout/hProcess11"/>
    <dgm:cxn modelId="{3755913B-74CD-4632-AADC-97BB6E6017CB}" type="presParOf" srcId="{0185B372-A865-41D7-B541-AFC8836DFC9A}" destId="{951C5A10-AC1A-4AC7-8164-6DB98D4CDACB}" srcOrd="2" destOrd="0" presId="urn:microsoft.com/office/officeart/2005/8/layout/hProcess11"/>
    <dgm:cxn modelId="{599898ED-17B9-474B-9ED3-59DA867A2249}" type="presParOf" srcId="{7C29544A-5B95-4706-92CC-754F2DA6E449}" destId="{90FCDAF3-7D98-4A66-A21F-19E4A3DA3220}" srcOrd="1" destOrd="0" presId="urn:microsoft.com/office/officeart/2005/8/layout/hProcess11"/>
    <dgm:cxn modelId="{AFD19B64-BECF-477B-B987-8A8A3A2A27EC}" type="presParOf" srcId="{7C29544A-5B95-4706-92CC-754F2DA6E449}" destId="{C7C88924-A533-4E4E-870E-843F0320098C}" srcOrd="2" destOrd="0" presId="urn:microsoft.com/office/officeart/2005/8/layout/hProcess11"/>
    <dgm:cxn modelId="{FBBC68CD-31DA-4B70-BDE3-BD79339B2963}" type="presParOf" srcId="{C7C88924-A533-4E4E-870E-843F0320098C}" destId="{6AAEE0BF-62A0-4AB9-BC30-D04FDFC2161F}" srcOrd="0" destOrd="0" presId="urn:microsoft.com/office/officeart/2005/8/layout/hProcess11"/>
    <dgm:cxn modelId="{13F3AC80-D6F0-4389-90D9-416287BFBDA7}" type="presParOf" srcId="{C7C88924-A533-4E4E-870E-843F0320098C}" destId="{4BBF6B8C-40B0-4B3E-A5A2-D53892D18E0A}" srcOrd="1" destOrd="0" presId="urn:microsoft.com/office/officeart/2005/8/layout/hProcess11"/>
    <dgm:cxn modelId="{4846E72D-CC2B-4A50-B946-D3C4A7B73D2E}" type="presParOf" srcId="{C7C88924-A533-4E4E-870E-843F0320098C}" destId="{92B6186E-9DCE-4E8C-8F66-42B37307CE68}" srcOrd="2" destOrd="0" presId="urn:microsoft.com/office/officeart/2005/8/layout/hProcess11"/>
    <dgm:cxn modelId="{EF12B769-9C40-436F-ABF6-9BC215D41C79}" type="presParOf" srcId="{7C29544A-5B95-4706-92CC-754F2DA6E449}" destId="{7C758041-A742-4873-9968-78A992B662C7}" srcOrd="3" destOrd="0" presId="urn:microsoft.com/office/officeart/2005/8/layout/hProcess11"/>
    <dgm:cxn modelId="{2D7D87F1-3FC9-474E-BADA-A58B40A1D5B0}" type="presParOf" srcId="{7C29544A-5B95-4706-92CC-754F2DA6E449}" destId="{D47E8A28-8035-4CEC-95E1-78F8EA5704B3}" srcOrd="4" destOrd="0" presId="urn:microsoft.com/office/officeart/2005/8/layout/hProcess11"/>
    <dgm:cxn modelId="{66FEB420-20FD-45E8-B8A4-9D2E5A0CFD5E}" type="presParOf" srcId="{D47E8A28-8035-4CEC-95E1-78F8EA5704B3}" destId="{39B3DF8F-3146-4AC4-A9CB-370E50AD8E4A}" srcOrd="0" destOrd="0" presId="urn:microsoft.com/office/officeart/2005/8/layout/hProcess11"/>
    <dgm:cxn modelId="{71CEB095-D19C-417E-AF02-AF7031FF6359}" type="presParOf" srcId="{D47E8A28-8035-4CEC-95E1-78F8EA5704B3}" destId="{18968397-735A-4549-9EAF-295BEED424FB}" srcOrd="1" destOrd="0" presId="urn:microsoft.com/office/officeart/2005/8/layout/hProcess11"/>
    <dgm:cxn modelId="{62AE9F73-297D-465C-8748-FBBDBF134295}" type="presParOf" srcId="{D47E8A28-8035-4CEC-95E1-78F8EA5704B3}" destId="{66C31E1E-21AE-4F70-ACF3-3FF52C7EBB29}" srcOrd="2" destOrd="0" presId="urn:microsoft.com/office/officeart/2005/8/layout/hProcess11"/>
    <dgm:cxn modelId="{A95F1FC9-5CD1-46AA-8CF7-2921CFF0470C}" type="presParOf" srcId="{7C29544A-5B95-4706-92CC-754F2DA6E449}" destId="{1B957F79-50DE-46B5-81F0-0961450175E7}" srcOrd="5" destOrd="0" presId="urn:microsoft.com/office/officeart/2005/8/layout/hProcess11"/>
    <dgm:cxn modelId="{F1DA4981-3437-4155-9A0A-A1C352613F00}" type="presParOf" srcId="{7C29544A-5B95-4706-92CC-754F2DA6E449}" destId="{AB016DB6-C15F-4E19-A51F-8221F7CC0F20}" srcOrd="6" destOrd="0" presId="urn:microsoft.com/office/officeart/2005/8/layout/hProcess11"/>
    <dgm:cxn modelId="{DA6CB239-4CCF-4AEB-9996-9A2257F1E346}" type="presParOf" srcId="{AB016DB6-C15F-4E19-A51F-8221F7CC0F20}" destId="{B10AC0D2-9941-46BD-9698-C56DE4899E91}" srcOrd="0" destOrd="0" presId="urn:microsoft.com/office/officeart/2005/8/layout/hProcess11"/>
    <dgm:cxn modelId="{1D910199-88A9-494A-ACD1-8A5D21DF0BE5}" type="presParOf" srcId="{AB016DB6-C15F-4E19-A51F-8221F7CC0F20}" destId="{E2356E44-6BD3-48A8-89B4-FB01A69F1D14}" srcOrd="1" destOrd="0" presId="urn:microsoft.com/office/officeart/2005/8/layout/hProcess11"/>
    <dgm:cxn modelId="{0ECB0A44-178B-4E53-948C-DF63477DC59C}" type="presParOf" srcId="{AB016DB6-C15F-4E19-A51F-8221F7CC0F20}" destId="{0D7BE910-1062-469A-B831-828F573CFEE5}"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32BE603-0F34-465F-9929-BD40BCCABAB0}" type="doc">
      <dgm:prSet loTypeId="urn:microsoft.com/office/officeart/2005/8/layout/hProcess11" loCatId="process" qsTypeId="urn:microsoft.com/office/officeart/2005/8/quickstyle/simple1" qsCatId="simple" csTypeId="urn:microsoft.com/office/officeart/2005/8/colors/accent1_2" csCatId="accent1" phldr="1"/>
      <dgm:spPr/>
      <dgm:t>
        <a:bodyPr/>
        <a:lstStyle/>
        <a:p>
          <a:endParaRPr lang="en-US"/>
        </a:p>
      </dgm:t>
    </dgm:pt>
    <dgm:pt modelId="{5E8CFC23-3BBE-41B7-82C9-5B4A6CACB518}">
      <dgm:prSet phldrT="[Text]" custT="1"/>
      <dgm:spPr/>
      <dgm:t>
        <a:bodyPr/>
        <a:lstStyle/>
        <a:p>
          <a:r>
            <a:rPr lang="en-GB" sz="1400" b="1" dirty="0">
              <a:latin typeface="Arial" panose="020B0604020202020204" pitchFamily="34" charset="0"/>
              <a:cs typeface="Arial" panose="020B0604020202020204" pitchFamily="34" charset="0"/>
            </a:rPr>
            <a:t>October (total = 4)</a:t>
          </a:r>
        </a:p>
      </dgm:t>
    </dgm:pt>
    <dgm:pt modelId="{35404E1C-4839-4BCC-A4A4-2FB0C0C4EC62}" type="sibTrans" cxnId="{C6A6386F-476D-4633-9F96-F1609E3D5EB7}">
      <dgm:prSet/>
      <dgm:spPr/>
      <dgm:t>
        <a:bodyPr/>
        <a:lstStyle/>
        <a:p>
          <a:endParaRPr lang="en-GB"/>
        </a:p>
      </dgm:t>
    </dgm:pt>
    <dgm:pt modelId="{F3D2ABD1-B810-42C1-B3DE-BC5B7155869F}" type="parTrans" cxnId="{C6A6386F-476D-4633-9F96-F1609E3D5EB7}">
      <dgm:prSet/>
      <dgm:spPr/>
      <dgm:t>
        <a:bodyPr/>
        <a:lstStyle/>
        <a:p>
          <a:endParaRPr lang="en-GB"/>
        </a:p>
      </dgm:t>
    </dgm:pt>
    <dgm:pt modelId="{9890DFDD-8F43-4616-8D19-F8420B7DED04}">
      <dgm:prSet custT="1"/>
      <dgm:spPr/>
      <dgm:t>
        <a:bodyPr/>
        <a:lstStyle/>
        <a:p>
          <a:r>
            <a:rPr lang="en-GB" sz="1400" b="0">
              <a:latin typeface="Arial" panose="020B0604020202020204" pitchFamily="34" charset="0"/>
              <a:cs typeface="Arial" panose="020B0604020202020204" pitchFamily="34" charset="0"/>
            </a:rPr>
            <a:t>GC0138/141 - 8 Oct</a:t>
          </a:r>
          <a:endParaRPr lang="en-US" sz="1400"/>
        </a:p>
      </dgm:t>
    </dgm:pt>
    <dgm:pt modelId="{0E101394-1069-4806-9203-5F80F56DAE99}" type="parTrans" cxnId="{B08FBE41-36D2-47BC-9938-191156EAA4BB}">
      <dgm:prSet/>
      <dgm:spPr/>
      <dgm:t>
        <a:bodyPr/>
        <a:lstStyle/>
        <a:p>
          <a:endParaRPr lang="en-US"/>
        </a:p>
      </dgm:t>
    </dgm:pt>
    <dgm:pt modelId="{76CAC40F-BAAD-477B-8093-B28B5ACECAF5}" type="sibTrans" cxnId="{B08FBE41-36D2-47BC-9938-191156EAA4BB}">
      <dgm:prSet/>
      <dgm:spPr/>
      <dgm:t>
        <a:bodyPr/>
        <a:lstStyle/>
        <a:p>
          <a:endParaRPr lang="en-US"/>
        </a:p>
      </dgm:t>
    </dgm:pt>
    <dgm:pt modelId="{814185FB-AA21-4300-9059-5D1C10F3C26B}">
      <dgm:prSet custT="1"/>
      <dgm:spPr/>
      <dgm:t>
        <a:bodyPr/>
        <a:lstStyle/>
        <a:p>
          <a:r>
            <a:rPr lang="en-GB" sz="1400" b="0">
              <a:latin typeface="Arial" panose="020B0604020202020204" pitchFamily="34" charset="0"/>
              <a:cs typeface="Arial" panose="020B0604020202020204" pitchFamily="34" charset="0"/>
            </a:rPr>
            <a:t>GC0139 – 14 Oct</a:t>
          </a:r>
          <a:endParaRPr lang="en-US" sz="1400"/>
        </a:p>
      </dgm:t>
    </dgm:pt>
    <dgm:pt modelId="{93491BE7-EE8A-43D0-9E02-C523CB52D75C}" type="parTrans" cxnId="{CA414641-B452-4212-8019-FD34145BA29D}">
      <dgm:prSet/>
      <dgm:spPr/>
      <dgm:t>
        <a:bodyPr/>
        <a:lstStyle/>
        <a:p>
          <a:endParaRPr lang="en-US"/>
        </a:p>
      </dgm:t>
    </dgm:pt>
    <dgm:pt modelId="{2A46A478-2BF0-4B18-962A-78D7F057FF8C}" type="sibTrans" cxnId="{CA414641-B452-4212-8019-FD34145BA29D}">
      <dgm:prSet/>
      <dgm:spPr/>
      <dgm:t>
        <a:bodyPr/>
        <a:lstStyle/>
        <a:p>
          <a:endParaRPr lang="en-US"/>
        </a:p>
      </dgm:t>
    </dgm:pt>
    <dgm:pt modelId="{D8E8A5AD-66DF-45C1-91A2-A4CDE729E853}">
      <dgm:prSet custT="1"/>
      <dgm:spPr/>
      <dgm:t>
        <a:bodyPr/>
        <a:lstStyle/>
        <a:p>
          <a:r>
            <a:rPr lang="en-GB" sz="1400" b="0" dirty="0">
              <a:latin typeface="Arial" panose="020B0604020202020204" pitchFamily="34" charset="0"/>
              <a:cs typeface="Arial" panose="020B0604020202020204" pitchFamily="34" charset="0"/>
            </a:rPr>
            <a:t>GC0147</a:t>
          </a:r>
          <a:r>
            <a:rPr lang="en-GB" sz="1400" b="1" dirty="0">
              <a:latin typeface="Arial" panose="020B0604020202020204" pitchFamily="34" charset="0"/>
              <a:cs typeface="Arial" panose="020B0604020202020204" pitchFamily="34" charset="0"/>
            </a:rPr>
            <a:t> </a:t>
          </a:r>
          <a:r>
            <a:rPr lang="en-GB" sz="1400" b="0" dirty="0">
              <a:latin typeface="Arial" panose="020B0604020202020204" pitchFamily="34" charset="0"/>
              <a:cs typeface="Arial" panose="020B0604020202020204" pitchFamily="34" charset="0"/>
            </a:rPr>
            <a:t>– 16 Oct and 30 Oct</a:t>
          </a:r>
          <a:endParaRPr lang="en-US" sz="1400" b="0" dirty="0">
            <a:highlight>
              <a:srgbClr val="FFFF00"/>
            </a:highlight>
          </a:endParaRPr>
        </a:p>
      </dgm:t>
    </dgm:pt>
    <dgm:pt modelId="{48C072DB-0DF6-4641-B827-DA763162CE85}" type="parTrans" cxnId="{FE5A1419-4BCB-4EA3-82D9-4DBF75583DFE}">
      <dgm:prSet/>
      <dgm:spPr/>
      <dgm:t>
        <a:bodyPr/>
        <a:lstStyle/>
        <a:p>
          <a:endParaRPr lang="en-US"/>
        </a:p>
      </dgm:t>
    </dgm:pt>
    <dgm:pt modelId="{EF96B113-5D6E-488E-9147-50440916D50B}" type="sibTrans" cxnId="{FE5A1419-4BCB-4EA3-82D9-4DBF75583DFE}">
      <dgm:prSet/>
      <dgm:spPr/>
      <dgm:t>
        <a:bodyPr/>
        <a:lstStyle/>
        <a:p>
          <a:endParaRPr lang="en-US"/>
        </a:p>
      </dgm:t>
    </dgm:pt>
    <dgm:pt modelId="{E536C023-628C-415D-AA9D-962D0F1F2189}">
      <dgm:prSet phldrT="[Text]" custT="1"/>
      <dgm:spPr/>
      <dgm:t>
        <a:bodyPr/>
        <a:lstStyle/>
        <a:p>
          <a:r>
            <a:rPr lang="en-GB" sz="1400" b="1" dirty="0">
              <a:latin typeface="Arial" panose="020B0604020202020204" pitchFamily="34" charset="0"/>
              <a:cs typeface="Arial" panose="020B0604020202020204" pitchFamily="34" charset="0"/>
            </a:rPr>
            <a:t>November (total = 7)</a:t>
          </a:r>
        </a:p>
      </dgm:t>
    </dgm:pt>
    <dgm:pt modelId="{3E78613A-E468-4F1F-897A-DE2DD80C4E34}" type="parTrans" cxnId="{D434BBB2-3249-4461-AFC1-065848212527}">
      <dgm:prSet/>
      <dgm:spPr/>
      <dgm:t>
        <a:bodyPr/>
        <a:lstStyle/>
        <a:p>
          <a:endParaRPr lang="en-US"/>
        </a:p>
      </dgm:t>
    </dgm:pt>
    <dgm:pt modelId="{9FE05973-4133-4117-8650-3EEE8985352C}" type="sibTrans" cxnId="{D434BBB2-3249-4461-AFC1-065848212527}">
      <dgm:prSet/>
      <dgm:spPr/>
      <dgm:t>
        <a:bodyPr/>
        <a:lstStyle/>
        <a:p>
          <a:endParaRPr lang="en-US"/>
        </a:p>
      </dgm:t>
    </dgm:pt>
    <dgm:pt modelId="{19D30BBC-FECC-46CA-A4C5-B9209007A435}">
      <dgm:prSet custT="1"/>
      <dgm:spPr/>
      <dgm:t>
        <a:bodyPr/>
        <a:lstStyle/>
        <a:p>
          <a:r>
            <a:rPr lang="en-US" sz="1400">
              <a:latin typeface="Arial" panose="020B0604020202020204" pitchFamily="34" charset="0"/>
              <a:cs typeface="Arial" panose="020B0604020202020204" pitchFamily="34" charset="0"/>
            </a:rPr>
            <a:t>GC0109 x 2 – 12 Nov and 24 Nov</a:t>
          </a:r>
        </a:p>
      </dgm:t>
    </dgm:pt>
    <dgm:pt modelId="{F56E61E2-CA11-4131-9B05-3C7A4B446EB3}" type="parTrans" cxnId="{63BAE407-B0C1-4493-88F9-6F176EB8DE02}">
      <dgm:prSet/>
      <dgm:spPr/>
      <dgm:t>
        <a:bodyPr/>
        <a:lstStyle/>
        <a:p>
          <a:endParaRPr lang="en-US"/>
        </a:p>
      </dgm:t>
    </dgm:pt>
    <dgm:pt modelId="{D7210561-0E8E-4221-9473-A3DC667D6CD2}" type="sibTrans" cxnId="{63BAE407-B0C1-4493-88F9-6F176EB8DE02}">
      <dgm:prSet/>
      <dgm:spPr/>
      <dgm:t>
        <a:bodyPr/>
        <a:lstStyle/>
        <a:p>
          <a:endParaRPr lang="en-US"/>
        </a:p>
      </dgm:t>
    </dgm:pt>
    <dgm:pt modelId="{B2CDC2D0-9BFD-4BF5-8937-305145466DF6}">
      <dgm:prSet phldrT="[Text]" custT="1"/>
      <dgm:spPr/>
      <dgm:t>
        <a:bodyPr/>
        <a:lstStyle/>
        <a:p>
          <a:r>
            <a:rPr lang="en-GB" sz="1400" b="1">
              <a:latin typeface="Arial" panose="020B0604020202020204" pitchFamily="34" charset="0"/>
              <a:cs typeface="Arial" panose="020B0604020202020204" pitchFamily="34" charset="0"/>
            </a:rPr>
            <a:t>December (total = 5)</a:t>
          </a:r>
          <a:endParaRPr lang="en-US" sz="1400"/>
        </a:p>
      </dgm:t>
    </dgm:pt>
    <dgm:pt modelId="{B3250FE3-3C26-4243-82FE-122E27E83F56}" type="parTrans" cxnId="{472AE885-ED1B-4426-BDD8-962BE07B9B7A}">
      <dgm:prSet/>
      <dgm:spPr/>
      <dgm:t>
        <a:bodyPr/>
        <a:lstStyle/>
        <a:p>
          <a:endParaRPr lang="en-GB"/>
        </a:p>
      </dgm:t>
    </dgm:pt>
    <dgm:pt modelId="{24B27A78-DD17-4FEC-8210-B147735FDD56}" type="sibTrans" cxnId="{472AE885-ED1B-4426-BDD8-962BE07B9B7A}">
      <dgm:prSet/>
      <dgm:spPr/>
      <dgm:t>
        <a:bodyPr/>
        <a:lstStyle/>
        <a:p>
          <a:endParaRPr lang="en-GB"/>
        </a:p>
      </dgm:t>
    </dgm:pt>
    <dgm:pt modelId="{F58976BB-A0CB-4F70-BCF3-C159104F6BB2}">
      <dgm:prSet custT="1"/>
      <dgm:spPr/>
      <dgm:t>
        <a:bodyPr/>
        <a:lstStyle/>
        <a:p>
          <a:r>
            <a:rPr lang="en-US" sz="1400" dirty="0">
              <a:latin typeface="Arial" panose="020B0604020202020204" pitchFamily="34" charset="0"/>
              <a:cs typeface="Arial" panose="020B0604020202020204" pitchFamily="34" charset="0"/>
            </a:rPr>
            <a:t>GC0139 – 17 Nov</a:t>
          </a:r>
        </a:p>
      </dgm:t>
    </dgm:pt>
    <dgm:pt modelId="{6AC4025A-54DC-41F8-B36A-9CC50774554A}" type="parTrans" cxnId="{6CCA12DD-B3C1-4EB6-AD49-56964FA505F7}">
      <dgm:prSet/>
      <dgm:spPr/>
      <dgm:t>
        <a:bodyPr/>
        <a:lstStyle/>
        <a:p>
          <a:endParaRPr lang="en-GB"/>
        </a:p>
      </dgm:t>
    </dgm:pt>
    <dgm:pt modelId="{A6363220-3E35-45DD-B98D-78125CDBFD2A}" type="sibTrans" cxnId="{6CCA12DD-B3C1-4EB6-AD49-56964FA505F7}">
      <dgm:prSet/>
      <dgm:spPr/>
      <dgm:t>
        <a:bodyPr/>
        <a:lstStyle/>
        <a:p>
          <a:endParaRPr lang="en-GB"/>
        </a:p>
      </dgm:t>
    </dgm:pt>
    <dgm:pt modelId="{E7ABA320-17E5-478C-A6D7-1632FEA06835}">
      <dgm:prSet phldrT="[Text]" custT="1"/>
      <dgm:spPr/>
      <dgm:t>
        <a:bodyPr/>
        <a:lstStyle/>
        <a:p>
          <a:r>
            <a:rPr lang="en-US" sz="1400">
              <a:latin typeface="Arial" panose="020B0604020202020204" pitchFamily="34" charset="0"/>
              <a:cs typeface="Arial" panose="020B0604020202020204" pitchFamily="34" charset="0"/>
            </a:rPr>
            <a:t>GC0147</a:t>
          </a:r>
        </a:p>
      </dgm:t>
    </dgm:pt>
    <dgm:pt modelId="{F5B9F348-A0AF-49D3-98F3-B558AA34BEDF}" type="parTrans" cxnId="{D0DFEF9F-5A13-498B-A18B-227602C4081B}">
      <dgm:prSet/>
      <dgm:spPr/>
      <dgm:t>
        <a:bodyPr/>
        <a:lstStyle/>
        <a:p>
          <a:endParaRPr lang="en-GB"/>
        </a:p>
      </dgm:t>
    </dgm:pt>
    <dgm:pt modelId="{7F431A76-35FF-49F2-A681-4D7A832DBB03}" type="sibTrans" cxnId="{D0DFEF9F-5A13-498B-A18B-227602C4081B}">
      <dgm:prSet/>
      <dgm:spPr/>
      <dgm:t>
        <a:bodyPr/>
        <a:lstStyle/>
        <a:p>
          <a:endParaRPr lang="en-GB"/>
        </a:p>
      </dgm:t>
    </dgm:pt>
    <dgm:pt modelId="{1E76F26F-73A5-4F16-AFBB-47158353CC38}">
      <dgm:prSet phldrT="[Text]" custT="1"/>
      <dgm:spPr/>
      <dgm:t>
        <a:bodyPr/>
        <a:lstStyle/>
        <a:p>
          <a:r>
            <a:rPr lang="en-US" sz="1400">
              <a:latin typeface="Arial" panose="020B0604020202020204" pitchFamily="34" charset="0"/>
              <a:cs typeface="Arial" panose="020B0604020202020204" pitchFamily="34" charset="0"/>
            </a:rPr>
            <a:t>GC0145 – 8 Dec</a:t>
          </a:r>
        </a:p>
      </dgm:t>
    </dgm:pt>
    <dgm:pt modelId="{EBC7C7A4-B75F-46C3-9CC5-157E6B2F140C}" type="parTrans" cxnId="{8C5CC701-CFDC-433B-8A2E-65B7EDD24D49}">
      <dgm:prSet/>
      <dgm:spPr/>
      <dgm:t>
        <a:bodyPr/>
        <a:lstStyle/>
        <a:p>
          <a:endParaRPr lang="en-GB"/>
        </a:p>
      </dgm:t>
    </dgm:pt>
    <dgm:pt modelId="{68DBA37B-FFCA-4436-B1AA-BA3E1369FF03}" type="sibTrans" cxnId="{8C5CC701-CFDC-433B-8A2E-65B7EDD24D49}">
      <dgm:prSet/>
      <dgm:spPr/>
      <dgm:t>
        <a:bodyPr/>
        <a:lstStyle/>
        <a:p>
          <a:endParaRPr lang="en-GB"/>
        </a:p>
      </dgm:t>
    </dgm:pt>
    <dgm:pt modelId="{3CBB8683-E796-4E12-8502-EE8C3B6F078E}">
      <dgm:prSet phldrT="[Text]" custT="1"/>
      <dgm:spPr/>
      <dgm:t>
        <a:bodyPr/>
        <a:lstStyle/>
        <a:p>
          <a:r>
            <a:rPr lang="en-US" sz="1400">
              <a:latin typeface="Arial" panose="020B0604020202020204" pitchFamily="34" charset="0"/>
              <a:cs typeface="Arial" panose="020B0604020202020204" pitchFamily="34" charset="0"/>
            </a:rPr>
            <a:t>GC0144</a:t>
          </a:r>
        </a:p>
      </dgm:t>
    </dgm:pt>
    <dgm:pt modelId="{CF35CC95-6C35-4EC0-A70F-1B7C8F0423ED}" type="parTrans" cxnId="{D9B6F039-38CB-433E-968D-2E7AB584EDB3}">
      <dgm:prSet/>
      <dgm:spPr/>
      <dgm:t>
        <a:bodyPr/>
        <a:lstStyle/>
        <a:p>
          <a:endParaRPr lang="en-GB"/>
        </a:p>
      </dgm:t>
    </dgm:pt>
    <dgm:pt modelId="{CB76CD93-A587-4064-9638-D609B9E4E2CC}" type="sibTrans" cxnId="{D9B6F039-38CB-433E-968D-2E7AB584EDB3}">
      <dgm:prSet/>
      <dgm:spPr/>
      <dgm:t>
        <a:bodyPr/>
        <a:lstStyle/>
        <a:p>
          <a:endParaRPr lang="en-GB"/>
        </a:p>
      </dgm:t>
    </dgm:pt>
    <dgm:pt modelId="{1F81B9D2-3A59-4C7A-B3A4-CE2AD2D296A4}">
      <dgm:prSet phldrT="[Text]" custT="1"/>
      <dgm:spPr/>
      <dgm:t>
        <a:bodyPr/>
        <a:lstStyle/>
        <a:p>
          <a:r>
            <a:rPr lang="en-US" sz="1400">
              <a:latin typeface="Arial" panose="020B0604020202020204" pitchFamily="34" charset="0"/>
              <a:cs typeface="Arial" panose="020B0604020202020204" pitchFamily="34" charset="0"/>
            </a:rPr>
            <a:t>GC0137</a:t>
          </a:r>
        </a:p>
      </dgm:t>
    </dgm:pt>
    <dgm:pt modelId="{0D1373D8-8093-491D-8B0E-3D89043B934E}" type="parTrans" cxnId="{78621A12-B556-4266-9FEE-715195658BF4}">
      <dgm:prSet/>
      <dgm:spPr/>
      <dgm:t>
        <a:bodyPr/>
        <a:lstStyle/>
        <a:p>
          <a:endParaRPr lang="en-GB"/>
        </a:p>
      </dgm:t>
    </dgm:pt>
    <dgm:pt modelId="{3AA68CF8-16FB-4826-9892-F09FA133C539}" type="sibTrans" cxnId="{78621A12-B556-4266-9FEE-715195658BF4}">
      <dgm:prSet/>
      <dgm:spPr/>
      <dgm:t>
        <a:bodyPr/>
        <a:lstStyle/>
        <a:p>
          <a:endParaRPr lang="en-GB"/>
        </a:p>
      </dgm:t>
    </dgm:pt>
    <dgm:pt modelId="{E1B92596-099B-4E44-B7BD-35B06C5228AB}">
      <dgm:prSet custT="1"/>
      <dgm:spPr/>
      <dgm:t>
        <a:bodyPr/>
        <a:lstStyle/>
        <a:p>
          <a:r>
            <a:rPr lang="en-US" sz="1400" dirty="0">
              <a:latin typeface="Arial" panose="020B0604020202020204" pitchFamily="34" charset="0"/>
              <a:cs typeface="Arial" panose="020B0604020202020204" pitchFamily="34" charset="0"/>
            </a:rPr>
            <a:t>GC0134</a:t>
          </a:r>
          <a:r>
            <a:rPr lang="en-US" sz="1400" dirty="0">
              <a:highlight>
                <a:srgbClr val="FFFF00"/>
              </a:highlight>
              <a:latin typeface="Arial" panose="020B0604020202020204" pitchFamily="34" charset="0"/>
              <a:cs typeface="Arial" panose="020B0604020202020204" pitchFamily="34" charset="0"/>
            </a:rPr>
            <a:t> </a:t>
          </a:r>
        </a:p>
      </dgm:t>
    </dgm:pt>
    <dgm:pt modelId="{7AD86228-87D7-4DCB-9EAF-3415E8669859}" type="parTrans" cxnId="{620F3F21-B9CB-403B-BAC7-0FA110D6EA5E}">
      <dgm:prSet/>
      <dgm:spPr/>
      <dgm:t>
        <a:bodyPr/>
        <a:lstStyle/>
        <a:p>
          <a:endParaRPr lang="en-GB"/>
        </a:p>
      </dgm:t>
    </dgm:pt>
    <dgm:pt modelId="{24DA50E8-DEBA-4190-90E7-5B736E5DC171}" type="sibTrans" cxnId="{620F3F21-B9CB-403B-BAC7-0FA110D6EA5E}">
      <dgm:prSet/>
      <dgm:spPr/>
      <dgm:t>
        <a:bodyPr/>
        <a:lstStyle/>
        <a:p>
          <a:endParaRPr lang="en-GB"/>
        </a:p>
      </dgm:t>
    </dgm:pt>
    <dgm:pt modelId="{42CD3774-FFA4-40A7-A43F-C17230FD311A}">
      <dgm:prSet custT="1"/>
      <dgm:spPr/>
      <dgm:t>
        <a:bodyPr/>
        <a:lstStyle/>
        <a:p>
          <a:r>
            <a:rPr lang="en-US" sz="1400">
              <a:latin typeface="Arial" panose="020B0604020202020204" pitchFamily="34" charset="0"/>
              <a:cs typeface="Arial" panose="020B0604020202020204" pitchFamily="34" charset="0"/>
            </a:rPr>
            <a:t>GC0145 x 2 – 3 Nov and 24 Nov</a:t>
          </a:r>
        </a:p>
      </dgm:t>
    </dgm:pt>
    <dgm:pt modelId="{01C8813B-69CA-493E-AB09-2461247847F1}" type="parTrans" cxnId="{6F062526-4B44-4B5E-9625-90318FBCA3D4}">
      <dgm:prSet/>
      <dgm:spPr/>
      <dgm:t>
        <a:bodyPr/>
        <a:lstStyle/>
        <a:p>
          <a:endParaRPr lang="en-GB"/>
        </a:p>
      </dgm:t>
    </dgm:pt>
    <dgm:pt modelId="{C452469D-C15E-4C53-B774-86640688B635}" type="sibTrans" cxnId="{6F062526-4B44-4B5E-9625-90318FBCA3D4}">
      <dgm:prSet/>
      <dgm:spPr/>
      <dgm:t>
        <a:bodyPr/>
        <a:lstStyle/>
        <a:p>
          <a:endParaRPr lang="en-GB"/>
        </a:p>
      </dgm:t>
    </dgm:pt>
    <dgm:pt modelId="{D5D59762-32AB-4B95-8E45-614B03E1BE0B}">
      <dgm:prSet phldrT="[Text]" custT="1"/>
      <dgm:spPr/>
      <dgm:t>
        <a:bodyPr/>
        <a:lstStyle/>
        <a:p>
          <a:r>
            <a:rPr lang="en-US" sz="1400">
              <a:latin typeface="Arial" panose="020B0604020202020204" pitchFamily="34" charset="0"/>
              <a:cs typeface="Arial" panose="020B0604020202020204" pitchFamily="34" charset="0"/>
            </a:rPr>
            <a:t>GC0134</a:t>
          </a:r>
        </a:p>
      </dgm:t>
    </dgm:pt>
    <dgm:pt modelId="{BABA2C65-DD0F-4017-B54E-50FA0715A354}" type="parTrans" cxnId="{FBFBD681-4218-481A-B2C0-B577B4907688}">
      <dgm:prSet/>
      <dgm:spPr/>
      <dgm:t>
        <a:bodyPr/>
        <a:lstStyle/>
        <a:p>
          <a:endParaRPr lang="en-GB"/>
        </a:p>
      </dgm:t>
    </dgm:pt>
    <dgm:pt modelId="{CE46E616-177D-48C4-823A-6B68CED00D78}" type="sibTrans" cxnId="{FBFBD681-4218-481A-B2C0-B577B4907688}">
      <dgm:prSet/>
      <dgm:spPr/>
      <dgm:t>
        <a:bodyPr/>
        <a:lstStyle/>
        <a:p>
          <a:endParaRPr lang="en-GB"/>
        </a:p>
      </dgm:t>
    </dgm:pt>
    <dgm:pt modelId="{1C8C810C-192D-4B98-84A0-FC298960AB83}">
      <dgm:prSet phldrT="[Text]" custT="1"/>
      <dgm:spPr/>
      <dgm:t>
        <a:bodyPr/>
        <a:lstStyle/>
        <a:p>
          <a:r>
            <a:rPr lang="en-GB" sz="1400" b="1" dirty="0">
              <a:latin typeface="Arial" panose="020B0604020202020204" pitchFamily="34" charset="0"/>
              <a:cs typeface="Arial" panose="020B0604020202020204" pitchFamily="34" charset="0"/>
            </a:rPr>
            <a:t>January (total = 2)</a:t>
          </a:r>
          <a:endParaRPr lang="en-US" sz="1400" dirty="0">
            <a:latin typeface="Arial" panose="020B0604020202020204" pitchFamily="34" charset="0"/>
            <a:cs typeface="Arial" panose="020B0604020202020204" pitchFamily="34" charset="0"/>
          </a:endParaRPr>
        </a:p>
      </dgm:t>
    </dgm:pt>
    <dgm:pt modelId="{206E9315-3E6E-4039-AF6B-0A151E9A4DDB}" type="parTrans" cxnId="{C46C7285-0068-48A2-8084-40D7D52FD5C7}">
      <dgm:prSet/>
      <dgm:spPr/>
      <dgm:t>
        <a:bodyPr/>
        <a:lstStyle/>
        <a:p>
          <a:endParaRPr lang="en-GB"/>
        </a:p>
      </dgm:t>
    </dgm:pt>
    <dgm:pt modelId="{C381B38C-4FB2-4485-8FB5-F5F9914ECD4A}" type="sibTrans" cxnId="{C46C7285-0068-48A2-8084-40D7D52FD5C7}">
      <dgm:prSet/>
      <dgm:spPr/>
      <dgm:t>
        <a:bodyPr/>
        <a:lstStyle/>
        <a:p>
          <a:endParaRPr lang="en-GB"/>
        </a:p>
      </dgm:t>
    </dgm:pt>
    <dgm:pt modelId="{4C0B4ABC-6CE8-4C6B-9288-2D2FA19F7117}">
      <dgm:prSet phldrT="[Text]" custT="1"/>
      <dgm:spPr/>
      <dgm:t>
        <a:bodyPr/>
        <a:lstStyle/>
        <a:p>
          <a:r>
            <a:rPr lang="en-US" sz="1400">
              <a:latin typeface="Arial" panose="020B0604020202020204" pitchFamily="34" charset="0"/>
              <a:cs typeface="Arial" panose="020B0604020202020204" pitchFamily="34" charset="0"/>
            </a:rPr>
            <a:t>GC0109 x 2 – w/c 11 Jan and w/c 25 Jan</a:t>
          </a:r>
        </a:p>
      </dgm:t>
    </dgm:pt>
    <dgm:pt modelId="{324506AD-DEEA-4EEC-90FE-30BA43BB57B4}" type="parTrans" cxnId="{4B375B48-F537-4042-92B3-155C6F7BF3A5}">
      <dgm:prSet/>
      <dgm:spPr/>
      <dgm:t>
        <a:bodyPr/>
        <a:lstStyle/>
        <a:p>
          <a:endParaRPr lang="en-GB"/>
        </a:p>
      </dgm:t>
    </dgm:pt>
    <dgm:pt modelId="{98FB35AA-C96B-4906-BEF1-DBFEA340E1C6}" type="sibTrans" cxnId="{4B375B48-F537-4042-92B3-155C6F7BF3A5}">
      <dgm:prSet/>
      <dgm:spPr/>
      <dgm:t>
        <a:bodyPr/>
        <a:lstStyle/>
        <a:p>
          <a:endParaRPr lang="en-GB"/>
        </a:p>
      </dgm:t>
    </dgm:pt>
    <dgm:pt modelId="{A253209E-A12D-4DEF-BF54-DE65F2F5DD02}">
      <dgm:prSet custT="1"/>
      <dgm:spPr/>
      <dgm:t>
        <a:bodyPr/>
        <a:lstStyle/>
        <a:p>
          <a:r>
            <a:rPr lang="en-GB" sz="1400" b="0" dirty="0">
              <a:latin typeface="Arial" panose="020B0604020202020204" pitchFamily="34" charset="0"/>
              <a:cs typeface="Arial" panose="020B0604020202020204" pitchFamily="34" charset="0"/>
            </a:rPr>
            <a:t>GC0144 – w/c 2 Nov</a:t>
          </a:r>
          <a:endParaRPr lang="en-US" sz="1400" dirty="0">
            <a:latin typeface="Arial" panose="020B0604020202020204" pitchFamily="34" charset="0"/>
            <a:cs typeface="Arial" panose="020B0604020202020204" pitchFamily="34" charset="0"/>
          </a:endParaRPr>
        </a:p>
      </dgm:t>
    </dgm:pt>
    <dgm:pt modelId="{0790DF86-D234-464C-ADB5-33E89E608A76}" type="parTrans" cxnId="{ED2FD0D9-8292-4D23-A251-41C3178B49D3}">
      <dgm:prSet/>
      <dgm:spPr/>
      <dgm:t>
        <a:bodyPr/>
        <a:lstStyle/>
        <a:p>
          <a:endParaRPr lang="en-GB"/>
        </a:p>
      </dgm:t>
    </dgm:pt>
    <dgm:pt modelId="{1E646B76-BE7C-44BA-BDDE-90962735F2AB}" type="sibTrans" cxnId="{ED2FD0D9-8292-4D23-A251-41C3178B49D3}">
      <dgm:prSet/>
      <dgm:spPr/>
      <dgm:t>
        <a:bodyPr/>
        <a:lstStyle/>
        <a:p>
          <a:endParaRPr lang="en-GB"/>
        </a:p>
      </dgm:t>
    </dgm:pt>
    <dgm:pt modelId="{8AF3F1BA-5969-43C5-8BFB-077865A2A651}" type="pres">
      <dgm:prSet presAssocID="{B32BE603-0F34-465F-9929-BD40BCCABAB0}" presName="Name0" presStyleCnt="0">
        <dgm:presLayoutVars>
          <dgm:dir/>
          <dgm:resizeHandles val="exact"/>
        </dgm:presLayoutVars>
      </dgm:prSet>
      <dgm:spPr/>
    </dgm:pt>
    <dgm:pt modelId="{B3A7A256-5718-40C6-8433-A6EB731A366A}" type="pres">
      <dgm:prSet presAssocID="{B32BE603-0F34-465F-9929-BD40BCCABAB0}" presName="arrow" presStyleLbl="bgShp" presStyleIdx="0" presStyleCnt="1"/>
      <dgm:spPr>
        <a:solidFill>
          <a:schemeClr val="accent2">
            <a:lumMod val="20000"/>
            <a:lumOff val="80000"/>
          </a:schemeClr>
        </a:solidFill>
      </dgm:spPr>
    </dgm:pt>
    <dgm:pt modelId="{7C29544A-5B95-4706-92CC-754F2DA6E449}" type="pres">
      <dgm:prSet presAssocID="{B32BE603-0F34-465F-9929-BD40BCCABAB0}" presName="points" presStyleCnt="0"/>
      <dgm:spPr/>
    </dgm:pt>
    <dgm:pt modelId="{E6009CD3-0689-4403-89F0-0DC5CAF957AC}" type="pres">
      <dgm:prSet presAssocID="{5E8CFC23-3BBE-41B7-82C9-5B4A6CACB518}" presName="compositeA" presStyleCnt="0"/>
      <dgm:spPr/>
    </dgm:pt>
    <dgm:pt modelId="{20E83831-63A8-4736-B62D-7D2C33B661E6}" type="pres">
      <dgm:prSet presAssocID="{5E8CFC23-3BBE-41B7-82C9-5B4A6CACB518}" presName="textA" presStyleLbl="revTx" presStyleIdx="0" presStyleCnt="4">
        <dgm:presLayoutVars>
          <dgm:bulletEnabled val="1"/>
        </dgm:presLayoutVars>
      </dgm:prSet>
      <dgm:spPr/>
    </dgm:pt>
    <dgm:pt modelId="{3F2A57A6-6593-421C-88E6-4A9F5F97ECA1}" type="pres">
      <dgm:prSet presAssocID="{5E8CFC23-3BBE-41B7-82C9-5B4A6CACB518}" presName="circleA" presStyleLbl="node1" presStyleIdx="0" presStyleCnt="4"/>
      <dgm:spPr/>
    </dgm:pt>
    <dgm:pt modelId="{8FFCBA8B-CAE9-480C-B8FE-17140A319545}" type="pres">
      <dgm:prSet presAssocID="{5E8CFC23-3BBE-41B7-82C9-5B4A6CACB518}" presName="spaceA" presStyleCnt="0"/>
      <dgm:spPr/>
    </dgm:pt>
    <dgm:pt modelId="{21D278FE-7BC8-4A0D-B482-AD0B43B7B810}" type="pres">
      <dgm:prSet presAssocID="{35404E1C-4839-4BCC-A4A4-2FB0C0C4EC62}" presName="space" presStyleCnt="0"/>
      <dgm:spPr/>
    </dgm:pt>
    <dgm:pt modelId="{630CFC4B-4823-4859-A0B5-71B9156D2ABD}" type="pres">
      <dgm:prSet presAssocID="{E536C023-628C-415D-AA9D-962D0F1F2189}" presName="compositeB" presStyleCnt="0"/>
      <dgm:spPr/>
    </dgm:pt>
    <dgm:pt modelId="{BA41191A-752F-4E20-AB7E-44655E51EADD}" type="pres">
      <dgm:prSet presAssocID="{E536C023-628C-415D-AA9D-962D0F1F2189}" presName="textB" presStyleLbl="revTx" presStyleIdx="1" presStyleCnt="4">
        <dgm:presLayoutVars>
          <dgm:bulletEnabled val="1"/>
        </dgm:presLayoutVars>
      </dgm:prSet>
      <dgm:spPr/>
    </dgm:pt>
    <dgm:pt modelId="{26111A4C-0B05-456F-B746-5DF02A27F4F3}" type="pres">
      <dgm:prSet presAssocID="{E536C023-628C-415D-AA9D-962D0F1F2189}" presName="circleB" presStyleLbl="node1" presStyleIdx="1" presStyleCnt="4"/>
      <dgm:spPr/>
    </dgm:pt>
    <dgm:pt modelId="{93AF3379-B35D-46F0-8F81-8D27CBE1DE62}" type="pres">
      <dgm:prSet presAssocID="{E536C023-628C-415D-AA9D-962D0F1F2189}" presName="spaceB" presStyleCnt="0"/>
      <dgm:spPr/>
    </dgm:pt>
    <dgm:pt modelId="{0B0D3685-8B7B-4DF1-80E6-B1C607748658}" type="pres">
      <dgm:prSet presAssocID="{9FE05973-4133-4117-8650-3EEE8985352C}" presName="space" presStyleCnt="0"/>
      <dgm:spPr/>
    </dgm:pt>
    <dgm:pt modelId="{98985C76-6DFC-4E9D-8117-9660CF65BC6D}" type="pres">
      <dgm:prSet presAssocID="{B2CDC2D0-9BFD-4BF5-8937-305145466DF6}" presName="compositeA" presStyleCnt="0"/>
      <dgm:spPr/>
    </dgm:pt>
    <dgm:pt modelId="{0E3DE2B4-3B9B-47E3-9F1F-9E92F27DEE99}" type="pres">
      <dgm:prSet presAssocID="{B2CDC2D0-9BFD-4BF5-8937-305145466DF6}" presName="textA" presStyleLbl="revTx" presStyleIdx="2" presStyleCnt="4">
        <dgm:presLayoutVars>
          <dgm:bulletEnabled val="1"/>
        </dgm:presLayoutVars>
      </dgm:prSet>
      <dgm:spPr/>
    </dgm:pt>
    <dgm:pt modelId="{C50D84A6-9DD6-481A-AE4F-85B1BA40D147}" type="pres">
      <dgm:prSet presAssocID="{B2CDC2D0-9BFD-4BF5-8937-305145466DF6}" presName="circleA" presStyleLbl="node1" presStyleIdx="2" presStyleCnt="4"/>
      <dgm:spPr/>
    </dgm:pt>
    <dgm:pt modelId="{5FEED798-861D-42C0-BE2C-1627554F3D00}" type="pres">
      <dgm:prSet presAssocID="{B2CDC2D0-9BFD-4BF5-8937-305145466DF6}" presName="spaceA" presStyleCnt="0"/>
      <dgm:spPr/>
    </dgm:pt>
    <dgm:pt modelId="{3638444F-936E-46E5-8F00-6E339CF00F1C}" type="pres">
      <dgm:prSet presAssocID="{24B27A78-DD17-4FEC-8210-B147735FDD56}" presName="space" presStyleCnt="0"/>
      <dgm:spPr/>
    </dgm:pt>
    <dgm:pt modelId="{C53BE960-539D-4BA7-9ABA-215797BC8445}" type="pres">
      <dgm:prSet presAssocID="{1C8C810C-192D-4B98-84A0-FC298960AB83}" presName="compositeB" presStyleCnt="0"/>
      <dgm:spPr/>
    </dgm:pt>
    <dgm:pt modelId="{4F0DBF91-9526-4340-807E-85DB5BD98C7B}" type="pres">
      <dgm:prSet presAssocID="{1C8C810C-192D-4B98-84A0-FC298960AB83}" presName="textB" presStyleLbl="revTx" presStyleIdx="3" presStyleCnt="4">
        <dgm:presLayoutVars>
          <dgm:bulletEnabled val="1"/>
        </dgm:presLayoutVars>
      </dgm:prSet>
      <dgm:spPr/>
    </dgm:pt>
    <dgm:pt modelId="{9AE73398-3955-4EA2-96FB-5E18FB7DAFC9}" type="pres">
      <dgm:prSet presAssocID="{1C8C810C-192D-4B98-84A0-FC298960AB83}" presName="circleB" presStyleLbl="node1" presStyleIdx="3" presStyleCnt="4"/>
      <dgm:spPr/>
    </dgm:pt>
    <dgm:pt modelId="{E3AF5407-4619-4C86-A28C-74D94014B92F}" type="pres">
      <dgm:prSet presAssocID="{1C8C810C-192D-4B98-84A0-FC298960AB83}" presName="spaceB" presStyleCnt="0"/>
      <dgm:spPr/>
    </dgm:pt>
  </dgm:ptLst>
  <dgm:cxnLst>
    <dgm:cxn modelId="{8C5CC701-CFDC-433B-8A2E-65B7EDD24D49}" srcId="{B2CDC2D0-9BFD-4BF5-8937-305145466DF6}" destId="{1E76F26F-73A5-4F16-AFBB-47158353CC38}" srcOrd="1" destOrd="0" parTransId="{EBC7C7A4-B75F-46C3-9CC5-157E6B2F140C}" sibTransId="{68DBA37B-FFCA-4436-B1AA-BA3E1369FF03}"/>
    <dgm:cxn modelId="{CDE12A06-7BA2-4EA9-8E38-835B44F95528}" type="presOf" srcId="{19D30BBC-FECC-46CA-A4C5-B9209007A435}" destId="{BA41191A-752F-4E20-AB7E-44655E51EADD}" srcOrd="0" destOrd="2" presId="urn:microsoft.com/office/officeart/2005/8/layout/hProcess11"/>
    <dgm:cxn modelId="{63BAE407-B0C1-4493-88F9-6F176EB8DE02}" srcId="{E536C023-628C-415D-AA9D-962D0F1F2189}" destId="{19D30BBC-FECC-46CA-A4C5-B9209007A435}" srcOrd="1" destOrd="0" parTransId="{F56E61E2-CA11-4131-9B05-3C7A4B446EB3}" sibTransId="{D7210561-0E8E-4221-9473-A3DC667D6CD2}"/>
    <dgm:cxn modelId="{78621A12-B556-4266-9FEE-715195658BF4}" srcId="{B2CDC2D0-9BFD-4BF5-8937-305145466DF6}" destId="{1F81B9D2-3A59-4C7A-B3A4-CE2AD2D296A4}" srcOrd="4" destOrd="0" parTransId="{0D1373D8-8093-491D-8B0E-3D89043B934E}" sibTransId="{3AA68CF8-16FB-4826-9892-F09FA133C539}"/>
    <dgm:cxn modelId="{FE5A1419-4BCB-4EA3-82D9-4DBF75583DFE}" srcId="{5E8CFC23-3BBE-41B7-82C9-5B4A6CACB518}" destId="{D8E8A5AD-66DF-45C1-91A2-A4CDE729E853}" srcOrd="2" destOrd="0" parTransId="{48C072DB-0DF6-4641-B827-DA763162CE85}" sibTransId="{EF96B113-5D6E-488E-9147-50440916D50B}"/>
    <dgm:cxn modelId="{620F3F21-B9CB-403B-BAC7-0FA110D6EA5E}" srcId="{E536C023-628C-415D-AA9D-962D0F1F2189}" destId="{E1B92596-099B-4E44-B7BD-35B06C5228AB}" srcOrd="2" destOrd="0" parTransId="{7AD86228-87D7-4DCB-9EAF-3415E8669859}" sibTransId="{24DA50E8-DEBA-4190-90E7-5B736E5DC171}"/>
    <dgm:cxn modelId="{86C09A21-364D-48A2-850E-45E8850E6E72}" type="presOf" srcId="{D5D59762-32AB-4B95-8E45-614B03E1BE0B}" destId="{0E3DE2B4-3B9B-47E3-9F1F-9E92F27DEE99}" srcOrd="0" destOrd="4" presId="urn:microsoft.com/office/officeart/2005/8/layout/hProcess11"/>
    <dgm:cxn modelId="{6F062526-4B44-4B5E-9625-90318FBCA3D4}" srcId="{E536C023-628C-415D-AA9D-962D0F1F2189}" destId="{42CD3774-FFA4-40A7-A43F-C17230FD311A}" srcOrd="0" destOrd="0" parTransId="{01C8813B-69CA-493E-AB09-2461247847F1}" sibTransId="{C452469D-C15E-4C53-B774-86640688B635}"/>
    <dgm:cxn modelId="{FDF3EE2A-F3F4-4432-A4C7-5EFACE54CCCF}" type="presOf" srcId="{D8E8A5AD-66DF-45C1-91A2-A4CDE729E853}" destId="{20E83831-63A8-4736-B62D-7D2C33B661E6}" srcOrd="0" destOrd="3" presId="urn:microsoft.com/office/officeart/2005/8/layout/hProcess11"/>
    <dgm:cxn modelId="{72525E31-7852-42B6-B3D6-F2082B35B542}" type="presOf" srcId="{F58976BB-A0CB-4F70-BCF3-C159104F6BB2}" destId="{BA41191A-752F-4E20-AB7E-44655E51EADD}" srcOrd="0" destOrd="4" presId="urn:microsoft.com/office/officeart/2005/8/layout/hProcess11"/>
    <dgm:cxn modelId="{BC2E9436-AAF1-418C-88ED-DE9117918CD7}" type="presOf" srcId="{42CD3774-FFA4-40A7-A43F-C17230FD311A}" destId="{BA41191A-752F-4E20-AB7E-44655E51EADD}" srcOrd="0" destOrd="1" presId="urn:microsoft.com/office/officeart/2005/8/layout/hProcess11"/>
    <dgm:cxn modelId="{D9B6F039-38CB-433E-968D-2E7AB584EDB3}" srcId="{B2CDC2D0-9BFD-4BF5-8937-305145466DF6}" destId="{3CBB8683-E796-4E12-8502-EE8C3B6F078E}" srcOrd="2" destOrd="0" parTransId="{CF35CC95-6C35-4EC0-A70F-1B7C8F0423ED}" sibTransId="{CB76CD93-A587-4064-9638-D609B9E4E2CC}"/>
    <dgm:cxn modelId="{D33B5F3A-CE61-47BD-992B-96B9CBFAB8B4}" type="presOf" srcId="{1C8C810C-192D-4B98-84A0-FC298960AB83}" destId="{4F0DBF91-9526-4340-807E-85DB5BD98C7B}" srcOrd="0" destOrd="0" presId="urn:microsoft.com/office/officeart/2005/8/layout/hProcess11"/>
    <dgm:cxn modelId="{CA414641-B452-4212-8019-FD34145BA29D}" srcId="{5E8CFC23-3BBE-41B7-82C9-5B4A6CACB518}" destId="{814185FB-AA21-4300-9059-5D1C10F3C26B}" srcOrd="1" destOrd="0" parTransId="{93491BE7-EE8A-43D0-9E02-C523CB52D75C}" sibTransId="{2A46A478-2BF0-4B18-962A-78D7F057FF8C}"/>
    <dgm:cxn modelId="{B08FBE41-36D2-47BC-9938-191156EAA4BB}" srcId="{5E8CFC23-3BBE-41B7-82C9-5B4A6CACB518}" destId="{9890DFDD-8F43-4616-8D19-F8420B7DED04}" srcOrd="0" destOrd="0" parTransId="{0E101394-1069-4806-9203-5F80F56DAE99}" sibTransId="{76CAC40F-BAAD-477B-8093-B28B5ACECAF5}"/>
    <dgm:cxn modelId="{4B375B48-F537-4042-92B3-155C6F7BF3A5}" srcId="{1C8C810C-192D-4B98-84A0-FC298960AB83}" destId="{4C0B4ABC-6CE8-4C6B-9288-2D2FA19F7117}" srcOrd="0" destOrd="0" parTransId="{324506AD-DEEA-4EEC-90FE-30BA43BB57B4}" sibTransId="{98FB35AA-C96B-4906-BEF1-DBFEA340E1C6}"/>
    <dgm:cxn modelId="{6250E36D-A364-4B38-A01A-60DA7A029C0C}" type="presOf" srcId="{4C0B4ABC-6CE8-4C6B-9288-2D2FA19F7117}" destId="{4F0DBF91-9526-4340-807E-85DB5BD98C7B}" srcOrd="0" destOrd="1" presId="urn:microsoft.com/office/officeart/2005/8/layout/hProcess11"/>
    <dgm:cxn modelId="{2261F86D-BEE0-42D9-AA51-663EF267823D}" type="presOf" srcId="{B2CDC2D0-9BFD-4BF5-8937-305145466DF6}" destId="{0E3DE2B4-3B9B-47E3-9F1F-9E92F27DEE99}" srcOrd="0" destOrd="0" presId="urn:microsoft.com/office/officeart/2005/8/layout/hProcess11"/>
    <dgm:cxn modelId="{C6A6386F-476D-4633-9F96-F1609E3D5EB7}" srcId="{B32BE603-0F34-465F-9929-BD40BCCABAB0}" destId="{5E8CFC23-3BBE-41B7-82C9-5B4A6CACB518}" srcOrd="0" destOrd="0" parTransId="{F3D2ABD1-B810-42C1-B3DE-BC5B7155869F}" sibTransId="{35404E1C-4839-4BCC-A4A4-2FB0C0C4EC62}"/>
    <dgm:cxn modelId="{79582C74-A961-4065-B945-4C77252D168C}" type="presOf" srcId="{E536C023-628C-415D-AA9D-962D0F1F2189}" destId="{BA41191A-752F-4E20-AB7E-44655E51EADD}" srcOrd="0" destOrd="0" presId="urn:microsoft.com/office/officeart/2005/8/layout/hProcess11"/>
    <dgm:cxn modelId="{FBFBD681-4218-481A-B2C0-B577B4907688}" srcId="{B2CDC2D0-9BFD-4BF5-8937-305145466DF6}" destId="{D5D59762-32AB-4B95-8E45-614B03E1BE0B}" srcOrd="3" destOrd="0" parTransId="{BABA2C65-DD0F-4017-B54E-50FA0715A354}" sibTransId="{CE46E616-177D-48C4-823A-6B68CED00D78}"/>
    <dgm:cxn modelId="{C46C7285-0068-48A2-8084-40D7D52FD5C7}" srcId="{B32BE603-0F34-465F-9929-BD40BCCABAB0}" destId="{1C8C810C-192D-4B98-84A0-FC298960AB83}" srcOrd="3" destOrd="0" parTransId="{206E9315-3E6E-4039-AF6B-0A151E9A4DDB}" sibTransId="{C381B38C-4FB2-4485-8FB5-F5F9914ECD4A}"/>
    <dgm:cxn modelId="{472AE885-ED1B-4426-BDD8-962BE07B9B7A}" srcId="{B32BE603-0F34-465F-9929-BD40BCCABAB0}" destId="{B2CDC2D0-9BFD-4BF5-8937-305145466DF6}" srcOrd="2" destOrd="0" parTransId="{B3250FE3-3C26-4243-82FE-122E27E83F56}" sibTransId="{24B27A78-DD17-4FEC-8210-B147735FDD56}"/>
    <dgm:cxn modelId="{CF7CB08B-EB90-4E36-A720-905E6716E374}" type="presOf" srcId="{B32BE603-0F34-465F-9929-BD40BCCABAB0}" destId="{8AF3F1BA-5969-43C5-8BFB-077865A2A651}" srcOrd="0" destOrd="0" presId="urn:microsoft.com/office/officeart/2005/8/layout/hProcess11"/>
    <dgm:cxn modelId="{8E3FBE8B-4BF0-43B5-91D7-BD80D3751699}" type="presOf" srcId="{3CBB8683-E796-4E12-8502-EE8C3B6F078E}" destId="{0E3DE2B4-3B9B-47E3-9F1F-9E92F27DEE99}" srcOrd="0" destOrd="3" presId="urn:microsoft.com/office/officeart/2005/8/layout/hProcess11"/>
    <dgm:cxn modelId="{FCB9F196-F13A-4B38-9A18-13CE03ADA376}" type="presOf" srcId="{5E8CFC23-3BBE-41B7-82C9-5B4A6CACB518}" destId="{20E83831-63A8-4736-B62D-7D2C33B661E6}" srcOrd="0" destOrd="0" presId="urn:microsoft.com/office/officeart/2005/8/layout/hProcess11"/>
    <dgm:cxn modelId="{8DEB439A-25F2-4986-A347-C6B5BCA568D9}" type="presOf" srcId="{E1B92596-099B-4E44-B7BD-35B06C5228AB}" destId="{BA41191A-752F-4E20-AB7E-44655E51EADD}" srcOrd="0" destOrd="3" presId="urn:microsoft.com/office/officeart/2005/8/layout/hProcess11"/>
    <dgm:cxn modelId="{D0DFEF9F-5A13-498B-A18B-227602C4081B}" srcId="{B2CDC2D0-9BFD-4BF5-8937-305145466DF6}" destId="{E7ABA320-17E5-478C-A6D7-1632FEA06835}" srcOrd="0" destOrd="0" parTransId="{F5B9F348-A0AF-49D3-98F3-B558AA34BEDF}" sibTransId="{7F431A76-35FF-49F2-A681-4D7A832DBB03}"/>
    <dgm:cxn modelId="{7B0541A3-D4B8-42EF-A40B-B36D56ABCD03}" type="presOf" srcId="{1F81B9D2-3A59-4C7A-B3A4-CE2AD2D296A4}" destId="{0E3DE2B4-3B9B-47E3-9F1F-9E92F27DEE99}" srcOrd="0" destOrd="5" presId="urn:microsoft.com/office/officeart/2005/8/layout/hProcess11"/>
    <dgm:cxn modelId="{A9282AA5-2ACF-49E1-BC84-2B4DB41DAD98}" type="presOf" srcId="{9890DFDD-8F43-4616-8D19-F8420B7DED04}" destId="{20E83831-63A8-4736-B62D-7D2C33B661E6}" srcOrd="0" destOrd="1" presId="urn:microsoft.com/office/officeart/2005/8/layout/hProcess11"/>
    <dgm:cxn modelId="{D434BBB2-3249-4461-AFC1-065848212527}" srcId="{B32BE603-0F34-465F-9929-BD40BCCABAB0}" destId="{E536C023-628C-415D-AA9D-962D0F1F2189}" srcOrd="1" destOrd="0" parTransId="{3E78613A-E468-4F1F-897A-DE2DD80C4E34}" sibTransId="{9FE05973-4133-4117-8650-3EEE8985352C}"/>
    <dgm:cxn modelId="{6D15CCB7-838E-43BB-96E1-68C8CE52423D}" type="presOf" srcId="{A253209E-A12D-4DEF-BF54-DE65F2F5DD02}" destId="{BA41191A-752F-4E20-AB7E-44655E51EADD}" srcOrd="0" destOrd="5" presId="urn:microsoft.com/office/officeart/2005/8/layout/hProcess11"/>
    <dgm:cxn modelId="{A0F063D7-FC9B-4136-A48D-8D4CF57FC9EF}" type="presOf" srcId="{1E76F26F-73A5-4F16-AFBB-47158353CC38}" destId="{0E3DE2B4-3B9B-47E3-9F1F-9E92F27DEE99}" srcOrd="0" destOrd="2" presId="urn:microsoft.com/office/officeart/2005/8/layout/hProcess11"/>
    <dgm:cxn modelId="{ED2FD0D9-8292-4D23-A251-41C3178B49D3}" srcId="{E536C023-628C-415D-AA9D-962D0F1F2189}" destId="{A253209E-A12D-4DEF-BF54-DE65F2F5DD02}" srcOrd="4" destOrd="0" parTransId="{0790DF86-D234-464C-ADB5-33E89E608A76}" sibTransId="{1E646B76-BE7C-44BA-BDDE-90962735F2AB}"/>
    <dgm:cxn modelId="{2CFBB0DB-65AC-4FC4-BF29-54B417B6206D}" type="presOf" srcId="{E7ABA320-17E5-478C-A6D7-1632FEA06835}" destId="{0E3DE2B4-3B9B-47E3-9F1F-9E92F27DEE99}" srcOrd="0" destOrd="1" presId="urn:microsoft.com/office/officeart/2005/8/layout/hProcess11"/>
    <dgm:cxn modelId="{6CCA12DD-B3C1-4EB6-AD49-56964FA505F7}" srcId="{E536C023-628C-415D-AA9D-962D0F1F2189}" destId="{F58976BB-A0CB-4F70-BCF3-C159104F6BB2}" srcOrd="3" destOrd="0" parTransId="{6AC4025A-54DC-41F8-B36A-9CC50774554A}" sibTransId="{A6363220-3E35-45DD-B98D-78125CDBFD2A}"/>
    <dgm:cxn modelId="{69AAD6F9-480B-4FCB-9932-8414ED8DB69E}" type="presOf" srcId="{814185FB-AA21-4300-9059-5D1C10F3C26B}" destId="{20E83831-63A8-4736-B62D-7D2C33B661E6}" srcOrd="0" destOrd="2" presId="urn:microsoft.com/office/officeart/2005/8/layout/hProcess11"/>
    <dgm:cxn modelId="{567EA0E6-51CC-4A9C-82E4-6D60D985CE1F}" type="presParOf" srcId="{8AF3F1BA-5969-43C5-8BFB-077865A2A651}" destId="{B3A7A256-5718-40C6-8433-A6EB731A366A}" srcOrd="0" destOrd="0" presId="urn:microsoft.com/office/officeart/2005/8/layout/hProcess11"/>
    <dgm:cxn modelId="{B19530D5-9491-4F89-8176-504306DE6285}" type="presParOf" srcId="{8AF3F1BA-5969-43C5-8BFB-077865A2A651}" destId="{7C29544A-5B95-4706-92CC-754F2DA6E449}" srcOrd="1" destOrd="0" presId="urn:microsoft.com/office/officeart/2005/8/layout/hProcess11"/>
    <dgm:cxn modelId="{889E7931-B173-4ACB-8107-65BF596CF830}" type="presParOf" srcId="{7C29544A-5B95-4706-92CC-754F2DA6E449}" destId="{E6009CD3-0689-4403-89F0-0DC5CAF957AC}" srcOrd="0" destOrd="0" presId="urn:microsoft.com/office/officeart/2005/8/layout/hProcess11"/>
    <dgm:cxn modelId="{0E697189-586E-4569-BDC7-25D2756BB2B7}" type="presParOf" srcId="{E6009CD3-0689-4403-89F0-0DC5CAF957AC}" destId="{20E83831-63A8-4736-B62D-7D2C33B661E6}" srcOrd="0" destOrd="0" presId="urn:microsoft.com/office/officeart/2005/8/layout/hProcess11"/>
    <dgm:cxn modelId="{7AD43C4C-A0D2-4B80-A701-E4E2C418E9CA}" type="presParOf" srcId="{E6009CD3-0689-4403-89F0-0DC5CAF957AC}" destId="{3F2A57A6-6593-421C-88E6-4A9F5F97ECA1}" srcOrd="1" destOrd="0" presId="urn:microsoft.com/office/officeart/2005/8/layout/hProcess11"/>
    <dgm:cxn modelId="{701FC184-3423-4592-98BD-263F6030D555}" type="presParOf" srcId="{E6009CD3-0689-4403-89F0-0DC5CAF957AC}" destId="{8FFCBA8B-CAE9-480C-B8FE-17140A319545}" srcOrd="2" destOrd="0" presId="urn:microsoft.com/office/officeart/2005/8/layout/hProcess11"/>
    <dgm:cxn modelId="{A95E6108-AE77-4BE8-BE7A-B6554A64BDB6}" type="presParOf" srcId="{7C29544A-5B95-4706-92CC-754F2DA6E449}" destId="{21D278FE-7BC8-4A0D-B482-AD0B43B7B810}" srcOrd="1" destOrd="0" presId="urn:microsoft.com/office/officeart/2005/8/layout/hProcess11"/>
    <dgm:cxn modelId="{0DA1E446-7188-4BDE-8262-5D91E49149E5}" type="presParOf" srcId="{7C29544A-5B95-4706-92CC-754F2DA6E449}" destId="{630CFC4B-4823-4859-A0B5-71B9156D2ABD}" srcOrd="2" destOrd="0" presId="urn:microsoft.com/office/officeart/2005/8/layout/hProcess11"/>
    <dgm:cxn modelId="{624192DC-6BAE-42FA-AC26-B5121A266CB2}" type="presParOf" srcId="{630CFC4B-4823-4859-A0B5-71B9156D2ABD}" destId="{BA41191A-752F-4E20-AB7E-44655E51EADD}" srcOrd="0" destOrd="0" presId="urn:microsoft.com/office/officeart/2005/8/layout/hProcess11"/>
    <dgm:cxn modelId="{76793303-64C6-4FBC-92CE-A74E8CC8E63F}" type="presParOf" srcId="{630CFC4B-4823-4859-A0B5-71B9156D2ABD}" destId="{26111A4C-0B05-456F-B746-5DF02A27F4F3}" srcOrd="1" destOrd="0" presId="urn:microsoft.com/office/officeart/2005/8/layout/hProcess11"/>
    <dgm:cxn modelId="{20790B77-E5A0-42C0-B8B4-3AD4D7B05394}" type="presParOf" srcId="{630CFC4B-4823-4859-A0B5-71B9156D2ABD}" destId="{93AF3379-B35D-46F0-8F81-8D27CBE1DE62}" srcOrd="2" destOrd="0" presId="urn:microsoft.com/office/officeart/2005/8/layout/hProcess11"/>
    <dgm:cxn modelId="{2237F4C7-14B7-4E11-9827-4E1A041C94CF}" type="presParOf" srcId="{7C29544A-5B95-4706-92CC-754F2DA6E449}" destId="{0B0D3685-8B7B-4DF1-80E6-B1C607748658}" srcOrd="3" destOrd="0" presId="urn:microsoft.com/office/officeart/2005/8/layout/hProcess11"/>
    <dgm:cxn modelId="{4337A008-069C-43F1-8976-04A0EC1F9A87}" type="presParOf" srcId="{7C29544A-5B95-4706-92CC-754F2DA6E449}" destId="{98985C76-6DFC-4E9D-8117-9660CF65BC6D}" srcOrd="4" destOrd="0" presId="urn:microsoft.com/office/officeart/2005/8/layout/hProcess11"/>
    <dgm:cxn modelId="{9EA6F7FE-ABA3-46B6-B5D1-34A651A92DF4}" type="presParOf" srcId="{98985C76-6DFC-4E9D-8117-9660CF65BC6D}" destId="{0E3DE2B4-3B9B-47E3-9F1F-9E92F27DEE99}" srcOrd="0" destOrd="0" presId="urn:microsoft.com/office/officeart/2005/8/layout/hProcess11"/>
    <dgm:cxn modelId="{99509999-B977-4033-9B27-51FC4B78880B}" type="presParOf" srcId="{98985C76-6DFC-4E9D-8117-9660CF65BC6D}" destId="{C50D84A6-9DD6-481A-AE4F-85B1BA40D147}" srcOrd="1" destOrd="0" presId="urn:microsoft.com/office/officeart/2005/8/layout/hProcess11"/>
    <dgm:cxn modelId="{71B20065-1887-42CE-94C4-247F0CD08D4E}" type="presParOf" srcId="{98985C76-6DFC-4E9D-8117-9660CF65BC6D}" destId="{5FEED798-861D-42C0-BE2C-1627554F3D00}" srcOrd="2" destOrd="0" presId="urn:microsoft.com/office/officeart/2005/8/layout/hProcess11"/>
    <dgm:cxn modelId="{5BCB9AD5-F054-4A29-B2B9-DD756AEF5B6A}" type="presParOf" srcId="{7C29544A-5B95-4706-92CC-754F2DA6E449}" destId="{3638444F-936E-46E5-8F00-6E339CF00F1C}" srcOrd="5" destOrd="0" presId="urn:microsoft.com/office/officeart/2005/8/layout/hProcess11"/>
    <dgm:cxn modelId="{902461F8-D63C-41B3-B8F6-8D6D8A16FFE1}" type="presParOf" srcId="{7C29544A-5B95-4706-92CC-754F2DA6E449}" destId="{C53BE960-539D-4BA7-9ABA-215797BC8445}" srcOrd="6" destOrd="0" presId="urn:microsoft.com/office/officeart/2005/8/layout/hProcess11"/>
    <dgm:cxn modelId="{7C66C08B-5586-4EAF-A993-63ABF4D5C0BE}" type="presParOf" srcId="{C53BE960-539D-4BA7-9ABA-215797BC8445}" destId="{4F0DBF91-9526-4340-807E-85DB5BD98C7B}" srcOrd="0" destOrd="0" presId="urn:microsoft.com/office/officeart/2005/8/layout/hProcess11"/>
    <dgm:cxn modelId="{E95252D6-68EB-49EC-AE60-B57E34F5C5D6}" type="presParOf" srcId="{C53BE960-539D-4BA7-9ABA-215797BC8445}" destId="{9AE73398-3955-4EA2-96FB-5E18FB7DAFC9}" srcOrd="1" destOrd="0" presId="urn:microsoft.com/office/officeart/2005/8/layout/hProcess11"/>
    <dgm:cxn modelId="{1FA50FB8-F4C4-4D21-8C25-E94A031149FA}" type="presParOf" srcId="{C53BE960-539D-4BA7-9ABA-215797BC8445}" destId="{E3AF5407-4619-4C86-A28C-74D94014B92F}"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32BE603-0F34-465F-9929-BD40BCCABAB0}" type="doc">
      <dgm:prSet loTypeId="urn:microsoft.com/office/officeart/2005/8/layout/hProcess11" loCatId="process" qsTypeId="urn:microsoft.com/office/officeart/2005/8/quickstyle/simple1" qsCatId="simple" csTypeId="urn:microsoft.com/office/officeart/2005/8/colors/accent1_2" csCatId="accent1" phldr="1"/>
      <dgm:spPr/>
    </dgm:pt>
    <dgm:pt modelId="{5E8CFC23-3BBE-41B7-82C9-5B4A6CACB518}">
      <dgm:prSet phldrT="[Text]" custT="1"/>
      <dgm:spPr/>
      <dgm:t>
        <a:bodyPr/>
        <a:lstStyle/>
        <a:p>
          <a:r>
            <a:rPr lang="en-GB" sz="1400" b="1" dirty="0">
              <a:latin typeface="Arial" panose="020B0604020202020204" pitchFamily="34" charset="0"/>
              <a:cs typeface="Arial" panose="020B0604020202020204" pitchFamily="34" charset="0"/>
            </a:rPr>
            <a:t>October</a:t>
          </a:r>
        </a:p>
      </dgm:t>
    </dgm:pt>
    <dgm:pt modelId="{F3D2ABD1-B810-42C1-B3DE-BC5B7155869F}" type="parTrans" cxnId="{C6A6386F-476D-4633-9F96-F1609E3D5EB7}">
      <dgm:prSet/>
      <dgm:spPr/>
      <dgm:t>
        <a:bodyPr/>
        <a:lstStyle/>
        <a:p>
          <a:endParaRPr lang="en-GB"/>
        </a:p>
      </dgm:t>
    </dgm:pt>
    <dgm:pt modelId="{35404E1C-4839-4BCC-A4A4-2FB0C0C4EC62}" type="sibTrans" cxnId="{C6A6386F-476D-4633-9F96-F1609E3D5EB7}">
      <dgm:prSet/>
      <dgm:spPr/>
      <dgm:t>
        <a:bodyPr/>
        <a:lstStyle/>
        <a:p>
          <a:endParaRPr lang="en-GB"/>
        </a:p>
      </dgm:t>
    </dgm:pt>
    <dgm:pt modelId="{F47FF1A5-6491-4D86-9E18-E4505CFA6634}">
      <dgm:prSet phldrT="[Text]" custT="1"/>
      <dgm:spPr/>
      <dgm:t>
        <a:bodyPr/>
        <a:lstStyle/>
        <a:p>
          <a:r>
            <a:rPr lang="en-GB" sz="1400" b="0" dirty="0">
              <a:latin typeface="Arial" panose="020B0604020202020204" pitchFamily="34" charset="0"/>
              <a:cs typeface="Arial" panose="020B0604020202020204" pitchFamily="34" charset="0"/>
            </a:rPr>
            <a:t>GSR027 – 6 and 8 Oct</a:t>
          </a:r>
        </a:p>
      </dgm:t>
    </dgm:pt>
    <dgm:pt modelId="{6182E7B2-70FF-42D6-9312-0D14176AE6FC}" type="parTrans" cxnId="{C4E68DF5-EA8F-42E3-B035-4D6BA951AEF4}">
      <dgm:prSet/>
      <dgm:spPr/>
      <dgm:t>
        <a:bodyPr/>
        <a:lstStyle/>
        <a:p>
          <a:endParaRPr lang="en-GB"/>
        </a:p>
      </dgm:t>
    </dgm:pt>
    <dgm:pt modelId="{E485B793-F308-40D7-A1F5-77A54F3333EB}" type="sibTrans" cxnId="{C4E68DF5-EA8F-42E3-B035-4D6BA951AEF4}">
      <dgm:prSet/>
      <dgm:spPr/>
      <dgm:t>
        <a:bodyPr/>
        <a:lstStyle/>
        <a:p>
          <a:endParaRPr lang="en-GB"/>
        </a:p>
      </dgm:t>
    </dgm:pt>
    <dgm:pt modelId="{F895CFA8-F30F-4C93-936B-7AF08A3CF7E3}">
      <dgm:prSet phldrT="[Text]" custT="1"/>
      <dgm:spPr/>
      <dgm:t>
        <a:bodyPr/>
        <a:lstStyle/>
        <a:p>
          <a:r>
            <a:rPr lang="en-GB" sz="1400" b="1" dirty="0">
              <a:latin typeface="Arial" panose="020B0604020202020204" pitchFamily="34" charset="0"/>
              <a:cs typeface="Arial" panose="020B0604020202020204" pitchFamily="34" charset="0"/>
            </a:rPr>
            <a:t>November</a:t>
          </a:r>
        </a:p>
      </dgm:t>
    </dgm:pt>
    <dgm:pt modelId="{5B83E484-FBF0-4928-8B90-400B9AF65264}" type="parTrans" cxnId="{94C0FDF7-AE96-4091-B7CA-BE0C0CC9CA77}">
      <dgm:prSet/>
      <dgm:spPr/>
      <dgm:t>
        <a:bodyPr/>
        <a:lstStyle/>
        <a:p>
          <a:endParaRPr lang="en-GB"/>
        </a:p>
      </dgm:t>
    </dgm:pt>
    <dgm:pt modelId="{78D7E204-6E6C-4E79-A10E-14AA27EE6A02}" type="sibTrans" cxnId="{94C0FDF7-AE96-4091-B7CA-BE0C0CC9CA77}">
      <dgm:prSet/>
      <dgm:spPr/>
      <dgm:t>
        <a:bodyPr/>
        <a:lstStyle/>
        <a:p>
          <a:endParaRPr lang="en-GB"/>
        </a:p>
      </dgm:t>
    </dgm:pt>
    <dgm:pt modelId="{68CC81F2-940D-40BE-9483-985AB5CD5E5C}">
      <dgm:prSet phldrT="[Text]" custT="1"/>
      <dgm:spPr/>
      <dgm:t>
        <a:bodyPr/>
        <a:lstStyle/>
        <a:p>
          <a:r>
            <a:rPr lang="en-GB" sz="1400" b="1" dirty="0">
              <a:latin typeface="Arial" panose="020B0604020202020204" pitchFamily="34" charset="0"/>
              <a:cs typeface="Arial" panose="020B0604020202020204" pitchFamily="34" charset="0"/>
            </a:rPr>
            <a:t>December</a:t>
          </a:r>
        </a:p>
      </dgm:t>
    </dgm:pt>
    <dgm:pt modelId="{2BF8F893-6DE5-455D-8AA5-D19E6FCEC9BD}" type="parTrans" cxnId="{65B34ADE-33B8-4D27-958D-1E6652493286}">
      <dgm:prSet/>
      <dgm:spPr/>
      <dgm:t>
        <a:bodyPr/>
        <a:lstStyle/>
        <a:p>
          <a:endParaRPr lang="en-GB"/>
        </a:p>
      </dgm:t>
    </dgm:pt>
    <dgm:pt modelId="{19BA551D-7CCE-47C4-B1FB-FB94C3536DDE}" type="sibTrans" cxnId="{65B34ADE-33B8-4D27-958D-1E6652493286}">
      <dgm:prSet/>
      <dgm:spPr/>
      <dgm:t>
        <a:bodyPr/>
        <a:lstStyle/>
        <a:p>
          <a:endParaRPr lang="en-GB"/>
        </a:p>
      </dgm:t>
    </dgm:pt>
    <dgm:pt modelId="{FB1E6296-C4CB-46AC-A72B-CCC6EA6D5AC7}">
      <dgm:prSet phldrT="[Text]" custT="1"/>
      <dgm:spPr/>
      <dgm:t>
        <a:bodyPr/>
        <a:lstStyle/>
        <a:p>
          <a:r>
            <a:rPr lang="en-GB" sz="1400" b="1" dirty="0">
              <a:latin typeface="Arial" panose="020B0604020202020204" pitchFamily="34" charset="0"/>
              <a:cs typeface="Arial" panose="020B0604020202020204" pitchFamily="34" charset="0"/>
            </a:rPr>
            <a:t>January</a:t>
          </a:r>
        </a:p>
      </dgm:t>
    </dgm:pt>
    <dgm:pt modelId="{0D027524-3769-4F77-AD53-A95E95C43486}" type="parTrans" cxnId="{CBE1062F-5E69-4D51-B281-256BC93B10CC}">
      <dgm:prSet/>
      <dgm:spPr/>
      <dgm:t>
        <a:bodyPr/>
        <a:lstStyle/>
        <a:p>
          <a:endParaRPr lang="en-GB"/>
        </a:p>
      </dgm:t>
    </dgm:pt>
    <dgm:pt modelId="{81C677F3-DEB1-4396-B3DA-1D88CAA5F507}" type="sibTrans" cxnId="{CBE1062F-5E69-4D51-B281-256BC93B10CC}">
      <dgm:prSet/>
      <dgm:spPr/>
      <dgm:t>
        <a:bodyPr/>
        <a:lstStyle/>
        <a:p>
          <a:endParaRPr lang="en-GB"/>
        </a:p>
      </dgm:t>
    </dgm:pt>
    <dgm:pt modelId="{8AF3F1BA-5969-43C5-8BFB-077865A2A651}" type="pres">
      <dgm:prSet presAssocID="{B32BE603-0F34-465F-9929-BD40BCCABAB0}" presName="Name0" presStyleCnt="0">
        <dgm:presLayoutVars>
          <dgm:dir/>
          <dgm:resizeHandles val="exact"/>
        </dgm:presLayoutVars>
      </dgm:prSet>
      <dgm:spPr/>
    </dgm:pt>
    <dgm:pt modelId="{B3A7A256-5718-40C6-8433-A6EB731A366A}" type="pres">
      <dgm:prSet presAssocID="{B32BE603-0F34-465F-9929-BD40BCCABAB0}" presName="arrow" presStyleLbl="bgShp" presStyleIdx="0" presStyleCnt="1"/>
      <dgm:spPr/>
    </dgm:pt>
    <dgm:pt modelId="{7C29544A-5B95-4706-92CC-754F2DA6E449}" type="pres">
      <dgm:prSet presAssocID="{B32BE603-0F34-465F-9929-BD40BCCABAB0}" presName="points" presStyleCnt="0"/>
      <dgm:spPr/>
    </dgm:pt>
    <dgm:pt modelId="{B30C981B-CE28-43BA-8977-A5725478CB49}" type="pres">
      <dgm:prSet presAssocID="{5E8CFC23-3BBE-41B7-82C9-5B4A6CACB518}" presName="compositeA" presStyleCnt="0"/>
      <dgm:spPr/>
    </dgm:pt>
    <dgm:pt modelId="{A8498281-16A6-48B7-AD98-90149668AE09}" type="pres">
      <dgm:prSet presAssocID="{5E8CFC23-3BBE-41B7-82C9-5B4A6CACB518}" presName="textA" presStyleLbl="revTx" presStyleIdx="0" presStyleCnt="4">
        <dgm:presLayoutVars>
          <dgm:bulletEnabled val="1"/>
        </dgm:presLayoutVars>
      </dgm:prSet>
      <dgm:spPr/>
    </dgm:pt>
    <dgm:pt modelId="{A89CCC34-59A6-4330-806C-9BADCA929411}" type="pres">
      <dgm:prSet presAssocID="{5E8CFC23-3BBE-41B7-82C9-5B4A6CACB518}" presName="circleA" presStyleLbl="node1" presStyleIdx="0" presStyleCnt="4"/>
      <dgm:spPr/>
    </dgm:pt>
    <dgm:pt modelId="{1641BEF5-B3B0-4588-84DD-32B539DB1C1D}" type="pres">
      <dgm:prSet presAssocID="{5E8CFC23-3BBE-41B7-82C9-5B4A6CACB518}" presName="spaceA" presStyleCnt="0"/>
      <dgm:spPr/>
    </dgm:pt>
    <dgm:pt modelId="{86BC9F42-522F-489C-8E0C-A116AD8B7234}" type="pres">
      <dgm:prSet presAssocID="{35404E1C-4839-4BCC-A4A4-2FB0C0C4EC62}" presName="space" presStyleCnt="0"/>
      <dgm:spPr/>
    </dgm:pt>
    <dgm:pt modelId="{954B4349-794C-454B-9AE5-9BA1FC7A7AC4}" type="pres">
      <dgm:prSet presAssocID="{F895CFA8-F30F-4C93-936B-7AF08A3CF7E3}" presName="compositeB" presStyleCnt="0"/>
      <dgm:spPr/>
    </dgm:pt>
    <dgm:pt modelId="{F15EAF24-7B9A-43BB-A10D-644BD16B455C}" type="pres">
      <dgm:prSet presAssocID="{F895CFA8-F30F-4C93-936B-7AF08A3CF7E3}" presName="textB" presStyleLbl="revTx" presStyleIdx="1" presStyleCnt="4">
        <dgm:presLayoutVars>
          <dgm:bulletEnabled val="1"/>
        </dgm:presLayoutVars>
      </dgm:prSet>
      <dgm:spPr/>
    </dgm:pt>
    <dgm:pt modelId="{32E8468A-F1B7-42AF-A178-F024395C3DBD}" type="pres">
      <dgm:prSet presAssocID="{F895CFA8-F30F-4C93-936B-7AF08A3CF7E3}" presName="circleB" presStyleLbl="node1" presStyleIdx="1" presStyleCnt="4"/>
      <dgm:spPr/>
    </dgm:pt>
    <dgm:pt modelId="{0E340A60-6D65-42C8-97C5-58A3C6524292}" type="pres">
      <dgm:prSet presAssocID="{F895CFA8-F30F-4C93-936B-7AF08A3CF7E3}" presName="spaceB" presStyleCnt="0"/>
      <dgm:spPr/>
    </dgm:pt>
    <dgm:pt modelId="{2FA98C90-3151-4FCC-ACC1-62A5709D4BB9}" type="pres">
      <dgm:prSet presAssocID="{78D7E204-6E6C-4E79-A10E-14AA27EE6A02}" presName="space" presStyleCnt="0"/>
      <dgm:spPr/>
    </dgm:pt>
    <dgm:pt modelId="{541D64FA-F55D-414E-AC59-F8C4E5474FA8}" type="pres">
      <dgm:prSet presAssocID="{68CC81F2-940D-40BE-9483-985AB5CD5E5C}" presName="compositeA" presStyleCnt="0"/>
      <dgm:spPr/>
    </dgm:pt>
    <dgm:pt modelId="{3B4A2A12-74EA-4A60-9A18-6F5F4A29F8DD}" type="pres">
      <dgm:prSet presAssocID="{68CC81F2-940D-40BE-9483-985AB5CD5E5C}" presName="textA" presStyleLbl="revTx" presStyleIdx="2" presStyleCnt="4">
        <dgm:presLayoutVars>
          <dgm:bulletEnabled val="1"/>
        </dgm:presLayoutVars>
      </dgm:prSet>
      <dgm:spPr/>
    </dgm:pt>
    <dgm:pt modelId="{2C4ADE7A-0FA5-4C0D-854E-8F9F0F13744A}" type="pres">
      <dgm:prSet presAssocID="{68CC81F2-940D-40BE-9483-985AB5CD5E5C}" presName="circleA" presStyleLbl="node1" presStyleIdx="2" presStyleCnt="4"/>
      <dgm:spPr/>
    </dgm:pt>
    <dgm:pt modelId="{68FFD469-59F0-43E3-BA3A-F5FA46E0D407}" type="pres">
      <dgm:prSet presAssocID="{68CC81F2-940D-40BE-9483-985AB5CD5E5C}" presName="spaceA" presStyleCnt="0"/>
      <dgm:spPr/>
    </dgm:pt>
    <dgm:pt modelId="{5F9095D7-CFB3-4778-8392-69CA73DF0998}" type="pres">
      <dgm:prSet presAssocID="{19BA551D-7CCE-47C4-B1FB-FB94C3536DDE}" presName="space" presStyleCnt="0"/>
      <dgm:spPr/>
    </dgm:pt>
    <dgm:pt modelId="{C4FE6C79-83ED-4427-B803-7ED09BC1F450}" type="pres">
      <dgm:prSet presAssocID="{FB1E6296-C4CB-46AC-A72B-CCC6EA6D5AC7}" presName="compositeB" presStyleCnt="0"/>
      <dgm:spPr/>
    </dgm:pt>
    <dgm:pt modelId="{7BED4B04-6090-4C12-B439-BAE0E6D1940E}" type="pres">
      <dgm:prSet presAssocID="{FB1E6296-C4CB-46AC-A72B-CCC6EA6D5AC7}" presName="textB" presStyleLbl="revTx" presStyleIdx="3" presStyleCnt="4">
        <dgm:presLayoutVars>
          <dgm:bulletEnabled val="1"/>
        </dgm:presLayoutVars>
      </dgm:prSet>
      <dgm:spPr/>
    </dgm:pt>
    <dgm:pt modelId="{D68F415B-5BC7-440F-BFD8-FDD3F9D6CE72}" type="pres">
      <dgm:prSet presAssocID="{FB1E6296-C4CB-46AC-A72B-CCC6EA6D5AC7}" presName="circleB" presStyleLbl="node1" presStyleIdx="3" presStyleCnt="4"/>
      <dgm:spPr/>
    </dgm:pt>
    <dgm:pt modelId="{4BA96745-2F5D-4C5D-B6A9-17EC191C6473}" type="pres">
      <dgm:prSet presAssocID="{FB1E6296-C4CB-46AC-A72B-CCC6EA6D5AC7}" presName="spaceB" presStyleCnt="0"/>
      <dgm:spPr/>
    </dgm:pt>
  </dgm:ptLst>
  <dgm:cxnLst>
    <dgm:cxn modelId="{CBE1062F-5E69-4D51-B281-256BC93B10CC}" srcId="{B32BE603-0F34-465F-9929-BD40BCCABAB0}" destId="{FB1E6296-C4CB-46AC-A72B-CCC6EA6D5AC7}" srcOrd="3" destOrd="0" parTransId="{0D027524-3769-4F77-AD53-A95E95C43486}" sibTransId="{81C677F3-DEB1-4396-B3DA-1D88CAA5F507}"/>
    <dgm:cxn modelId="{F823724E-29F1-454C-A12C-A461DEB7C123}" type="presOf" srcId="{F895CFA8-F30F-4C93-936B-7AF08A3CF7E3}" destId="{F15EAF24-7B9A-43BB-A10D-644BD16B455C}" srcOrd="0" destOrd="0" presId="urn:microsoft.com/office/officeart/2005/8/layout/hProcess11"/>
    <dgm:cxn modelId="{C6A6386F-476D-4633-9F96-F1609E3D5EB7}" srcId="{B32BE603-0F34-465F-9929-BD40BCCABAB0}" destId="{5E8CFC23-3BBE-41B7-82C9-5B4A6CACB518}" srcOrd="0" destOrd="0" parTransId="{F3D2ABD1-B810-42C1-B3DE-BC5B7155869F}" sibTransId="{35404E1C-4839-4BCC-A4A4-2FB0C0C4EC62}"/>
    <dgm:cxn modelId="{CF7CB08B-EB90-4E36-A720-905E6716E374}" type="presOf" srcId="{B32BE603-0F34-465F-9929-BD40BCCABAB0}" destId="{8AF3F1BA-5969-43C5-8BFB-077865A2A651}" srcOrd="0" destOrd="0" presId="urn:microsoft.com/office/officeart/2005/8/layout/hProcess11"/>
    <dgm:cxn modelId="{E03E2CA6-C519-4138-A029-D0AA6D1CCB90}" type="presOf" srcId="{5E8CFC23-3BBE-41B7-82C9-5B4A6CACB518}" destId="{A8498281-16A6-48B7-AD98-90149668AE09}" srcOrd="0" destOrd="0" presId="urn:microsoft.com/office/officeart/2005/8/layout/hProcess11"/>
    <dgm:cxn modelId="{66E257B4-D814-4196-A2BE-0E7072DAB317}" type="presOf" srcId="{F47FF1A5-6491-4D86-9E18-E4505CFA6634}" destId="{A8498281-16A6-48B7-AD98-90149668AE09}" srcOrd="0" destOrd="1" presId="urn:microsoft.com/office/officeart/2005/8/layout/hProcess11"/>
    <dgm:cxn modelId="{082A57D6-41A2-49F6-AEFD-9F2B089243D1}" type="presOf" srcId="{68CC81F2-940D-40BE-9483-985AB5CD5E5C}" destId="{3B4A2A12-74EA-4A60-9A18-6F5F4A29F8DD}" srcOrd="0" destOrd="0" presId="urn:microsoft.com/office/officeart/2005/8/layout/hProcess11"/>
    <dgm:cxn modelId="{65B34ADE-33B8-4D27-958D-1E6652493286}" srcId="{B32BE603-0F34-465F-9929-BD40BCCABAB0}" destId="{68CC81F2-940D-40BE-9483-985AB5CD5E5C}" srcOrd="2" destOrd="0" parTransId="{2BF8F893-6DE5-455D-8AA5-D19E6FCEC9BD}" sibTransId="{19BA551D-7CCE-47C4-B1FB-FB94C3536DDE}"/>
    <dgm:cxn modelId="{8892C5E5-945D-4B9F-AA20-5EFDB01A6CDD}" type="presOf" srcId="{FB1E6296-C4CB-46AC-A72B-CCC6EA6D5AC7}" destId="{7BED4B04-6090-4C12-B439-BAE0E6D1940E}" srcOrd="0" destOrd="0" presId="urn:microsoft.com/office/officeart/2005/8/layout/hProcess11"/>
    <dgm:cxn modelId="{C4E68DF5-EA8F-42E3-B035-4D6BA951AEF4}" srcId="{5E8CFC23-3BBE-41B7-82C9-5B4A6CACB518}" destId="{F47FF1A5-6491-4D86-9E18-E4505CFA6634}" srcOrd="0" destOrd="0" parTransId="{6182E7B2-70FF-42D6-9312-0D14176AE6FC}" sibTransId="{E485B793-F308-40D7-A1F5-77A54F3333EB}"/>
    <dgm:cxn modelId="{94C0FDF7-AE96-4091-B7CA-BE0C0CC9CA77}" srcId="{B32BE603-0F34-465F-9929-BD40BCCABAB0}" destId="{F895CFA8-F30F-4C93-936B-7AF08A3CF7E3}" srcOrd="1" destOrd="0" parTransId="{5B83E484-FBF0-4928-8B90-400B9AF65264}" sibTransId="{78D7E204-6E6C-4E79-A10E-14AA27EE6A02}"/>
    <dgm:cxn modelId="{567EA0E6-51CC-4A9C-82E4-6D60D985CE1F}" type="presParOf" srcId="{8AF3F1BA-5969-43C5-8BFB-077865A2A651}" destId="{B3A7A256-5718-40C6-8433-A6EB731A366A}" srcOrd="0" destOrd="0" presId="urn:microsoft.com/office/officeart/2005/8/layout/hProcess11"/>
    <dgm:cxn modelId="{B19530D5-9491-4F89-8176-504306DE6285}" type="presParOf" srcId="{8AF3F1BA-5969-43C5-8BFB-077865A2A651}" destId="{7C29544A-5B95-4706-92CC-754F2DA6E449}" srcOrd="1" destOrd="0" presId="urn:microsoft.com/office/officeart/2005/8/layout/hProcess11"/>
    <dgm:cxn modelId="{1D2A1601-7CF2-4513-8DE7-5DF507362702}" type="presParOf" srcId="{7C29544A-5B95-4706-92CC-754F2DA6E449}" destId="{B30C981B-CE28-43BA-8977-A5725478CB49}" srcOrd="0" destOrd="0" presId="urn:microsoft.com/office/officeart/2005/8/layout/hProcess11"/>
    <dgm:cxn modelId="{936E0944-9E19-4E1C-8DE5-B801E4A3A466}" type="presParOf" srcId="{B30C981B-CE28-43BA-8977-A5725478CB49}" destId="{A8498281-16A6-48B7-AD98-90149668AE09}" srcOrd="0" destOrd="0" presId="urn:microsoft.com/office/officeart/2005/8/layout/hProcess11"/>
    <dgm:cxn modelId="{0DF3C616-A19D-4D4D-878A-568628454AE6}" type="presParOf" srcId="{B30C981B-CE28-43BA-8977-A5725478CB49}" destId="{A89CCC34-59A6-4330-806C-9BADCA929411}" srcOrd="1" destOrd="0" presId="urn:microsoft.com/office/officeart/2005/8/layout/hProcess11"/>
    <dgm:cxn modelId="{D569D687-AC0A-4F90-887C-F36B86BD7B0C}" type="presParOf" srcId="{B30C981B-CE28-43BA-8977-A5725478CB49}" destId="{1641BEF5-B3B0-4588-84DD-32B539DB1C1D}" srcOrd="2" destOrd="0" presId="urn:microsoft.com/office/officeart/2005/8/layout/hProcess11"/>
    <dgm:cxn modelId="{3AB76D54-DFAA-4155-9000-A7B5B80551DD}" type="presParOf" srcId="{7C29544A-5B95-4706-92CC-754F2DA6E449}" destId="{86BC9F42-522F-489C-8E0C-A116AD8B7234}" srcOrd="1" destOrd="0" presId="urn:microsoft.com/office/officeart/2005/8/layout/hProcess11"/>
    <dgm:cxn modelId="{A4700792-6D0E-4BF3-9BE5-0FC6124937E4}" type="presParOf" srcId="{7C29544A-5B95-4706-92CC-754F2DA6E449}" destId="{954B4349-794C-454B-9AE5-9BA1FC7A7AC4}" srcOrd="2" destOrd="0" presId="urn:microsoft.com/office/officeart/2005/8/layout/hProcess11"/>
    <dgm:cxn modelId="{A7D744DD-9CC2-44D8-BAC6-CC790EAF6DAD}" type="presParOf" srcId="{954B4349-794C-454B-9AE5-9BA1FC7A7AC4}" destId="{F15EAF24-7B9A-43BB-A10D-644BD16B455C}" srcOrd="0" destOrd="0" presId="urn:microsoft.com/office/officeart/2005/8/layout/hProcess11"/>
    <dgm:cxn modelId="{A385D3EB-30AD-4A08-8E03-EB51CE59513F}" type="presParOf" srcId="{954B4349-794C-454B-9AE5-9BA1FC7A7AC4}" destId="{32E8468A-F1B7-42AF-A178-F024395C3DBD}" srcOrd="1" destOrd="0" presId="urn:microsoft.com/office/officeart/2005/8/layout/hProcess11"/>
    <dgm:cxn modelId="{042C44BD-8E29-49D8-B966-C86CA211A45D}" type="presParOf" srcId="{954B4349-794C-454B-9AE5-9BA1FC7A7AC4}" destId="{0E340A60-6D65-42C8-97C5-58A3C6524292}" srcOrd="2" destOrd="0" presId="urn:microsoft.com/office/officeart/2005/8/layout/hProcess11"/>
    <dgm:cxn modelId="{F72E826F-F183-4154-A274-44350EBBE30C}" type="presParOf" srcId="{7C29544A-5B95-4706-92CC-754F2DA6E449}" destId="{2FA98C90-3151-4FCC-ACC1-62A5709D4BB9}" srcOrd="3" destOrd="0" presId="urn:microsoft.com/office/officeart/2005/8/layout/hProcess11"/>
    <dgm:cxn modelId="{66218323-FE53-4B2F-846F-82828F65E9EB}" type="presParOf" srcId="{7C29544A-5B95-4706-92CC-754F2DA6E449}" destId="{541D64FA-F55D-414E-AC59-F8C4E5474FA8}" srcOrd="4" destOrd="0" presId="urn:microsoft.com/office/officeart/2005/8/layout/hProcess11"/>
    <dgm:cxn modelId="{635B025C-033D-4A5E-8990-A6E10EDF810E}" type="presParOf" srcId="{541D64FA-F55D-414E-AC59-F8C4E5474FA8}" destId="{3B4A2A12-74EA-4A60-9A18-6F5F4A29F8DD}" srcOrd="0" destOrd="0" presId="urn:microsoft.com/office/officeart/2005/8/layout/hProcess11"/>
    <dgm:cxn modelId="{33D240A9-482B-4C98-856A-E2CDB15908E9}" type="presParOf" srcId="{541D64FA-F55D-414E-AC59-F8C4E5474FA8}" destId="{2C4ADE7A-0FA5-4C0D-854E-8F9F0F13744A}" srcOrd="1" destOrd="0" presId="urn:microsoft.com/office/officeart/2005/8/layout/hProcess11"/>
    <dgm:cxn modelId="{C5A14746-577C-4F5F-AEC0-344BCC112F44}" type="presParOf" srcId="{541D64FA-F55D-414E-AC59-F8C4E5474FA8}" destId="{68FFD469-59F0-43E3-BA3A-F5FA46E0D407}" srcOrd="2" destOrd="0" presId="urn:microsoft.com/office/officeart/2005/8/layout/hProcess11"/>
    <dgm:cxn modelId="{548515B6-79C6-4D18-BB26-278942CA240A}" type="presParOf" srcId="{7C29544A-5B95-4706-92CC-754F2DA6E449}" destId="{5F9095D7-CFB3-4778-8392-69CA73DF0998}" srcOrd="5" destOrd="0" presId="urn:microsoft.com/office/officeart/2005/8/layout/hProcess11"/>
    <dgm:cxn modelId="{FEB6542B-A343-40B0-9D2F-596305A2E1A2}" type="presParOf" srcId="{7C29544A-5B95-4706-92CC-754F2DA6E449}" destId="{C4FE6C79-83ED-4427-B803-7ED09BC1F450}" srcOrd="6" destOrd="0" presId="urn:microsoft.com/office/officeart/2005/8/layout/hProcess11"/>
    <dgm:cxn modelId="{E4B64BE4-B1A9-46AB-B998-814ADDB4D3E8}" type="presParOf" srcId="{C4FE6C79-83ED-4427-B803-7ED09BC1F450}" destId="{7BED4B04-6090-4C12-B439-BAE0E6D1940E}" srcOrd="0" destOrd="0" presId="urn:microsoft.com/office/officeart/2005/8/layout/hProcess11"/>
    <dgm:cxn modelId="{D61C2985-877B-454F-A6F3-0D959B943CF7}" type="presParOf" srcId="{C4FE6C79-83ED-4427-B803-7ED09BC1F450}" destId="{D68F415B-5BC7-440F-BFD8-FDD3F9D6CE72}" srcOrd="1" destOrd="0" presId="urn:microsoft.com/office/officeart/2005/8/layout/hProcess11"/>
    <dgm:cxn modelId="{AE1092D5-F6A9-4B34-9FDF-8B2731CF6589}" type="presParOf" srcId="{C4FE6C79-83ED-4427-B803-7ED09BC1F450}" destId="{4BA96745-2F5D-4C5D-B6A9-17EC191C6473}"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5E28F7B-E39D-45D4-BEFF-5472D8644F49}" type="doc">
      <dgm:prSet loTypeId="urn:microsoft.com/office/officeart/2005/8/layout/default" loCatId="list" qsTypeId="urn:microsoft.com/office/officeart/2005/8/quickstyle/simple3" qsCatId="simple" csTypeId="urn:microsoft.com/office/officeart/2005/8/colors/accent1_2" csCatId="accent1" phldr="1"/>
      <dgm:spPr/>
      <dgm:t>
        <a:bodyPr/>
        <a:lstStyle/>
        <a:p>
          <a:endParaRPr lang="en-GB"/>
        </a:p>
      </dgm:t>
    </dgm:pt>
    <dgm:pt modelId="{3D1C492F-FC94-478C-B770-38A13F18736F}">
      <dgm:prSet/>
      <dgm:spPr/>
      <dgm:t>
        <a:bodyPr/>
        <a:lstStyle/>
        <a:p>
          <a:pPr algn="l"/>
          <a:r>
            <a:rPr lang="en-GB" b="1" dirty="0">
              <a:latin typeface="Arial" panose="020B0604020202020204" pitchFamily="34" charset="0"/>
              <a:cs typeface="Arial" panose="020B0604020202020204" pitchFamily="34" charset="0"/>
            </a:rPr>
            <a:t>CMP300 – </a:t>
          </a:r>
          <a:r>
            <a:rPr lang="en-GB" b="0" dirty="0">
              <a:latin typeface="Arial" panose="020B0604020202020204" pitchFamily="34" charset="0"/>
              <a:cs typeface="Arial" panose="020B0604020202020204" pitchFamily="34" charset="0"/>
            </a:rPr>
            <a:t>Agree that the Workgroup has met its Terms of Reference and can proceed to Code Administrator Consultation</a:t>
          </a:r>
          <a:endParaRPr lang="en-GB" dirty="0">
            <a:latin typeface="Arial" panose="020B0604020202020204" pitchFamily="34" charset="0"/>
            <a:cs typeface="Arial" panose="020B0604020202020204" pitchFamily="34" charset="0"/>
          </a:endParaRPr>
        </a:p>
      </dgm:t>
    </dgm:pt>
    <dgm:pt modelId="{BE348649-5E11-4A64-8DE3-CBB6E547BA15}" type="parTrans" cxnId="{99519EE0-61C9-494A-9D54-F4E03295BFA1}">
      <dgm:prSet/>
      <dgm:spPr/>
      <dgm:t>
        <a:bodyPr/>
        <a:lstStyle/>
        <a:p>
          <a:endParaRPr lang="en-GB"/>
        </a:p>
      </dgm:t>
    </dgm:pt>
    <dgm:pt modelId="{AC553A83-E20B-4919-94EB-1C2AE6D5352A}" type="sibTrans" cxnId="{99519EE0-61C9-494A-9D54-F4E03295BFA1}">
      <dgm:prSet/>
      <dgm:spPr/>
      <dgm:t>
        <a:bodyPr/>
        <a:lstStyle/>
        <a:p>
          <a:endParaRPr lang="en-GB"/>
        </a:p>
      </dgm:t>
    </dgm:pt>
    <dgm:pt modelId="{B4BAEB0E-5AC0-4CFF-ACE1-2E69B7730B56}">
      <dgm:prSet/>
      <dgm:spPr/>
      <dgm:t>
        <a:bodyPr/>
        <a:lstStyle/>
        <a:p>
          <a:pPr algn="l"/>
          <a:r>
            <a:rPr lang="en-GB" b="1" dirty="0">
              <a:latin typeface="Arial" panose="020B0604020202020204" pitchFamily="34" charset="0"/>
              <a:cs typeface="Arial" panose="020B0604020202020204" pitchFamily="34" charset="0"/>
            </a:rPr>
            <a:t>CMP344</a:t>
          </a:r>
          <a:r>
            <a:rPr lang="en-GB" dirty="0">
              <a:latin typeface="Arial" panose="020B0604020202020204" pitchFamily="34" charset="0"/>
              <a:cs typeface="Arial" panose="020B0604020202020204" pitchFamily="34" charset="0"/>
            </a:rPr>
            <a:t> – Agree timeline -  specifically  i) Workgroup Report will be a late paper but  presented to November 2020 Panel, ii) we will hold Special Panel in early January for Panel recommendation vote and iii) Panel will only have 1 working day to check that recommendation votes have been recorded correctly</a:t>
          </a:r>
        </a:p>
      </dgm:t>
    </dgm:pt>
    <dgm:pt modelId="{7DC97FDC-1760-4FCE-9484-7E2654674F12}" type="parTrans" cxnId="{40C70974-555F-4DC5-961B-2BB95352B427}">
      <dgm:prSet/>
      <dgm:spPr/>
      <dgm:t>
        <a:bodyPr/>
        <a:lstStyle/>
        <a:p>
          <a:endParaRPr lang="en-GB"/>
        </a:p>
      </dgm:t>
    </dgm:pt>
    <dgm:pt modelId="{14971EB2-8252-4AF3-B997-6E0BDEDCDED0}" type="sibTrans" cxnId="{40C70974-555F-4DC5-961B-2BB95352B427}">
      <dgm:prSet/>
      <dgm:spPr/>
      <dgm:t>
        <a:bodyPr/>
        <a:lstStyle/>
        <a:p>
          <a:endParaRPr lang="en-GB"/>
        </a:p>
      </dgm:t>
    </dgm:pt>
    <dgm:pt modelId="{E30F8CA6-075B-4A16-9EAB-75A7F4AD32BD}">
      <dgm:prSet/>
      <dgm:spPr/>
      <dgm:t>
        <a:bodyPr/>
        <a:lstStyle/>
        <a:p>
          <a:pPr algn="l"/>
          <a:r>
            <a:rPr lang="en-GB" b="1" dirty="0">
              <a:latin typeface="Arial" panose="020B0604020202020204" pitchFamily="34" charset="0"/>
              <a:cs typeface="Arial" panose="020B0604020202020204" pitchFamily="34" charset="0"/>
            </a:rPr>
            <a:t>CMP330 - </a:t>
          </a:r>
          <a:r>
            <a:rPr lang="en-GB" b="0" dirty="0">
              <a:latin typeface="Arial" panose="020B0604020202020204" pitchFamily="34" charset="0"/>
              <a:cs typeface="Arial" panose="020B0604020202020204" pitchFamily="34" charset="0"/>
            </a:rPr>
            <a:t>Agree proposed amendments to the Terms of Reference proposed by the Workgroup</a:t>
          </a:r>
        </a:p>
      </dgm:t>
    </dgm:pt>
    <dgm:pt modelId="{E3B39A17-3BFD-4492-93E4-DB5A01FDD4DE}" type="parTrans" cxnId="{38EF311F-C8FC-4E6D-99EC-9630BE2F6A5B}">
      <dgm:prSet/>
      <dgm:spPr/>
      <dgm:t>
        <a:bodyPr/>
        <a:lstStyle/>
        <a:p>
          <a:endParaRPr lang="en-GB"/>
        </a:p>
      </dgm:t>
    </dgm:pt>
    <dgm:pt modelId="{0D826586-F8FB-4320-9F76-89278F781A3A}" type="sibTrans" cxnId="{38EF311F-C8FC-4E6D-99EC-9630BE2F6A5B}">
      <dgm:prSet/>
      <dgm:spPr/>
      <dgm:t>
        <a:bodyPr/>
        <a:lstStyle/>
        <a:p>
          <a:endParaRPr lang="en-GB"/>
        </a:p>
      </dgm:t>
    </dgm:pt>
    <dgm:pt modelId="{877E15C7-A9FB-4BD4-B09F-429952BCFAD8}">
      <dgm:prSet/>
      <dgm:spPr/>
      <dgm:t>
        <a:bodyPr/>
        <a:lstStyle/>
        <a:p>
          <a:pPr algn="l"/>
          <a:r>
            <a:rPr lang="en-GB" b="1" dirty="0">
              <a:latin typeface="Arial" panose="020B0604020202020204" pitchFamily="34" charset="0"/>
              <a:cs typeface="Arial" panose="020B0604020202020204" pitchFamily="34" charset="0"/>
            </a:rPr>
            <a:t>CMP328</a:t>
          </a:r>
          <a:r>
            <a:rPr lang="en-GB" dirty="0">
              <a:latin typeface="Arial" panose="020B0604020202020204" pitchFamily="34" charset="0"/>
              <a:cs typeface="Arial" panose="020B0604020202020204" pitchFamily="34" charset="0"/>
            </a:rPr>
            <a:t> – </a:t>
          </a:r>
          <a:r>
            <a:rPr lang="en-GB" b="0" dirty="0">
              <a:latin typeface="Arial" panose="020B0604020202020204" pitchFamily="34" charset="0"/>
              <a:cs typeface="Arial" panose="020B0604020202020204" pitchFamily="34" charset="0"/>
            </a:rPr>
            <a:t>Agree proposed amendments to the Terms of Reference proposed by the Workgroup</a:t>
          </a:r>
          <a:endParaRPr lang="en-GB" dirty="0">
            <a:highlight>
              <a:srgbClr val="FFFF00"/>
            </a:highlight>
            <a:latin typeface="Arial" panose="020B0604020202020204" pitchFamily="34" charset="0"/>
            <a:cs typeface="Arial" panose="020B0604020202020204" pitchFamily="34" charset="0"/>
          </a:endParaRPr>
        </a:p>
      </dgm:t>
    </dgm:pt>
    <dgm:pt modelId="{30385176-A9C2-46D8-92B2-9BB8C3912F05}" type="parTrans" cxnId="{FC74FD32-1CDE-498A-BB0C-EE5398CD6329}">
      <dgm:prSet/>
      <dgm:spPr/>
      <dgm:t>
        <a:bodyPr/>
        <a:lstStyle/>
        <a:p>
          <a:endParaRPr lang="en-GB"/>
        </a:p>
      </dgm:t>
    </dgm:pt>
    <dgm:pt modelId="{E47DDD5D-6250-4917-A183-58F77BB1C4A0}" type="sibTrans" cxnId="{FC74FD32-1CDE-498A-BB0C-EE5398CD6329}">
      <dgm:prSet/>
      <dgm:spPr/>
      <dgm:t>
        <a:bodyPr/>
        <a:lstStyle/>
        <a:p>
          <a:endParaRPr lang="en-GB"/>
        </a:p>
      </dgm:t>
    </dgm:pt>
    <dgm:pt modelId="{10CA96A0-A301-4816-BAD2-29D4F14F30E8}">
      <dgm:prSet/>
      <dgm:spPr/>
      <dgm:t>
        <a:bodyPr/>
        <a:lstStyle/>
        <a:p>
          <a:pPr algn="l"/>
          <a:r>
            <a:rPr lang="en-GB" b="1" dirty="0">
              <a:latin typeface="Arial" panose="020B0604020202020204" pitchFamily="34" charset="0"/>
              <a:cs typeface="Arial" panose="020B0604020202020204" pitchFamily="34" charset="0"/>
            </a:rPr>
            <a:t>CMP342 </a:t>
          </a:r>
          <a:r>
            <a:rPr lang="en-GB" dirty="0">
              <a:latin typeface="Arial" panose="020B0604020202020204" pitchFamily="34" charset="0"/>
              <a:cs typeface="Arial" panose="020B0604020202020204" pitchFamily="34" charset="0"/>
            </a:rPr>
            <a:t>– Note that a Self-Governance Appeal was raised 2 October 2020 and won’t be implemented 9 October 2020</a:t>
          </a:r>
        </a:p>
      </dgm:t>
    </dgm:pt>
    <dgm:pt modelId="{DA4F205F-18DF-4BFE-8B60-C680728DEE61}" type="parTrans" cxnId="{D47422FD-84A5-4D01-9053-F6189F32AFA1}">
      <dgm:prSet/>
      <dgm:spPr/>
      <dgm:t>
        <a:bodyPr/>
        <a:lstStyle/>
        <a:p>
          <a:endParaRPr lang="en-GB"/>
        </a:p>
      </dgm:t>
    </dgm:pt>
    <dgm:pt modelId="{2BCF0607-8646-464C-8F90-9B06BCA240D1}" type="sibTrans" cxnId="{D47422FD-84A5-4D01-9053-F6189F32AFA1}">
      <dgm:prSet/>
      <dgm:spPr/>
      <dgm:t>
        <a:bodyPr/>
        <a:lstStyle/>
        <a:p>
          <a:endParaRPr lang="en-GB"/>
        </a:p>
      </dgm:t>
    </dgm:pt>
    <dgm:pt modelId="{EE38150C-F820-4AAD-B11F-79A51EB3F929}">
      <dgm:prSet/>
      <dgm:spPr/>
      <dgm:t>
        <a:bodyPr/>
        <a:lstStyle/>
        <a:p>
          <a:pPr algn="l"/>
          <a:r>
            <a:rPr lang="en-GB" b="1" dirty="0">
              <a:latin typeface="Arial" panose="020B0604020202020204" pitchFamily="34" charset="0"/>
              <a:cs typeface="Arial" panose="020B0604020202020204" pitchFamily="34" charset="0"/>
            </a:rPr>
            <a:t>CMP309/310 </a:t>
          </a:r>
          <a:r>
            <a:rPr lang="en-GB" dirty="0">
              <a:latin typeface="Arial" panose="020B0604020202020204" pitchFamily="34" charset="0"/>
              <a:cs typeface="Arial" panose="020B0604020202020204" pitchFamily="34" charset="0"/>
            </a:rPr>
            <a:t>– Note the changes between now and when the last Code Administrator Consultation was issued and agree that this can be issues for a 2</a:t>
          </a:r>
          <a:r>
            <a:rPr lang="en-GB" baseline="30000" dirty="0">
              <a:latin typeface="Arial" panose="020B0604020202020204" pitchFamily="34" charset="0"/>
              <a:cs typeface="Arial" panose="020B0604020202020204" pitchFamily="34" charset="0"/>
            </a:rPr>
            <a:t>nd </a:t>
          </a:r>
          <a:r>
            <a:rPr lang="en-GB" dirty="0">
              <a:latin typeface="Arial" panose="020B0604020202020204" pitchFamily="34" charset="0"/>
              <a:cs typeface="Arial" panose="020B0604020202020204" pitchFamily="34" charset="0"/>
            </a:rPr>
            <a:t>Code Administrator Consultation   </a:t>
          </a:r>
        </a:p>
      </dgm:t>
    </dgm:pt>
    <dgm:pt modelId="{48FD2B3F-32D9-46BE-9085-01AA2454CD11}" type="parTrans" cxnId="{8023CBB6-855D-4A4B-A768-2363ED14F056}">
      <dgm:prSet/>
      <dgm:spPr/>
      <dgm:t>
        <a:bodyPr/>
        <a:lstStyle/>
        <a:p>
          <a:endParaRPr lang="en-GB"/>
        </a:p>
      </dgm:t>
    </dgm:pt>
    <dgm:pt modelId="{5CF8933A-1D7E-4A9B-BB7E-63E2DF83D30D}" type="sibTrans" cxnId="{8023CBB6-855D-4A4B-A768-2363ED14F056}">
      <dgm:prSet/>
      <dgm:spPr/>
      <dgm:t>
        <a:bodyPr/>
        <a:lstStyle/>
        <a:p>
          <a:endParaRPr lang="en-GB"/>
        </a:p>
      </dgm:t>
    </dgm:pt>
    <dgm:pt modelId="{1DA783D7-5C1F-4F86-BD8B-02682719B859}" type="pres">
      <dgm:prSet presAssocID="{E5E28F7B-E39D-45D4-BEFF-5472D8644F49}" presName="diagram" presStyleCnt="0">
        <dgm:presLayoutVars>
          <dgm:dir/>
          <dgm:resizeHandles val="exact"/>
        </dgm:presLayoutVars>
      </dgm:prSet>
      <dgm:spPr/>
    </dgm:pt>
    <dgm:pt modelId="{10B526FB-FD57-4FCF-8F5B-57E254278EC9}" type="pres">
      <dgm:prSet presAssocID="{3D1C492F-FC94-478C-B770-38A13F18736F}" presName="node" presStyleLbl="node1" presStyleIdx="0" presStyleCnt="6">
        <dgm:presLayoutVars>
          <dgm:bulletEnabled val="1"/>
        </dgm:presLayoutVars>
      </dgm:prSet>
      <dgm:spPr/>
    </dgm:pt>
    <dgm:pt modelId="{4321E1AD-A91E-4E39-AE3B-50E7C8A54ABD}" type="pres">
      <dgm:prSet presAssocID="{AC553A83-E20B-4919-94EB-1C2AE6D5352A}" presName="sibTrans" presStyleCnt="0"/>
      <dgm:spPr/>
    </dgm:pt>
    <dgm:pt modelId="{6D40F38A-2121-4C13-BCA1-4984CBECB9AB}" type="pres">
      <dgm:prSet presAssocID="{EE38150C-F820-4AAD-B11F-79A51EB3F929}" presName="node" presStyleLbl="node1" presStyleIdx="1" presStyleCnt="6">
        <dgm:presLayoutVars>
          <dgm:bulletEnabled val="1"/>
        </dgm:presLayoutVars>
      </dgm:prSet>
      <dgm:spPr/>
    </dgm:pt>
    <dgm:pt modelId="{87EF5D72-6AAF-4F9A-B7FE-A7FBA2953CE8}" type="pres">
      <dgm:prSet presAssocID="{5CF8933A-1D7E-4A9B-BB7E-63E2DF83D30D}" presName="sibTrans" presStyleCnt="0"/>
      <dgm:spPr/>
    </dgm:pt>
    <dgm:pt modelId="{97B91EC9-D7F5-4018-9C37-A76EE90F8657}" type="pres">
      <dgm:prSet presAssocID="{E30F8CA6-075B-4A16-9EAB-75A7F4AD32BD}" presName="node" presStyleLbl="node1" presStyleIdx="2" presStyleCnt="6" custLinFactNeighborX="-2303" custLinFactNeighborY="-2">
        <dgm:presLayoutVars>
          <dgm:bulletEnabled val="1"/>
        </dgm:presLayoutVars>
      </dgm:prSet>
      <dgm:spPr/>
    </dgm:pt>
    <dgm:pt modelId="{F7F32831-0B8B-4107-92B7-C678F56873E1}" type="pres">
      <dgm:prSet presAssocID="{0D826586-F8FB-4320-9F76-89278F781A3A}" presName="sibTrans" presStyleCnt="0"/>
      <dgm:spPr/>
    </dgm:pt>
    <dgm:pt modelId="{4AA3D864-9FEC-4322-8953-F8571310C036}" type="pres">
      <dgm:prSet presAssocID="{B4BAEB0E-5AC0-4CFF-ACE1-2E69B7730B56}" presName="node" presStyleLbl="node1" presStyleIdx="3" presStyleCnt="6" custLinFactNeighborX="554" custLinFactNeighborY="2">
        <dgm:presLayoutVars>
          <dgm:bulletEnabled val="1"/>
        </dgm:presLayoutVars>
      </dgm:prSet>
      <dgm:spPr/>
    </dgm:pt>
    <dgm:pt modelId="{2A6262A9-935A-408A-B5DF-6B1AAB305D92}" type="pres">
      <dgm:prSet presAssocID="{14971EB2-8252-4AF3-B997-6E0BDEDCDED0}" presName="sibTrans" presStyleCnt="0"/>
      <dgm:spPr/>
    </dgm:pt>
    <dgm:pt modelId="{5ACF356B-5CA4-48C8-AC4C-316EC0E64D9A}" type="pres">
      <dgm:prSet presAssocID="{877E15C7-A9FB-4BD4-B09F-429952BCFAD8}" presName="node" presStyleLbl="node1" presStyleIdx="4" presStyleCnt="6" custLinFactNeighborX="554" custLinFactNeighborY="2">
        <dgm:presLayoutVars>
          <dgm:bulletEnabled val="1"/>
        </dgm:presLayoutVars>
      </dgm:prSet>
      <dgm:spPr/>
    </dgm:pt>
    <dgm:pt modelId="{1619854B-DAE4-47A7-A52B-5C0E1F779349}" type="pres">
      <dgm:prSet presAssocID="{E47DDD5D-6250-4917-A183-58F77BB1C4A0}" presName="sibTrans" presStyleCnt="0"/>
      <dgm:spPr/>
    </dgm:pt>
    <dgm:pt modelId="{3BDA53D2-A371-417C-854E-E37342109627}" type="pres">
      <dgm:prSet presAssocID="{10CA96A0-A301-4816-BAD2-29D4F14F30E8}" presName="node" presStyleLbl="node1" presStyleIdx="5" presStyleCnt="6">
        <dgm:presLayoutVars>
          <dgm:bulletEnabled val="1"/>
        </dgm:presLayoutVars>
      </dgm:prSet>
      <dgm:spPr/>
    </dgm:pt>
  </dgm:ptLst>
  <dgm:cxnLst>
    <dgm:cxn modelId="{38EF311F-C8FC-4E6D-99EC-9630BE2F6A5B}" srcId="{E5E28F7B-E39D-45D4-BEFF-5472D8644F49}" destId="{E30F8CA6-075B-4A16-9EAB-75A7F4AD32BD}" srcOrd="2" destOrd="0" parTransId="{E3B39A17-3BFD-4492-93E4-DB5A01FDD4DE}" sibTransId="{0D826586-F8FB-4320-9F76-89278F781A3A}"/>
    <dgm:cxn modelId="{5B5DED2B-85AE-4721-B4AC-40357CE222CF}" type="presOf" srcId="{E5E28F7B-E39D-45D4-BEFF-5472D8644F49}" destId="{1DA783D7-5C1F-4F86-BD8B-02682719B859}" srcOrd="0" destOrd="0" presId="urn:microsoft.com/office/officeart/2005/8/layout/default"/>
    <dgm:cxn modelId="{FC74FD32-1CDE-498A-BB0C-EE5398CD6329}" srcId="{E5E28F7B-E39D-45D4-BEFF-5472D8644F49}" destId="{877E15C7-A9FB-4BD4-B09F-429952BCFAD8}" srcOrd="4" destOrd="0" parTransId="{30385176-A9C2-46D8-92B2-9BB8C3912F05}" sibTransId="{E47DDD5D-6250-4917-A183-58F77BB1C4A0}"/>
    <dgm:cxn modelId="{40C70974-555F-4DC5-961B-2BB95352B427}" srcId="{E5E28F7B-E39D-45D4-BEFF-5472D8644F49}" destId="{B4BAEB0E-5AC0-4CFF-ACE1-2E69B7730B56}" srcOrd="3" destOrd="0" parTransId="{7DC97FDC-1760-4FCE-9484-7E2654674F12}" sibTransId="{14971EB2-8252-4AF3-B997-6E0BDEDCDED0}"/>
    <dgm:cxn modelId="{F6863D79-B78A-4C6B-8A10-AB34FF85C661}" type="presOf" srcId="{3D1C492F-FC94-478C-B770-38A13F18736F}" destId="{10B526FB-FD57-4FCF-8F5B-57E254278EC9}" srcOrd="0" destOrd="0" presId="urn:microsoft.com/office/officeart/2005/8/layout/default"/>
    <dgm:cxn modelId="{63BFF28F-3A13-4C94-AD67-86FD0E481DF2}" type="presOf" srcId="{877E15C7-A9FB-4BD4-B09F-429952BCFAD8}" destId="{5ACF356B-5CA4-48C8-AC4C-316EC0E64D9A}" srcOrd="0" destOrd="0" presId="urn:microsoft.com/office/officeart/2005/8/layout/default"/>
    <dgm:cxn modelId="{8023CBB6-855D-4A4B-A768-2363ED14F056}" srcId="{E5E28F7B-E39D-45D4-BEFF-5472D8644F49}" destId="{EE38150C-F820-4AAD-B11F-79A51EB3F929}" srcOrd="1" destOrd="0" parTransId="{48FD2B3F-32D9-46BE-9085-01AA2454CD11}" sibTransId="{5CF8933A-1D7E-4A9B-BB7E-63E2DF83D30D}"/>
    <dgm:cxn modelId="{83A21BDB-72D7-452B-A922-D951621F6EAC}" type="presOf" srcId="{B4BAEB0E-5AC0-4CFF-ACE1-2E69B7730B56}" destId="{4AA3D864-9FEC-4322-8953-F8571310C036}" srcOrd="0" destOrd="0" presId="urn:microsoft.com/office/officeart/2005/8/layout/default"/>
    <dgm:cxn modelId="{99519EE0-61C9-494A-9D54-F4E03295BFA1}" srcId="{E5E28F7B-E39D-45D4-BEFF-5472D8644F49}" destId="{3D1C492F-FC94-478C-B770-38A13F18736F}" srcOrd="0" destOrd="0" parTransId="{BE348649-5E11-4A64-8DE3-CBB6E547BA15}" sibTransId="{AC553A83-E20B-4919-94EB-1C2AE6D5352A}"/>
    <dgm:cxn modelId="{2E9A04E9-695F-4E29-A3FD-A45CD70350CE}" type="presOf" srcId="{EE38150C-F820-4AAD-B11F-79A51EB3F929}" destId="{6D40F38A-2121-4C13-BCA1-4984CBECB9AB}" srcOrd="0" destOrd="0" presId="urn:microsoft.com/office/officeart/2005/8/layout/default"/>
    <dgm:cxn modelId="{348BACE9-8152-49ED-A880-7B6D4708F61E}" type="presOf" srcId="{10CA96A0-A301-4816-BAD2-29D4F14F30E8}" destId="{3BDA53D2-A371-417C-854E-E37342109627}" srcOrd="0" destOrd="0" presId="urn:microsoft.com/office/officeart/2005/8/layout/default"/>
    <dgm:cxn modelId="{A84120FB-5E5E-4A28-8BF7-401835CDB068}" type="presOf" srcId="{E30F8CA6-075B-4A16-9EAB-75A7F4AD32BD}" destId="{97B91EC9-D7F5-4018-9C37-A76EE90F8657}" srcOrd="0" destOrd="0" presId="urn:microsoft.com/office/officeart/2005/8/layout/default"/>
    <dgm:cxn modelId="{D47422FD-84A5-4D01-9053-F6189F32AFA1}" srcId="{E5E28F7B-E39D-45D4-BEFF-5472D8644F49}" destId="{10CA96A0-A301-4816-BAD2-29D4F14F30E8}" srcOrd="5" destOrd="0" parTransId="{DA4F205F-18DF-4BFE-8B60-C680728DEE61}" sibTransId="{2BCF0607-8646-464C-8F90-9B06BCA240D1}"/>
    <dgm:cxn modelId="{FCD2456E-97EB-4C9C-9495-9C99455C90B3}" type="presParOf" srcId="{1DA783D7-5C1F-4F86-BD8B-02682719B859}" destId="{10B526FB-FD57-4FCF-8F5B-57E254278EC9}" srcOrd="0" destOrd="0" presId="urn:microsoft.com/office/officeart/2005/8/layout/default"/>
    <dgm:cxn modelId="{52B97212-C0FD-4058-A7C9-B033F35C6990}" type="presParOf" srcId="{1DA783D7-5C1F-4F86-BD8B-02682719B859}" destId="{4321E1AD-A91E-4E39-AE3B-50E7C8A54ABD}" srcOrd="1" destOrd="0" presId="urn:microsoft.com/office/officeart/2005/8/layout/default"/>
    <dgm:cxn modelId="{DB2D9A45-4F43-441F-A931-0393BE31BF8F}" type="presParOf" srcId="{1DA783D7-5C1F-4F86-BD8B-02682719B859}" destId="{6D40F38A-2121-4C13-BCA1-4984CBECB9AB}" srcOrd="2" destOrd="0" presId="urn:microsoft.com/office/officeart/2005/8/layout/default"/>
    <dgm:cxn modelId="{FF3402F7-E450-43D5-85AB-C81860A30405}" type="presParOf" srcId="{1DA783D7-5C1F-4F86-BD8B-02682719B859}" destId="{87EF5D72-6AAF-4F9A-B7FE-A7FBA2953CE8}" srcOrd="3" destOrd="0" presId="urn:microsoft.com/office/officeart/2005/8/layout/default"/>
    <dgm:cxn modelId="{86041DC0-35A1-4D12-AEC0-6131C1AC104F}" type="presParOf" srcId="{1DA783D7-5C1F-4F86-BD8B-02682719B859}" destId="{97B91EC9-D7F5-4018-9C37-A76EE90F8657}" srcOrd="4" destOrd="0" presId="urn:microsoft.com/office/officeart/2005/8/layout/default"/>
    <dgm:cxn modelId="{AF2B26A0-9606-42A0-BDBD-EA4A9F054838}" type="presParOf" srcId="{1DA783D7-5C1F-4F86-BD8B-02682719B859}" destId="{F7F32831-0B8B-4107-92B7-C678F56873E1}" srcOrd="5" destOrd="0" presId="urn:microsoft.com/office/officeart/2005/8/layout/default"/>
    <dgm:cxn modelId="{2E3B7A0A-674B-4C98-A6D8-B7AE7673202F}" type="presParOf" srcId="{1DA783D7-5C1F-4F86-BD8B-02682719B859}" destId="{4AA3D864-9FEC-4322-8953-F8571310C036}" srcOrd="6" destOrd="0" presId="urn:microsoft.com/office/officeart/2005/8/layout/default"/>
    <dgm:cxn modelId="{173DB058-0C68-49BC-8A6A-24B161E6B0B1}" type="presParOf" srcId="{1DA783D7-5C1F-4F86-BD8B-02682719B859}" destId="{2A6262A9-935A-408A-B5DF-6B1AAB305D92}" srcOrd="7" destOrd="0" presId="urn:microsoft.com/office/officeart/2005/8/layout/default"/>
    <dgm:cxn modelId="{8C1D1E4F-9B04-4957-868E-5520A703A7A2}" type="presParOf" srcId="{1DA783D7-5C1F-4F86-BD8B-02682719B859}" destId="{5ACF356B-5CA4-48C8-AC4C-316EC0E64D9A}" srcOrd="8" destOrd="0" presId="urn:microsoft.com/office/officeart/2005/8/layout/default"/>
    <dgm:cxn modelId="{7C33ACC6-6D73-4080-A09C-832A91006A7A}" type="presParOf" srcId="{1DA783D7-5C1F-4F86-BD8B-02682719B859}" destId="{1619854B-DAE4-47A7-A52B-5C0E1F779349}" srcOrd="9" destOrd="0" presId="urn:microsoft.com/office/officeart/2005/8/layout/default"/>
    <dgm:cxn modelId="{DF290C8F-F3A8-488B-BDC1-E8F47D3C8938}" type="presParOf" srcId="{1DA783D7-5C1F-4F86-BD8B-02682719B859}" destId="{3BDA53D2-A371-417C-854E-E37342109627}"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4C28E82-9923-4596-A4F7-B85E93CDBD44}"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EB497D0-301A-44FF-8882-1947E7784903}">
      <dgm:prSet phldrT="[Text]"/>
      <dgm:spPr/>
      <dgm:t>
        <a:bodyPr/>
        <a:lstStyle/>
        <a:p>
          <a:r>
            <a:rPr lang="en-GB" dirty="0"/>
            <a:t>2 CUSC Modification Proposals received from 1 August to 15 October inclusive</a:t>
          </a:r>
          <a:endParaRPr lang="en-US" dirty="0"/>
        </a:p>
      </dgm:t>
    </dgm:pt>
    <dgm:pt modelId="{B91B9705-AFA3-46C5-B101-097B22D21D0A}" type="parTrans" cxnId="{10637653-EB9E-4D75-B286-0D45FFFA5496}">
      <dgm:prSet/>
      <dgm:spPr/>
      <dgm:t>
        <a:bodyPr/>
        <a:lstStyle/>
        <a:p>
          <a:endParaRPr lang="en-US"/>
        </a:p>
      </dgm:t>
    </dgm:pt>
    <dgm:pt modelId="{BC2EEA10-68E0-4AE0-B3F0-5DEFFD84DFDE}" type="sibTrans" cxnId="{10637653-EB9E-4D75-B286-0D45FFFA5496}">
      <dgm:prSet/>
      <dgm:spPr/>
      <dgm:t>
        <a:bodyPr/>
        <a:lstStyle/>
        <a:p>
          <a:endParaRPr lang="en-US"/>
        </a:p>
      </dgm:t>
    </dgm:pt>
    <dgm:pt modelId="{4FAC9689-AAFB-44E9-99F5-2847CC4E6D1D}">
      <dgm:prSet phldrT="[Text]"/>
      <dgm:spPr/>
      <dgm:t>
        <a:bodyPr/>
        <a:lstStyle/>
        <a:p>
          <a:r>
            <a:rPr lang="en-GB" dirty="0"/>
            <a:t>General areas of feedback (across all CUSC and Grid Code Modifications) </a:t>
          </a:r>
          <a:endParaRPr lang="en-US" dirty="0"/>
        </a:p>
      </dgm:t>
    </dgm:pt>
    <dgm:pt modelId="{AB9D5A0A-3C37-428F-853A-7D79A889CC74}" type="parTrans" cxnId="{11667F2F-B50D-4214-B9BD-33766AE196D6}">
      <dgm:prSet/>
      <dgm:spPr/>
      <dgm:t>
        <a:bodyPr/>
        <a:lstStyle/>
        <a:p>
          <a:endParaRPr lang="en-US"/>
        </a:p>
      </dgm:t>
    </dgm:pt>
    <dgm:pt modelId="{56684D76-76CB-46FE-9E91-0ABC70D56B94}" type="sibTrans" cxnId="{11667F2F-B50D-4214-B9BD-33766AE196D6}">
      <dgm:prSet/>
      <dgm:spPr/>
      <dgm:t>
        <a:bodyPr/>
        <a:lstStyle/>
        <a:p>
          <a:endParaRPr lang="en-US"/>
        </a:p>
      </dgm:t>
    </dgm:pt>
    <dgm:pt modelId="{A6878747-5B0A-46FB-9CCA-87C1F0FCD586}">
      <dgm:prSet phldrT="[Text]"/>
      <dgm:spPr/>
      <dgm:t>
        <a:bodyPr/>
        <a:lstStyle/>
        <a:p>
          <a:r>
            <a:rPr lang="en-GB" dirty="0"/>
            <a:t>Feedback we will act on to further improve our service:</a:t>
          </a:r>
          <a:endParaRPr lang="en-US" dirty="0"/>
        </a:p>
      </dgm:t>
    </dgm:pt>
    <dgm:pt modelId="{2FBC3918-22E5-4BCC-9DCE-E2C8D475970E}" type="parTrans" cxnId="{9187BE96-AFCE-4F88-BE65-1048B383859A}">
      <dgm:prSet/>
      <dgm:spPr/>
      <dgm:t>
        <a:bodyPr/>
        <a:lstStyle/>
        <a:p>
          <a:endParaRPr lang="en-US"/>
        </a:p>
      </dgm:t>
    </dgm:pt>
    <dgm:pt modelId="{B0916777-972A-4BB7-96BD-40F6FD13D67B}" type="sibTrans" cxnId="{9187BE96-AFCE-4F88-BE65-1048B383859A}">
      <dgm:prSet/>
      <dgm:spPr/>
      <dgm:t>
        <a:bodyPr/>
        <a:lstStyle/>
        <a:p>
          <a:endParaRPr lang="en-US"/>
        </a:p>
      </dgm:t>
    </dgm:pt>
    <dgm:pt modelId="{951DC9A2-1429-4777-A4CD-80FD5C0672EB}">
      <dgm:prSet phldrT="[Text]"/>
      <dgm:spPr/>
      <dgm:t>
        <a:bodyPr/>
        <a:lstStyle/>
        <a:p>
          <a:r>
            <a:rPr lang="en-GB" dirty="0"/>
            <a:t>Any thoughts from Panel so far?</a:t>
          </a:r>
          <a:endParaRPr lang="en-US" dirty="0"/>
        </a:p>
      </dgm:t>
    </dgm:pt>
    <dgm:pt modelId="{57E4A9D3-12B9-4812-8C82-5A2C173D1B2A}" type="parTrans" cxnId="{D18BE4C8-199E-425E-812E-E237ACFFA40D}">
      <dgm:prSet/>
      <dgm:spPr/>
      <dgm:t>
        <a:bodyPr/>
        <a:lstStyle/>
        <a:p>
          <a:endParaRPr lang="en-US"/>
        </a:p>
      </dgm:t>
    </dgm:pt>
    <dgm:pt modelId="{C14F3F5D-18BC-4796-B548-E3615E744DAE}" type="sibTrans" cxnId="{D18BE4C8-199E-425E-812E-E237ACFFA40D}">
      <dgm:prSet/>
      <dgm:spPr/>
      <dgm:t>
        <a:bodyPr/>
        <a:lstStyle/>
        <a:p>
          <a:endParaRPr lang="en-US"/>
        </a:p>
      </dgm:t>
    </dgm:pt>
    <dgm:pt modelId="{273F0AE8-DF42-4F19-8ADD-169CCB18F6AD}">
      <dgm:prSet phldrT="[Text]"/>
      <dgm:spPr/>
      <dgm:t>
        <a:bodyPr/>
        <a:lstStyle/>
        <a:p>
          <a:pPr algn="just"/>
          <a:r>
            <a:rPr lang="en-GB" dirty="0"/>
            <a:t>Continue to have discussions with Proposers ahead of Modification Proposal Submission Date so clear on expectations, level of detail and process; </a:t>
          </a:r>
          <a:endParaRPr lang="en-US" dirty="0"/>
        </a:p>
      </dgm:t>
    </dgm:pt>
    <dgm:pt modelId="{29FA6308-8656-47CC-AB7D-78CF3E6FB752}" type="parTrans" cxnId="{2E84C0E3-C0B2-465A-A246-8650FD633A9C}">
      <dgm:prSet/>
      <dgm:spPr/>
      <dgm:t>
        <a:bodyPr/>
        <a:lstStyle/>
        <a:p>
          <a:endParaRPr lang="en-US"/>
        </a:p>
      </dgm:t>
    </dgm:pt>
    <dgm:pt modelId="{FEE834D3-A4BE-4D92-8BD1-3FA65D8787F4}" type="sibTrans" cxnId="{2E84C0E3-C0B2-465A-A246-8650FD633A9C}">
      <dgm:prSet/>
      <dgm:spPr/>
      <dgm:t>
        <a:bodyPr/>
        <a:lstStyle/>
        <a:p>
          <a:endParaRPr lang="en-US"/>
        </a:p>
      </dgm:t>
    </dgm:pt>
    <dgm:pt modelId="{B5C395E5-D90E-4057-820F-318F6D83C18A}">
      <dgm:prSet phldrT="[Text]"/>
      <dgm:spPr/>
      <dgm:t>
        <a:bodyPr/>
        <a:lstStyle/>
        <a:p>
          <a:pPr algn="just"/>
          <a:r>
            <a:rPr lang="en-GB" dirty="0"/>
            <a:t>From 1 October 2020, we have introduced new simpler Proposal Forms that remove repetition and include guidance for Proposers.</a:t>
          </a:r>
          <a:endParaRPr lang="en-US" dirty="0"/>
        </a:p>
      </dgm:t>
    </dgm:pt>
    <dgm:pt modelId="{9157F091-C91C-4F61-BA68-DE08FA428E82}" type="parTrans" cxnId="{268D282E-6B3A-459C-AED0-4E5797CD271C}">
      <dgm:prSet/>
      <dgm:spPr/>
      <dgm:t>
        <a:bodyPr/>
        <a:lstStyle/>
        <a:p>
          <a:endParaRPr lang="en-US"/>
        </a:p>
      </dgm:t>
    </dgm:pt>
    <dgm:pt modelId="{D703B2FB-957D-43B7-AEDC-15EB7ED5E4D0}" type="sibTrans" cxnId="{268D282E-6B3A-459C-AED0-4E5797CD271C}">
      <dgm:prSet/>
      <dgm:spPr/>
      <dgm:t>
        <a:bodyPr/>
        <a:lstStyle/>
        <a:p>
          <a:endParaRPr lang="en-US"/>
        </a:p>
      </dgm:t>
    </dgm:pt>
    <dgm:pt modelId="{B2A056CA-8C6A-49D4-8A29-F00058BF0202}">
      <dgm:prSet phldrT="[Text]"/>
      <dgm:spPr/>
      <dgm:t>
        <a:bodyPr/>
        <a:lstStyle/>
        <a:p>
          <a:pPr algn="just"/>
          <a:r>
            <a:rPr lang="en-GB" dirty="0"/>
            <a:t>Both have had critical friend checks undertaken on them; </a:t>
          </a:r>
          <a:endParaRPr lang="en-US" dirty="0"/>
        </a:p>
      </dgm:t>
    </dgm:pt>
    <dgm:pt modelId="{5F72366C-D5BF-4155-B62F-1A56540B5B15}" type="parTrans" cxnId="{B7902818-1C0B-4455-83B1-5B136539812E}">
      <dgm:prSet/>
      <dgm:spPr/>
      <dgm:t>
        <a:bodyPr/>
        <a:lstStyle/>
        <a:p>
          <a:endParaRPr lang="en-US"/>
        </a:p>
      </dgm:t>
    </dgm:pt>
    <dgm:pt modelId="{E38E443C-86A9-4799-8E6F-66D3C4DAB9DC}" type="sibTrans" cxnId="{B7902818-1C0B-4455-83B1-5B136539812E}">
      <dgm:prSet/>
      <dgm:spPr/>
      <dgm:t>
        <a:bodyPr/>
        <a:lstStyle/>
        <a:p>
          <a:endParaRPr lang="en-US"/>
        </a:p>
      </dgm:t>
    </dgm:pt>
    <dgm:pt modelId="{CF21E4CF-D4C5-4050-AC79-1A81EA28CDD6}">
      <dgm:prSet phldrT="[Text]"/>
      <dgm:spPr/>
      <dgm:t>
        <a:bodyPr/>
        <a:lstStyle/>
        <a:p>
          <a:r>
            <a:rPr lang="en-GB" dirty="0"/>
            <a:t>Are you seeing better quality Modification Proposals?</a:t>
          </a:r>
          <a:endParaRPr lang="en-US" dirty="0"/>
        </a:p>
      </dgm:t>
    </dgm:pt>
    <dgm:pt modelId="{39A157D8-4C64-472B-AC52-616A12538821}" type="parTrans" cxnId="{FC9ABB96-0EDE-4D60-8699-870E68E6D298}">
      <dgm:prSet/>
      <dgm:spPr/>
      <dgm:t>
        <a:bodyPr/>
        <a:lstStyle/>
        <a:p>
          <a:endParaRPr lang="en-US"/>
        </a:p>
      </dgm:t>
    </dgm:pt>
    <dgm:pt modelId="{AA797438-663A-4300-9E29-7087CF69960B}" type="sibTrans" cxnId="{FC9ABB96-0EDE-4D60-8699-870E68E6D298}">
      <dgm:prSet/>
      <dgm:spPr/>
      <dgm:t>
        <a:bodyPr/>
        <a:lstStyle/>
        <a:p>
          <a:endParaRPr lang="en-US"/>
        </a:p>
      </dgm:t>
    </dgm:pt>
    <dgm:pt modelId="{6B278EFE-3089-47CD-8D6F-E8358F02D497}">
      <dgm:prSet phldrT="[Text]"/>
      <dgm:spPr/>
      <dgm:t>
        <a:bodyPr/>
        <a:lstStyle/>
        <a:p>
          <a:r>
            <a:rPr lang="en-GB" dirty="0"/>
            <a:t>Any further feedback?</a:t>
          </a:r>
          <a:endParaRPr lang="en-US" dirty="0"/>
        </a:p>
      </dgm:t>
    </dgm:pt>
    <dgm:pt modelId="{42EA9548-72ED-46D5-B545-CB1383F2BC16}" type="parTrans" cxnId="{10CE60B0-80E9-4249-B1CB-AA2C5C8235CD}">
      <dgm:prSet/>
      <dgm:spPr/>
      <dgm:t>
        <a:bodyPr/>
        <a:lstStyle/>
        <a:p>
          <a:endParaRPr lang="en-US"/>
        </a:p>
      </dgm:t>
    </dgm:pt>
    <dgm:pt modelId="{1A3A1AB1-716C-47C7-AC08-084880C34963}" type="sibTrans" cxnId="{10CE60B0-80E9-4249-B1CB-AA2C5C8235CD}">
      <dgm:prSet/>
      <dgm:spPr/>
      <dgm:t>
        <a:bodyPr/>
        <a:lstStyle/>
        <a:p>
          <a:endParaRPr lang="en-US"/>
        </a:p>
      </dgm:t>
    </dgm:pt>
    <dgm:pt modelId="{41001E27-7E75-4BDF-A3F4-733D231DBF74}">
      <dgm:prSet phldrT="[Text]"/>
      <dgm:spPr/>
      <dgm:t>
        <a:bodyPr/>
        <a:lstStyle/>
        <a:p>
          <a:pPr algn="just"/>
          <a:r>
            <a:rPr lang="en-GB" dirty="0"/>
            <a:t>Note there have been 0 Grid Code Modification Proposals raised in the same period.</a:t>
          </a:r>
          <a:endParaRPr lang="en-US" dirty="0"/>
        </a:p>
      </dgm:t>
    </dgm:pt>
    <dgm:pt modelId="{5C6EF65B-8B00-470E-8D93-F7DC5B258D3B}" type="parTrans" cxnId="{8D55ABB6-B332-4336-A8EF-B860AB963E9D}">
      <dgm:prSet/>
      <dgm:spPr/>
      <dgm:t>
        <a:bodyPr/>
        <a:lstStyle/>
        <a:p>
          <a:endParaRPr lang="en-US"/>
        </a:p>
      </dgm:t>
    </dgm:pt>
    <dgm:pt modelId="{1D5F6A6C-A5CC-475D-9180-B4940AB5CA75}" type="sibTrans" cxnId="{8D55ABB6-B332-4336-A8EF-B860AB963E9D}">
      <dgm:prSet/>
      <dgm:spPr/>
      <dgm:t>
        <a:bodyPr/>
        <a:lstStyle/>
        <a:p>
          <a:endParaRPr lang="en-US"/>
        </a:p>
      </dgm:t>
    </dgm:pt>
    <dgm:pt modelId="{E7A820D3-B019-47F4-81CE-F103EAE99BDA}">
      <dgm:prSet phldrT="[Text]"/>
      <dgm:spPr/>
      <dgm:t>
        <a:bodyPr/>
        <a:lstStyle/>
        <a:p>
          <a:pPr algn="just"/>
          <a:r>
            <a:rPr lang="en-US" dirty="0"/>
            <a:t>Will seek and act on feedback from Proposers, who have used the new Proposal Forms.</a:t>
          </a:r>
        </a:p>
      </dgm:t>
    </dgm:pt>
    <dgm:pt modelId="{1D016B65-BD7B-47D3-93F0-D5B6761B2046}" type="parTrans" cxnId="{904C4BFF-F1F8-461F-A412-FA373BD30181}">
      <dgm:prSet/>
      <dgm:spPr/>
      <dgm:t>
        <a:bodyPr/>
        <a:lstStyle/>
        <a:p>
          <a:endParaRPr lang="en-GB"/>
        </a:p>
      </dgm:t>
    </dgm:pt>
    <dgm:pt modelId="{7C7FB4BD-2984-41B8-A058-8A1528462C6D}" type="sibTrans" cxnId="{904C4BFF-F1F8-461F-A412-FA373BD30181}">
      <dgm:prSet/>
      <dgm:spPr/>
      <dgm:t>
        <a:bodyPr/>
        <a:lstStyle/>
        <a:p>
          <a:endParaRPr lang="en-GB"/>
        </a:p>
      </dgm:t>
    </dgm:pt>
    <dgm:pt modelId="{539A14F6-700A-430D-890D-2911A8BF5D7B}">
      <dgm:prSet phldrT="[Text]"/>
      <dgm:spPr/>
      <dgm:t>
        <a:bodyPr/>
        <a:lstStyle/>
        <a:p>
          <a:pPr algn="just"/>
          <a:r>
            <a:rPr lang="en-GB" dirty="0"/>
            <a:t>For both of these, required communications were sent to Independent Chair, Panel and industry within agreed timescales (i.e. on the next working day after Modification Proposal Submission Date); and </a:t>
          </a:r>
          <a:endParaRPr lang="en-US" dirty="0"/>
        </a:p>
      </dgm:t>
    </dgm:pt>
    <dgm:pt modelId="{CD874AE8-838F-4DEC-961B-CB74BEBDFB7E}" type="parTrans" cxnId="{6C7F66F5-B121-4F95-AA20-294A1BBDE1B7}">
      <dgm:prSet/>
      <dgm:spPr/>
      <dgm:t>
        <a:bodyPr/>
        <a:lstStyle/>
        <a:p>
          <a:endParaRPr lang="en-GB"/>
        </a:p>
      </dgm:t>
    </dgm:pt>
    <dgm:pt modelId="{E988AA1A-0A3E-4C02-A82B-05022294B906}" type="sibTrans" cxnId="{6C7F66F5-B121-4F95-AA20-294A1BBDE1B7}">
      <dgm:prSet/>
      <dgm:spPr/>
      <dgm:t>
        <a:bodyPr/>
        <a:lstStyle/>
        <a:p>
          <a:endParaRPr lang="en-GB"/>
        </a:p>
      </dgm:t>
    </dgm:pt>
    <dgm:pt modelId="{8C829B16-6608-4462-966C-F23FDD9F3C80}">
      <dgm:prSet phldrT="[Text]"/>
      <dgm:spPr/>
      <dgm:t>
        <a:bodyPr/>
        <a:lstStyle/>
        <a:p>
          <a:pPr algn="just"/>
          <a:r>
            <a:rPr lang="en-US" dirty="0"/>
            <a:t>Further internal workshops November and December for practical application of our checks (including EBGL) against the new proposal form </a:t>
          </a:r>
        </a:p>
      </dgm:t>
    </dgm:pt>
    <dgm:pt modelId="{19287BA1-D8F0-45C6-9BDF-1BD674632687}" type="parTrans" cxnId="{BA35A460-8FF3-4F50-974E-993B61930F3A}">
      <dgm:prSet/>
      <dgm:spPr/>
      <dgm:t>
        <a:bodyPr/>
        <a:lstStyle/>
        <a:p>
          <a:endParaRPr lang="en-GB"/>
        </a:p>
      </dgm:t>
    </dgm:pt>
    <dgm:pt modelId="{87E75158-544B-4EC0-BDCC-23EAF702AE91}" type="sibTrans" cxnId="{BA35A460-8FF3-4F50-974E-993B61930F3A}">
      <dgm:prSet/>
      <dgm:spPr/>
      <dgm:t>
        <a:bodyPr/>
        <a:lstStyle/>
        <a:p>
          <a:endParaRPr lang="en-GB"/>
        </a:p>
      </dgm:t>
    </dgm:pt>
    <dgm:pt modelId="{1120A633-C12A-4287-BE10-E4930B0DB4E2}">
      <dgm:prSet phldrT="[Text]"/>
      <dgm:spPr/>
      <dgm:t>
        <a:bodyPr/>
        <a:lstStyle/>
        <a:p>
          <a:pPr algn="just"/>
          <a:r>
            <a:rPr lang="en-US" dirty="0"/>
            <a:t>Working with the Proposer well ahead of </a:t>
          </a:r>
          <a:r>
            <a:rPr lang="en-GB" dirty="0"/>
            <a:t>Modification Proposal Submission Date helps ensure the best outcome – following such discussions, the Proposer realised the impact on the ESO could be minimised by amending their original proposed timescales. Positive feedback received from Proposer on this process.</a:t>
          </a:r>
          <a:endParaRPr lang="en-US" dirty="0"/>
        </a:p>
      </dgm:t>
    </dgm:pt>
    <dgm:pt modelId="{4C607E20-1E84-4D0C-957E-EF682BCADC54}" type="parTrans" cxnId="{896F569C-9A69-40F1-ADF7-33D2EEA94080}">
      <dgm:prSet/>
      <dgm:spPr/>
      <dgm:t>
        <a:bodyPr/>
        <a:lstStyle/>
        <a:p>
          <a:endParaRPr lang="en-GB"/>
        </a:p>
      </dgm:t>
    </dgm:pt>
    <dgm:pt modelId="{E2B586FF-5AAF-470A-991D-59870D57225C}" type="sibTrans" cxnId="{896F569C-9A69-40F1-ADF7-33D2EEA94080}">
      <dgm:prSet/>
      <dgm:spPr/>
      <dgm:t>
        <a:bodyPr/>
        <a:lstStyle/>
        <a:p>
          <a:endParaRPr lang="en-GB"/>
        </a:p>
      </dgm:t>
    </dgm:pt>
    <dgm:pt modelId="{1680A399-277A-4C59-85BE-AA1936A2B579}" type="pres">
      <dgm:prSet presAssocID="{34C28E82-9923-4596-A4F7-B85E93CDBD44}" presName="linear" presStyleCnt="0">
        <dgm:presLayoutVars>
          <dgm:dir/>
          <dgm:animLvl val="lvl"/>
          <dgm:resizeHandles val="exact"/>
        </dgm:presLayoutVars>
      </dgm:prSet>
      <dgm:spPr/>
    </dgm:pt>
    <dgm:pt modelId="{8A743FDA-B359-4080-8A51-2CA8D75C3E0F}" type="pres">
      <dgm:prSet presAssocID="{5EB497D0-301A-44FF-8882-1947E7784903}" presName="parentLin" presStyleCnt="0"/>
      <dgm:spPr/>
    </dgm:pt>
    <dgm:pt modelId="{845CFBBF-585B-48EB-A405-5FC1E4D9AED2}" type="pres">
      <dgm:prSet presAssocID="{5EB497D0-301A-44FF-8882-1947E7784903}" presName="parentLeftMargin" presStyleLbl="node1" presStyleIdx="0" presStyleCnt="4"/>
      <dgm:spPr/>
    </dgm:pt>
    <dgm:pt modelId="{40A411EB-61C8-4B76-BD8C-DA4F79C6C4D4}" type="pres">
      <dgm:prSet presAssocID="{5EB497D0-301A-44FF-8882-1947E7784903}" presName="parentText" presStyleLbl="node1" presStyleIdx="0" presStyleCnt="4" custScaleY="150289">
        <dgm:presLayoutVars>
          <dgm:chMax val="0"/>
          <dgm:bulletEnabled val="1"/>
        </dgm:presLayoutVars>
      </dgm:prSet>
      <dgm:spPr/>
    </dgm:pt>
    <dgm:pt modelId="{A151B25B-84D3-4406-B1D5-B966BEEC70EE}" type="pres">
      <dgm:prSet presAssocID="{5EB497D0-301A-44FF-8882-1947E7784903}" presName="negativeSpace" presStyleCnt="0"/>
      <dgm:spPr/>
    </dgm:pt>
    <dgm:pt modelId="{D4F42F3C-10D0-41EC-909E-81B34A83EA80}" type="pres">
      <dgm:prSet presAssocID="{5EB497D0-301A-44FF-8882-1947E7784903}" presName="childText" presStyleLbl="conFgAcc1" presStyleIdx="0" presStyleCnt="4">
        <dgm:presLayoutVars>
          <dgm:bulletEnabled val="1"/>
        </dgm:presLayoutVars>
      </dgm:prSet>
      <dgm:spPr/>
    </dgm:pt>
    <dgm:pt modelId="{6BBF1BFC-8617-4419-B8B0-E4348949E962}" type="pres">
      <dgm:prSet presAssocID="{BC2EEA10-68E0-4AE0-B3F0-5DEFFD84DFDE}" presName="spaceBetweenRectangles" presStyleCnt="0"/>
      <dgm:spPr/>
    </dgm:pt>
    <dgm:pt modelId="{43F3DB71-75F7-4391-AC0E-F3FA0F172DF9}" type="pres">
      <dgm:prSet presAssocID="{4FAC9689-AAFB-44E9-99F5-2847CC4E6D1D}" presName="parentLin" presStyleCnt="0"/>
      <dgm:spPr/>
    </dgm:pt>
    <dgm:pt modelId="{40BE3484-36A0-4F1C-B0BC-27FD2B8C21C2}" type="pres">
      <dgm:prSet presAssocID="{4FAC9689-AAFB-44E9-99F5-2847CC4E6D1D}" presName="parentLeftMargin" presStyleLbl="node1" presStyleIdx="0" presStyleCnt="4"/>
      <dgm:spPr/>
    </dgm:pt>
    <dgm:pt modelId="{FDFE3B95-AADB-4DC2-886F-8BC8C486655F}" type="pres">
      <dgm:prSet presAssocID="{4FAC9689-AAFB-44E9-99F5-2847CC4E6D1D}" presName="parentText" presStyleLbl="node1" presStyleIdx="1" presStyleCnt="4">
        <dgm:presLayoutVars>
          <dgm:chMax val="0"/>
          <dgm:bulletEnabled val="1"/>
        </dgm:presLayoutVars>
      </dgm:prSet>
      <dgm:spPr/>
    </dgm:pt>
    <dgm:pt modelId="{6103CBC0-8BBF-429F-A67A-E4A2AE5F3702}" type="pres">
      <dgm:prSet presAssocID="{4FAC9689-AAFB-44E9-99F5-2847CC4E6D1D}" presName="negativeSpace" presStyleCnt="0"/>
      <dgm:spPr/>
    </dgm:pt>
    <dgm:pt modelId="{DE380A5A-B04E-4A2C-A508-AAE871FD18DE}" type="pres">
      <dgm:prSet presAssocID="{4FAC9689-AAFB-44E9-99F5-2847CC4E6D1D}" presName="childText" presStyleLbl="conFgAcc1" presStyleIdx="1" presStyleCnt="4" custLinFactNeighborX="0" custLinFactNeighborY="-60083">
        <dgm:presLayoutVars>
          <dgm:bulletEnabled val="1"/>
        </dgm:presLayoutVars>
      </dgm:prSet>
      <dgm:spPr/>
    </dgm:pt>
    <dgm:pt modelId="{CC4282A6-FC87-47F7-AC4A-B181E05E0CE1}" type="pres">
      <dgm:prSet presAssocID="{56684D76-76CB-46FE-9E91-0ABC70D56B94}" presName="spaceBetweenRectangles" presStyleCnt="0"/>
      <dgm:spPr/>
    </dgm:pt>
    <dgm:pt modelId="{BB397EFE-9D9B-4781-9AA1-1CE5C1DF18C7}" type="pres">
      <dgm:prSet presAssocID="{A6878747-5B0A-46FB-9CCA-87C1F0FCD586}" presName="parentLin" presStyleCnt="0"/>
      <dgm:spPr/>
    </dgm:pt>
    <dgm:pt modelId="{41289C35-1A2F-4FC7-BA1B-D40BFA9FA5EC}" type="pres">
      <dgm:prSet presAssocID="{A6878747-5B0A-46FB-9CCA-87C1F0FCD586}" presName="parentLeftMargin" presStyleLbl="node1" presStyleIdx="1" presStyleCnt="4"/>
      <dgm:spPr/>
    </dgm:pt>
    <dgm:pt modelId="{4BC82297-FBA2-4758-8A7D-294F83E87F72}" type="pres">
      <dgm:prSet presAssocID="{A6878747-5B0A-46FB-9CCA-87C1F0FCD586}" presName="parentText" presStyleLbl="node1" presStyleIdx="2" presStyleCnt="4">
        <dgm:presLayoutVars>
          <dgm:chMax val="0"/>
          <dgm:bulletEnabled val="1"/>
        </dgm:presLayoutVars>
      </dgm:prSet>
      <dgm:spPr/>
    </dgm:pt>
    <dgm:pt modelId="{69E1F585-72D3-4B6F-A29A-80764C6EAF96}" type="pres">
      <dgm:prSet presAssocID="{A6878747-5B0A-46FB-9CCA-87C1F0FCD586}" presName="negativeSpace" presStyleCnt="0"/>
      <dgm:spPr/>
    </dgm:pt>
    <dgm:pt modelId="{A3108DE4-046E-478B-A58E-1C1235B54FF3}" type="pres">
      <dgm:prSet presAssocID="{A6878747-5B0A-46FB-9CCA-87C1F0FCD586}" presName="childText" presStyleLbl="conFgAcc1" presStyleIdx="2" presStyleCnt="4" custLinFactNeighborY="-53700">
        <dgm:presLayoutVars>
          <dgm:bulletEnabled val="1"/>
        </dgm:presLayoutVars>
      </dgm:prSet>
      <dgm:spPr/>
    </dgm:pt>
    <dgm:pt modelId="{950441AB-9725-430F-8F6B-DA83F0FF2BED}" type="pres">
      <dgm:prSet presAssocID="{B0916777-972A-4BB7-96BD-40F6FD13D67B}" presName="spaceBetweenRectangles" presStyleCnt="0"/>
      <dgm:spPr/>
    </dgm:pt>
    <dgm:pt modelId="{AF3355CE-F33A-4DA8-B139-DB8192811BA1}" type="pres">
      <dgm:prSet presAssocID="{951DC9A2-1429-4777-A4CD-80FD5C0672EB}" presName="parentLin" presStyleCnt="0"/>
      <dgm:spPr/>
    </dgm:pt>
    <dgm:pt modelId="{7D2816E8-DB94-4C96-ABA6-5F8841CC4656}" type="pres">
      <dgm:prSet presAssocID="{951DC9A2-1429-4777-A4CD-80FD5C0672EB}" presName="parentLeftMargin" presStyleLbl="node1" presStyleIdx="2" presStyleCnt="4"/>
      <dgm:spPr/>
    </dgm:pt>
    <dgm:pt modelId="{5748A470-F144-4362-BE20-3C0CDD6D0031}" type="pres">
      <dgm:prSet presAssocID="{951DC9A2-1429-4777-A4CD-80FD5C0672EB}" presName="parentText" presStyleLbl="node1" presStyleIdx="3" presStyleCnt="4">
        <dgm:presLayoutVars>
          <dgm:chMax val="0"/>
          <dgm:bulletEnabled val="1"/>
        </dgm:presLayoutVars>
      </dgm:prSet>
      <dgm:spPr/>
    </dgm:pt>
    <dgm:pt modelId="{1D733D1F-6BF7-487E-A0DD-079970CDC771}" type="pres">
      <dgm:prSet presAssocID="{951DC9A2-1429-4777-A4CD-80FD5C0672EB}" presName="negativeSpace" presStyleCnt="0"/>
      <dgm:spPr/>
    </dgm:pt>
    <dgm:pt modelId="{0BE9689E-9E62-4D25-B3BF-E4CCAC30192F}" type="pres">
      <dgm:prSet presAssocID="{951DC9A2-1429-4777-A4CD-80FD5C0672EB}" presName="childText" presStyleLbl="conFgAcc1" presStyleIdx="3" presStyleCnt="4">
        <dgm:presLayoutVars>
          <dgm:bulletEnabled val="1"/>
        </dgm:presLayoutVars>
      </dgm:prSet>
      <dgm:spPr/>
    </dgm:pt>
  </dgm:ptLst>
  <dgm:cxnLst>
    <dgm:cxn modelId="{FB180900-2F6E-4CB7-A60F-72C360590694}" type="presOf" srcId="{A6878747-5B0A-46FB-9CCA-87C1F0FCD586}" destId="{4BC82297-FBA2-4758-8A7D-294F83E87F72}" srcOrd="1" destOrd="0" presId="urn:microsoft.com/office/officeart/2005/8/layout/list1"/>
    <dgm:cxn modelId="{B2445D05-9044-4C85-A273-A45EB30CB355}" type="presOf" srcId="{1120A633-C12A-4287-BE10-E4930B0DB4E2}" destId="{DE380A5A-B04E-4A2C-A508-AAE871FD18DE}" srcOrd="0" destOrd="0" presId="urn:microsoft.com/office/officeart/2005/8/layout/list1"/>
    <dgm:cxn modelId="{5035BD06-08DA-4D42-BA17-8E8F1A79E070}" type="presOf" srcId="{CF21E4CF-D4C5-4050-AC79-1A81EA28CDD6}" destId="{0BE9689E-9E62-4D25-B3BF-E4CCAC30192F}" srcOrd="0" destOrd="0" presId="urn:microsoft.com/office/officeart/2005/8/layout/list1"/>
    <dgm:cxn modelId="{B7902818-1C0B-4455-83B1-5B136539812E}" srcId="{5EB497D0-301A-44FF-8882-1947E7784903}" destId="{B2A056CA-8C6A-49D4-8A29-F00058BF0202}" srcOrd="0" destOrd="0" parTransId="{5F72366C-D5BF-4155-B62F-1A56540B5B15}" sibTransId="{E38E443C-86A9-4799-8E6F-66D3C4DAB9DC}"/>
    <dgm:cxn modelId="{81145B1D-6BF1-4ED1-8947-20789C4E5CFC}" type="presOf" srcId="{951DC9A2-1429-4777-A4CD-80FD5C0672EB}" destId="{7D2816E8-DB94-4C96-ABA6-5F8841CC4656}" srcOrd="0" destOrd="0" presId="urn:microsoft.com/office/officeart/2005/8/layout/list1"/>
    <dgm:cxn modelId="{A72D761F-51F1-4E18-B127-9448C3AFF4FE}" type="presOf" srcId="{539A14F6-700A-430D-890D-2911A8BF5D7B}" destId="{D4F42F3C-10D0-41EC-909E-81B34A83EA80}" srcOrd="0" destOrd="1" presId="urn:microsoft.com/office/officeart/2005/8/layout/list1"/>
    <dgm:cxn modelId="{268D282E-6B3A-459C-AED0-4E5797CD271C}" srcId="{4FAC9689-AAFB-44E9-99F5-2847CC4E6D1D}" destId="{B5C395E5-D90E-4057-820F-318F6D83C18A}" srcOrd="1" destOrd="0" parTransId="{9157F091-C91C-4F61-BA68-DE08FA428E82}" sibTransId="{D703B2FB-957D-43B7-AEDC-15EB7ED5E4D0}"/>
    <dgm:cxn modelId="{11667F2F-B50D-4214-B9BD-33766AE196D6}" srcId="{34C28E82-9923-4596-A4F7-B85E93CDBD44}" destId="{4FAC9689-AAFB-44E9-99F5-2847CC4E6D1D}" srcOrd="1" destOrd="0" parTransId="{AB9D5A0A-3C37-428F-853A-7D79A889CC74}" sibTransId="{56684D76-76CB-46FE-9E91-0ABC70D56B94}"/>
    <dgm:cxn modelId="{BA35A460-8FF3-4F50-974E-993B61930F3A}" srcId="{A6878747-5B0A-46FB-9CCA-87C1F0FCD586}" destId="{8C829B16-6608-4462-966C-F23FDD9F3C80}" srcOrd="1" destOrd="0" parTransId="{19287BA1-D8F0-45C6-9BDF-1BD674632687}" sibTransId="{87E75158-544B-4EC0-BDCC-23EAF702AE91}"/>
    <dgm:cxn modelId="{23A07F68-9300-4828-993F-89F22DDC3205}" type="presOf" srcId="{4FAC9689-AAFB-44E9-99F5-2847CC4E6D1D}" destId="{FDFE3B95-AADB-4DC2-886F-8BC8C486655F}" srcOrd="1" destOrd="0" presId="urn:microsoft.com/office/officeart/2005/8/layout/list1"/>
    <dgm:cxn modelId="{89CAC94B-5C68-49FA-AE44-169259ABD07D}" type="presOf" srcId="{4FAC9689-AAFB-44E9-99F5-2847CC4E6D1D}" destId="{40BE3484-36A0-4F1C-B0BC-27FD2B8C21C2}" srcOrd="0" destOrd="0" presId="urn:microsoft.com/office/officeart/2005/8/layout/list1"/>
    <dgm:cxn modelId="{BC89344E-9C36-40F5-B988-190237F4E747}" type="presOf" srcId="{8C829B16-6608-4462-966C-F23FDD9F3C80}" destId="{A3108DE4-046E-478B-A58E-1C1235B54FF3}" srcOrd="0" destOrd="1" presId="urn:microsoft.com/office/officeart/2005/8/layout/list1"/>
    <dgm:cxn modelId="{10637653-EB9E-4D75-B286-0D45FFFA5496}" srcId="{34C28E82-9923-4596-A4F7-B85E93CDBD44}" destId="{5EB497D0-301A-44FF-8882-1947E7784903}" srcOrd="0" destOrd="0" parTransId="{B91B9705-AFA3-46C5-B101-097B22D21D0A}" sibTransId="{BC2EEA10-68E0-4AE0-B3F0-5DEFFD84DFDE}"/>
    <dgm:cxn modelId="{FBE07C7B-B61C-45AB-ABFD-85CF4A1A6BAF}" type="presOf" srcId="{B5C395E5-D90E-4057-820F-318F6D83C18A}" destId="{DE380A5A-B04E-4A2C-A508-AAE871FD18DE}" srcOrd="0" destOrd="1" presId="urn:microsoft.com/office/officeart/2005/8/layout/list1"/>
    <dgm:cxn modelId="{DF37ED92-C5E5-49A6-BC61-ECB3A8F44D6E}" type="presOf" srcId="{A6878747-5B0A-46FB-9CCA-87C1F0FCD586}" destId="{41289C35-1A2F-4FC7-BA1B-D40BFA9FA5EC}" srcOrd="0" destOrd="0" presId="urn:microsoft.com/office/officeart/2005/8/layout/list1"/>
    <dgm:cxn modelId="{FC9ABB96-0EDE-4D60-8699-870E68E6D298}" srcId="{951DC9A2-1429-4777-A4CD-80FD5C0672EB}" destId="{CF21E4CF-D4C5-4050-AC79-1A81EA28CDD6}" srcOrd="0" destOrd="0" parTransId="{39A157D8-4C64-472B-AC52-616A12538821}" sibTransId="{AA797438-663A-4300-9E29-7087CF69960B}"/>
    <dgm:cxn modelId="{9187BE96-AFCE-4F88-BE65-1048B383859A}" srcId="{34C28E82-9923-4596-A4F7-B85E93CDBD44}" destId="{A6878747-5B0A-46FB-9CCA-87C1F0FCD586}" srcOrd="2" destOrd="0" parTransId="{2FBC3918-22E5-4BCC-9DCE-E2C8D475970E}" sibTransId="{B0916777-972A-4BB7-96BD-40F6FD13D67B}"/>
    <dgm:cxn modelId="{896F569C-9A69-40F1-ADF7-33D2EEA94080}" srcId="{4FAC9689-AAFB-44E9-99F5-2847CC4E6D1D}" destId="{1120A633-C12A-4287-BE10-E4930B0DB4E2}" srcOrd="0" destOrd="0" parTransId="{4C607E20-1E84-4D0C-957E-EF682BCADC54}" sibTransId="{E2B586FF-5AAF-470A-991D-59870D57225C}"/>
    <dgm:cxn modelId="{55F533A1-3220-4326-A9FA-15E5359BDF9A}" type="presOf" srcId="{41001E27-7E75-4BDF-A3F4-733D231DBF74}" destId="{D4F42F3C-10D0-41EC-909E-81B34A83EA80}" srcOrd="0" destOrd="2" presId="urn:microsoft.com/office/officeart/2005/8/layout/list1"/>
    <dgm:cxn modelId="{D3C4C9A6-EC82-4DA8-AF41-1BFEEDAD5E48}" type="presOf" srcId="{5EB497D0-301A-44FF-8882-1947E7784903}" destId="{845CFBBF-585B-48EB-A405-5FC1E4D9AED2}" srcOrd="0" destOrd="0" presId="urn:microsoft.com/office/officeart/2005/8/layout/list1"/>
    <dgm:cxn modelId="{D40CCDAA-DAC8-4C88-A578-F1ABA44CBB23}" type="presOf" srcId="{6B278EFE-3089-47CD-8D6F-E8358F02D497}" destId="{0BE9689E-9E62-4D25-B3BF-E4CCAC30192F}" srcOrd="0" destOrd="1" presId="urn:microsoft.com/office/officeart/2005/8/layout/list1"/>
    <dgm:cxn modelId="{10CE60B0-80E9-4249-B1CB-AA2C5C8235CD}" srcId="{951DC9A2-1429-4777-A4CD-80FD5C0672EB}" destId="{6B278EFE-3089-47CD-8D6F-E8358F02D497}" srcOrd="1" destOrd="0" parTransId="{42EA9548-72ED-46D5-B545-CB1383F2BC16}" sibTransId="{1A3A1AB1-716C-47C7-AC08-084880C34963}"/>
    <dgm:cxn modelId="{8D55ABB6-B332-4336-A8EF-B860AB963E9D}" srcId="{5EB497D0-301A-44FF-8882-1947E7784903}" destId="{41001E27-7E75-4BDF-A3F4-733D231DBF74}" srcOrd="2" destOrd="0" parTransId="{5C6EF65B-8B00-470E-8D93-F7DC5B258D3B}" sibTransId="{1D5F6A6C-A5CC-475D-9180-B4940AB5CA75}"/>
    <dgm:cxn modelId="{1F884AB8-5192-448E-987A-F8D8BEBC0C18}" type="presOf" srcId="{273F0AE8-DF42-4F19-8ADD-169CCB18F6AD}" destId="{A3108DE4-046E-478B-A58E-1C1235B54FF3}" srcOrd="0" destOrd="0" presId="urn:microsoft.com/office/officeart/2005/8/layout/list1"/>
    <dgm:cxn modelId="{04DCDBBA-5F09-40AF-BB02-21565BEF64E7}" type="presOf" srcId="{34C28E82-9923-4596-A4F7-B85E93CDBD44}" destId="{1680A399-277A-4C59-85BE-AA1936A2B579}" srcOrd="0" destOrd="0" presId="urn:microsoft.com/office/officeart/2005/8/layout/list1"/>
    <dgm:cxn modelId="{0A49EFBA-694F-4A28-86A9-FBEEFD9152A9}" type="presOf" srcId="{5EB497D0-301A-44FF-8882-1947E7784903}" destId="{40A411EB-61C8-4B76-BD8C-DA4F79C6C4D4}" srcOrd="1" destOrd="0" presId="urn:microsoft.com/office/officeart/2005/8/layout/list1"/>
    <dgm:cxn modelId="{D18BE4C8-199E-425E-812E-E237ACFFA40D}" srcId="{34C28E82-9923-4596-A4F7-B85E93CDBD44}" destId="{951DC9A2-1429-4777-A4CD-80FD5C0672EB}" srcOrd="3" destOrd="0" parTransId="{57E4A9D3-12B9-4812-8C82-5A2C173D1B2A}" sibTransId="{C14F3F5D-18BC-4796-B548-E3615E744DAE}"/>
    <dgm:cxn modelId="{A55511E2-3699-42FE-B576-42C2745F21A9}" type="presOf" srcId="{E7A820D3-B019-47F4-81CE-F103EAE99BDA}" destId="{A3108DE4-046E-478B-A58E-1C1235B54FF3}" srcOrd="0" destOrd="2" presId="urn:microsoft.com/office/officeart/2005/8/layout/list1"/>
    <dgm:cxn modelId="{059F31E2-4FB2-48FD-93EB-3B9ABDF48566}" type="presOf" srcId="{B2A056CA-8C6A-49D4-8A29-F00058BF0202}" destId="{D4F42F3C-10D0-41EC-909E-81B34A83EA80}" srcOrd="0" destOrd="0" presId="urn:microsoft.com/office/officeart/2005/8/layout/list1"/>
    <dgm:cxn modelId="{2E84C0E3-C0B2-465A-A246-8650FD633A9C}" srcId="{A6878747-5B0A-46FB-9CCA-87C1F0FCD586}" destId="{273F0AE8-DF42-4F19-8ADD-169CCB18F6AD}" srcOrd="0" destOrd="0" parTransId="{29FA6308-8656-47CC-AB7D-78CF3E6FB752}" sibTransId="{FEE834D3-A4BE-4D92-8BD1-3FA65D8787F4}"/>
    <dgm:cxn modelId="{A1B37CEA-4EFF-4C32-B259-C3311C5F1F19}" type="presOf" srcId="{951DC9A2-1429-4777-A4CD-80FD5C0672EB}" destId="{5748A470-F144-4362-BE20-3C0CDD6D0031}" srcOrd="1" destOrd="0" presId="urn:microsoft.com/office/officeart/2005/8/layout/list1"/>
    <dgm:cxn modelId="{6C7F66F5-B121-4F95-AA20-294A1BBDE1B7}" srcId="{5EB497D0-301A-44FF-8882-1947E7784903}" destId="{539A14F6-700A-430D-890D-2911A8BF5D7B}" srcOrd="1" destOrd="0" parTransId="{CD874AE8-838F-4DEC-961B-CB74BEBDFB7E}" sibTransId="{E988AA1A-0A3E-4C02-A82B-05022294B906}"/>
    <dgm:cxn modelId="{904C4BFF-F1F8-461F-A412-FA373BD30181}" srcId="{A6878747-5B0A-46FB-9CCA-87C1F0FCD586}" destId="{E7A820D3-B019-47F4-81CE-F103EAE99BDA}" srcOrd="2" destOrd="0" parTransId="{1D016B65-BD7B-47D3-93F0-D5B6761B2046}" sibTransId="{7C7FB4BD-2984-41B8-A058-8A1528462C6D}"/>
    <dgm:cxn modelId="{7F1B23F3-0617-4B3B-9ECA-F225BD98692C}" type="presParOf" srcId="{1680A399-277A-4C59-85BE-AA1936A2B579}" destId="{8A743FDA-B359-4080-8A51-2CA8D75C3E0F}" srcOrd="0" destOrd="0" presId="urn:microsoft.com/office/officeart/2005/8/layout/list1"/>
    <dgm:cxn modelId="{1F8439B2-F777-468B-ACB1-DF50035EAD67}" type="presParOf" srcId="{8A743FDA-B359-4080-8A51-2CA8D75C3E0F}" destId="{845CFBBF-585B-48EB-A405-5FC1E4D9AED2}" srcOrd="0" destOrd="0" presId="urn:microsoft.com/office/officeart/2005/8/layout/list1"/>
    <dgm:cxn modelId="{3817C480-8C2C-4D1B-AACF-145F83CDA854}" type="presParOf" srcId="{8A743FDA-B359-4080-8A51-2CA8D75C3E0F}" destId="{40A411EB-61C8-4B76-BD8C-DA4F79C6C4D4}" srcOrd="1" destOrd="0" presId="urn:microsoft.com/office/officeart/2005/8/layout/list1"/>
    <dgm:cxn modelId="{6733B04B-932D-40A0-ACB9-0CEA39FEDE13}" type="presParOf" srcId="{1680A399-277A-4C59-85BE-AA1936A2B579}" destId="{A151B25B-84D3-4406-B1D5-B966BEEC70EE}" srcOrd="1" destOrd="0" presId="urn:microsoft.com/office/officeart/2005/8/layout/list1"/>
    <dgm:cxn modelId="{0D9E80A8-ABD1-4688-8FFD-5AE541184339}" type="presParOf" srcId="{1680A399-277A-4C59-85BE-AA1936A2B579}" destId="{D4F42F3C-10D0-41EC-909E-81B34A83EA80}" srcOrd="2" destOrd="0" presId="urn:microsoft.com/office/officeart/2005/8/layout/list1"/>
    <dgm:cxn modelId="{3EE3362B-F35C-4FCA-B63D-D458CCEE447E}" type="presParOf" srcId="{1680A399-277A-4C59-85BE-AA1936A2B579}" destId="{6BBF1BFC-8617-4419-B8B0-E4348949E962}" srcOrd="3" destOrd="0" presId="urn:microsoft.com/office/officeart/2005/8/layout/list1"/>
    <dgm:cxn modelId="{65A82334-D91C-4B78-A6A6-2CC3C8830BDA}" type="presParOf" srcId="{1680A399-277A-4C59-85BE-AA1936A2B579}" destId="{43F3DB71-75F7-4391-AC0E-F3FA0F172DF9}" srcOrd="4" destOrd="0" presId="urn:microsoft.com/office/officeart/2005/8/layout/list1"/>
    <dgm:cxn modelId="{9EE07A75-424F-4F90-A9D6-D16945C222ED}" type="presParOf" srcId="{43F3DB71-75F7-4391-AC0E-F3FA0F172DF9}" destId="{40BE3484-36A0-4F1C-B0BC-27FD2B8C21C2}" srcOrd="0" destOrd="0" presId="urn:microsoft.com/office/officeart/2005/8/layout/list1"/>
    <dgm:cxn modelId="{52668330-7991-4504-9052-1F0D20965B76}" type="presParOf" srcId="{43F3DB71-75F7-4391-AC0E-F3FA0F172DF9}" destId="{FDFE3B95-AADB-4DC2-886F-8BC8C486655F}" srcOrd="1" destOrd="0" presId="urn:microsoft.com/office/officeart/2005/8/layout/list1"/>
    <dgm:cxn modelId="{95BFD75C-59A9-48E0-97C5-92973A8C457A}" type="presParOf" srcId="{1680A399-277A-4C59-85BE-AA1936A2B579}" destId="{6103CBC0-8BBF-429F-A67A-E4A2AE5F3702}" srcOrd="5" destOrd="0" presId="urn:microsoft.com/office/officeart/2005/8/layout/list1"/>
    <dgm:cxn modelId="{B05FB1D0-6ED6-40AC-A38F-307FA739AF7B}" type="presParOf" srcId="{1680A399-277A-4C59-85BE-AA1936A2B579}" destId="{DE380A5A-B04E-4A2C-A508-AAE871FD18DE}" srcOrd="6" destOrd="0" presId="urn:microsoft.com/office/officeart/2005/8/layout/list1"/>
    <dgm:cxn modelId="{334C909F-EA3C-4EB3-A346-70B159B691A4}" type="presParOf" srcId="{1680A399-277A-4C59-85BE-AA1936A2B579}" destId="{CC4282A6-FC87-47F7-AC4A-B181E05E0CE1}" srcOrd="7" destOrd="0" presId="urn:microsoft.com/office/officeart/2005/8/layout/list1"/>
    <dgm:cxn modelId="{0D9C3E6C-F32C-48DB-A73D-732321F636FB}" type="presParOf" srcId="{1680A399-277A-4C59-85BE-AA1936A2B579}" destId="{BB397EFE-9D9B-4781-9AA1-1CE5C1DF18C7}" srcOrd="8" destOrd="0" presId="urn:microsoft.com/office/officeart/2005/8/layout/list1"/>
    <dgm:cxn modelId="{80BC4C77-8BAE-4B6D-9926-44F689A4A1FE}" type="presParOf" srcId="{BB397EFE-9D9B-4781-9AA1-1CE5C1DF18C7}" destId="{41289C35-1A2F-4FC7-BA1B-D40BFA9FA5EC}" srcOrd="0" destOrd="0" presId="urn:microsoft.com/office/officeart/2005/8/layout/list1"/>
    <dgm:cxn modelId="{1E1057A2-F57E-4FFA-A4AB-4549BDA8F448}" type="presParOf" srcId="{BB397EFE-9D9B-4781-9AA1-1CE5C1DF18C7}" destId="{4BC82297-FBA2-4758-8A7D-294F83E87F72}" srcOrd="1" destOrd="0" presId="urn:microsoft.com/office/officeart/2005/8/layout/list1"/>
    <dgm:cxn modelId="{DC794074-3C43-43ED-9B45-E197224D067D}" type="presParOf" srcId="{1680A399-277A-4C59-85BE-AA1936A2B579}" destId="{69E1F585-72D3-4B6F-A29A-80764C6EAF96}" srcOrd="9" destOrd="0" presId="urn:microsoft.com/office/officeart/2005/8/layout/list1"/>
    <dgm:cxn modelId="{C592D8A2-FA01-43F6-B9F0-908832279AF3}" type="presParOf" srcId="{1680A399-277A-4C59-85BE-AA1936A2B579}" destId="{A3108DE4-046E-478B-A58E-1C1235B54FF3}" srcOrd="10" destOrd="0" presId="urn:microsoft.com/office/officeart/2005/8/layout/list1"/>
    <dgm:cxn modelId="{4EB6819E-3AC2-4A86-92CA-734B25766A63}" type="presParOf" srcId="{1680A399-277A-4C59-85BE-AA1936A2B579}" destId="{950441AB-9725-430F-8F6B-DA83F0FF2BED}" srcOrd="11" destOrd="0" presId="urn:microsoft.com/office/officeart/2005/8/layout/list1"/>
    <dgm:cxn modelId="{B1861D63-E5F2-41BF-A6B2-6F2BAB08524C}" type="presParOf" srcId="{1680A399-277A-4C59-85BE-AA1936A2B579}" destId="{AF3355CE-F33A-4DA8-B139-DB8192811BA1}" srcOrd="12" destOrd="0" presId="urn:microsoft.com/office/officeart/2005/8/layout/list1"/>
    <dgm:cxn modelId="{21D82B5B-8731-47DB-AE58-5988CA29863A}" type="presParOf" srcId="{AF3355CE-F33A-4DA8-B139-DB8192811BA1}" destId="{7D2816E8-DB94-4C96-ABA6-5F8841CC4656}" srcOrd="0" destOrd="0" presId="urn:microsoft.com/office/officeart/2005/8/layout/list1"/>
    <dgm:cxn modelId="{6EDAF8DD-C3C8-4974-AD4A-61A0E5F17897}" type="presParOf" srcId="{AF3355CE-F33A-4DA8-B139-DB8192811BA1}" destId="{5748A470-F144-4362-BE20-3C0CDD6D0031}" srcOrd="1" destOrd="0" presId="urn:microsoft.com/office/officeart/2005/8/layout/list1"/>
    <dgm:cxn modelId="{70F9CC9F-1A83-4734-83FA-0E4A5EF8AB09}" type="presParOf" srcId="{1680A399-277A-4C59-85BE-AA1936A2B579}" destId="{1D733D1F-6BF7-487E-A0DD-079970CDC771}" srcOrd="13" destOrd="0" presId="urn:microsoft.com/office/officeart/2005/8/layout/list1"/>
    <dgm:cxn modelId="{1ADCF0AC-48C5-4F26-9A7B-47E06E0DA414}" type="presParOf" srcId="{1680A399-277A-4C59-85BE-AA1936A2B579}" destId="{0BE9689E-9E62-4D25-B3BF-E4CCAC30192F}"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A7A256-5718-40C6-8433-A6EB731A366A}">
      <dsp:nvSpPr>
        <dsp:cNvPr id="0" name=""/>
        <dsp:cNvSpPr/>
      </dsp:nvSpPr>
      <dsp:spPr>
        <a:xfrm>
          <a:off x="0" y="1249863"/>
          <a:ext cx="11307044" cy="1728192"/>
        </a:xfrm>
        <a:prstGeom prst="notchedRightArrow">
          <a:avLst/>
        </a:prstGeom>
        <a:solidFill>
          <a:schemeClr val="accent2">
            <a:lumMod val="20000"/>
            <a:lumOff val="80000"/>
          </a:schemeClr>
        </a:solidFill>
        <a:ln>
          <a:noFill/>
        </a:ln>
        <a:effectLst/>
      </dsp:spPr>
      <dsp:style>
        <a:lnRef idx="0">
          <a:scrgbClr r="0" g="0" b="0"/>
        </a:lnRef>
        <a:fillRef idx="1">
          <a:scrgbClr r="0" g="0" b="0"/>
        </a:fillRef>
        <a:effectRef idx="0">
          <a:scrgbClr r="0" g="0" b="0"/>
        </a:effectRef>
        <a:fontRef idx="minor"/>
      </dsp:style>
    </dsp:sp>
    <dsp:sp modelId="{4A25DB10-2F4C-4C3B-AA90-89AF5060E07D}">
      <dsp:nvSpPr>
        <dsp:cNvPr id="0" name=""/>
        <dsp:cNvSpPr/>
      </dsp:nvSpPr>
      <dsp:spPr>
        <a:xfrm>
          <a:off x="5093" y="0"/>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1">
          <a:noAutofit/>
        </a:bodyPr>
        <a:lstStyle/>
        <a:p>
          <a:pPr marL="0" lvl="0" indent="0" algn="l" defTabSz="622300">
            <a:lnSpc>
              <a:spcPct val="90000"/>
            </a:lnSpc>
            <a:spcBef>
              <a:spcPct val="0"/>
            </a:spcBef>
            <a:spcAft>
              <a:spcPct val="35000"/>
            </a:spcAft>
            <a:buNone/>
          </a:pPr>
          <a:r>
            <a:rPr lang="en-GB" sz="1400" b="1" kern="1200">
              <a:latin typeface="Arial" panose="020B0604020202020204" pitchFamily="34" charset="0"/>
              <a:cs typeface="Arial" panose="020B0604020202020204" pitchFamily="34" charset="0"/>
            </a:rPr>
            <a:t>October (total = 2)</a:t>
          </a:r>
        </a:p>
        <a:p>
          <a:pPr marL="114300" lvl="1" indent="-114300" algn="l" defTabSz="622300">
            <a:lnSpc>
              <a:spcPct val="90000"/>
            </a:lnSpc>
            <a:spcBef>
              <a:spcPct val="0"/>
            </a:spcBef>
            <a:spcAft>
              <a:spcPct val="15000"/>
            </a:spcAft>
            <a:buChar char="•"/>
          </a:pPr>
          <a:r>
            <a:rPr lang="en-GB" sz="1400" kern="1200">
              <a:latin typeface="Arial" panose="020B0604020202020204" pitchFamily="34" charset="0"/>
              <a:cs typeface="Arial" panose="020B0604020202020204" pitchFamily="34" charset="0"/>
            </a:rPr>
            <a:t>CMP328 – 15 Oct</a:t>
          </a:r>
        </a:p>
        <a:p>
          <a:pPr marL="114300" lvl="1" indent="-114300" algn="l" defTabSz="622300">
            <a:lnSpc>
              <a:spcPct val="90000"/>
            </a:lnSpc>
            <a:spcBef>
              <a:spcPct val="0"/>
            </a:spcBef>
            <a:spcAft>
              <a:spcPct val="15000"/>
            </a:spcAft>
            <a:buChar char="•"/>
          </a:pPr>
          <a:r>
            <a:rPr lang="en-GB" sz="1400" kern="1200">
              <a:latin typeface="Arial" panose="020B0604020202020204" pitchFamily="34" charset="0"/>
              <a:cs typeface="Arial" panose="020B0604020202020204" pitchFamily="34" charset="0"/>
            </a:rPr>
            <a:t>CMP344 – 22 Oct</a:t>
          </a:r>
        </a:p>
      </dsp:txBody>
      <dsp:txXfrm>
        <a:off x="5093" y="0"/>
        <a:ext cx="2449675" cy="1728192"/>
      </dsp:txXfrm>
    </dsp:sp>
    <dsp:sp modelId="{8AE41372-5572-4388-9231-36AAD5ACA36E}">
      <dsp:nvSpPr>
        <dsp:cNvPr id="0" name=""/>
        <dsp:cNvSpPr/>
      </dsp:nvSpPr>
      <dsp:spPr>
        <a:xfrm>
          <a:off x="1013906" y="1944216"/>
          <a:ext cx="432048" cy="432048"/>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6AAEE0BF-62A0-4AB9-BC30-D04FDFC2161F}">
      <dsp:nvSpPr>
        <dsp:cNvPr id="0" name=""/>
        <dsp:cNvSpPr/>
      </dsp:nvSpPr>
      <dsp:spPr>
        <a:xfrm>
          <a:off x="2577252" y="2592288"/>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November (total = 4)</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30 – 9 Nov</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28 – 19 Nov</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44 </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26</a:t>
          </a:r>
        </a:p>
      </dsp:txBody>
      <dsp:txXfrm>
        <a:off x="2577252" y="2592288"/>
        <a:ext cx="2449675" cy="1728192"/>
      </dsp:txXfrm>
    </dsp:sp>
    <dsp:sp modelId="{4BBF6B8C-40B0-4B3E-A5A2-D53892D18E0A}">
      <dsp:nvSpPr>
        <dsp:cNvPr id="0" name=""/>
        <dsp:cNvSpPr/>
      </dsp:nvSpPr>
      <dsp:spPr>
        <a:xfrm>
          <a:off x="3586066" y="1944216"/>
          <a:ext cx="432048" cy="432048"/>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9B3DF8F-3146-4AC4-A9CB-370E50AD8E4A}">
      <dsp:nvSpPr>
        <dsp:cNvPr id="0" name=""/>
        <dsp:cNvSpPr/>
      </dsp:nvSpPr>
      <dsp:spPr>
        <a:xfrm>
          <a:off x="5149411" y="0"/>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1">
          <a:noAutofit/>
        </a:bodyPr>
        <a:lstStyle/>
        <a:p>
          <a:pPr marL="0" lvl="0" indent="0" algn="l"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December (total = 2)</a:t>
          </a:r>
          <a:endParaRPr lang="en-GB" sz="1400" b="1" kern="1200" dirty="0">
            <a:highlight>
              <a:srgbClr val="FFFF00"/>
            </a:highlight>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26</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30</a:t>
          </a:r>
        </a:p>
      </dsp:txBody>
      <dsp:txXfrm>
        <a:off x="5149411" y="0"/>
        <a:ext cx="2449675" cy="1728192"/>
      </dsp:txXfrm>
    </dsp:sp>
    <dsp:sp modelId="{18968397-735A-4549-9EAF-295BEED424FB}">
      <dsp:nvSpPr>
        <dsp:cNvPr id="0" name=""/>
        <dsp:cNvSpPr/>
      </dsp:nvSpPr>
      <dsp:spPr>
        <a:xfrm>
          <a:off x="6158225" y="1944216"/>
          <a:ext cx="432048" cy="432048"/>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B10AC0D2-9941-46BD-9698-C56DE4899E91}">
      <dsp:nvSpPr>
        <dsp:cNvPr id="0" name=""/>
        <dsp:cNvSpPr/>
      </dsp:nvSpPr>
      <dsp:spPr>
        <a:xfrm>
          <a:off x="7721570" y="2592288"/>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January (total = 4)</a:t>
          </a:r>
        </a:p>
        <a:p>
          <a:pPr marL="114300" lvl="1" indent="-114300" algn="l" defTabSz="622300">
            <a:lnSpc>
              <a:spcPct val="90000"/>
            </a:lnSpc>
            <a:spcBef>
              <a:spcPct val="0"/>
            </a:spcBef>
            <a:spcAft>
              <a:spcPct val="15000"/>
            </a:spcAft>
            <a:buChar char="•"/>
          </a:pPr>
          <a:r>
            <a:rPr lang="en-GB" sz="1400" b="0" kern="1200">
              <a:latin typeface="Arial" panose="020B0604020202020204" pitchFamily="34" charset="0"/>
              <a:cs typeface="Arial" panose="020B0604020202020204" pitchFamily="34" charset="0"/>
            </a:rPr>
            <a:t>CMP328 x 2</a:t>
          </a:r>
          <a:endParaRPr lang="en-GB" sz="1400" b="1" kern="120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26</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CMP330 </a:t>
          </a:r>
        </a:p>
      </dsp:txBody>
      <dsp:txXfrm>
        <a:off x="7721570" y="2592288"/>
        <a:ext cx="2449675" cy="1728192"/>
      </dsp:txXfrm>
    </dsp:sp>
    <dsp:sp modelId="{E2356E44-6BD3-48A8-89B4-FB01A69F1D14}">
      <dsp:nvSpPr>
        <dsp:cNvPr id="0" name=""/>
        <dsp:cNvSpPr/>
      </dsp:nvSpPr>
      <dsp:spPr>
        <a:xfrm>
          <a:off x="8730384" y="1944216"/>
          <a:ext cx="432048" cy="432048"/>
        </a:xfrm>
        <a:prstGeom prst="ellipse">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A7A256-5718-40C6-8433-A6EB731A366A}">
      <dsp:nvSpPr>
        <dsp:cNvPr id="0" name=""/>
        <dsp:cNvSpPr/>
      </dsp:nvSpPr>
      <dsp:spPr>
        <a:xfrm>
          <a:off x="0" y="1296144"/>
          <a:ext cx="11307044" cy="1728192"/>
        </a:xfrm>
        <a:prstGeom prst="notchedRightArrow">
          <a:avLst/>
        </a:prstGeom>
        <a:solidFill>
          <a:schemeClr val="accent2">
            <a:lumMod val="20000"/>
            <a:lumOff val="80000"/>
          </a:schemeClr>
        </a:solidFill>
        <a:ln>
          <a:noFill/>
        </a:ln>
        <a:effectLst/>
      </dsp:spPr>
      <dsp:style>
        <a:lnRef idx="0">
          <a:scrgbClr r="0" g="0" b="0"/>
        </a:lnRef>
        <a:fillRef idx="1">
          <a:scrgbClr r="0" g="0" b="0"/>
        </a:fillRef>
        <a:effectRef idx="0">
          <a:scrgbClr r="0" g="0" b="0"/>
        </a:effectRef>
        <a:fontRef idx="minor"/>
      </dsp:style>
    </dsp:sp>
    <dsp:sp modelId="{20E83831-63A8-4736-B62D-7D2C33B661E6}">
      <dsp:nvSpPr>
        <dsp:cNvPr id="0" name=""/>
        <dsp:cNvSpPr/>
      </dsp:nvSpPr>
      <dsp:spPr>
        <a:xfrm>
          <a:off x="5093" y="0"/>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1">
          <a:noAutofit/>
        </a:bodyPr>
        <a:lstStyle/>
        <a:p>
          <a:pPr marL="0" lvl="0" indent="0" algn="l"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October (total = 4)</a:t>
          </a:r>
        </a:p>
        <a:p>
          <a:pPr marL="114300" lvl="1" indent="-114300" algn="l" defTabSz="622300">
            <a:lnSpc>
              <a:spcPct val="90000"/>
            </a:lnSpc>
            <a:spcBef>
              <a:spcPct val="0"/>
            </a:spcBef>
            <a:spcAft>
              <a:spcPct val="15000"/>
            </a:spcAft>
            <a:buChar char="•"/>
          </a:pPr>
          <a:r>
            <a:rPr lang="en-GB" sz="1400" b="0" kern="1200">
              <a:latin typeface="Arial" panose="020B0604020202020204" pitchFamily="34" charset="0"/>
              <a:cs typeface="Arial" panose="020B0604020202020204" pitchFamily="34" charset="0"/>
            </a:rPr>
            <a:t>GC0138/141 - 8 Oct</a:t>
          </a:r>
          <a:endParaRPr lang="en-US" sz="1400" kern="1200"/>
        </a:p>
        <a:p>
          <a:pPr marL="114300" lvl="1" indent="-114300" algn="l" defTabSz="622300">
            <a:lnSpc>
              <a:spcPct val="90000"/>
            </a:lnSpc>
            <a:spcBef>
              <a:spcPct val="0"/>
            </a:spcBef>
            <a:spcAft>
              <a:spcPct val="15000"/>
            </a:spcAft>
            <a:buChar char="•"/>
          </a:pPr>
          <a:r>
            <a:rPr lang="en-GB" sz="1400" b="0" kern="1200">
              <a:latin typeface="Arial" panose="020B0604020202020204" pitchFamily="34" charset="0"/>
              <a:cs typeface="Arial" panose="020B0604020202020204" pitchFamily="34" charset="0"/>
            </a:rPr>
            <a:t>GC0139 – 14 Oct</a:t>
          </a:r>
          <a:endParaRPr lang="en-US" sz="1400" kern="1200"/>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GC0147</a:t>
          </a:r>
          <a:r>
            <a:rPr lang="en-GB" sz="1400" b="1" kern="1200" dirty="0">
              <a:latin typeface="Arial" panose="020B0604020202020204" pitchFamily="34" charset="0"/>
              <a:cs typeface="Arial" panose="020B0604020202020204" pitchFamily="34" charset="0"/>
            </a:rPr>
            <a:t> </a:t>
          </a:r>
          <a:r>
            <a:rPr lang="en-GB" sz="1400" b="0" kern="1200" dirty="0">
              <a:latin typeface="Arial" panose="020B0604020202020204" pitchFamily="34" charset="0"/>
              <a:cs typeface="Arial" panose="020B0604020202020204" pitchFamily="34" charset="0"/>
            </a:rPr>
            <a:t>– 16 Oct and 30 Oct</a:t>
          </a:r>
          <a:endParaRPr lang="en-US" sz="1400" b="0" kern="1200" dirty="0">
            <a:highlight>
              <a:srgbClr val="FFFF00"/>
            </a:highlight>
          </a:endParaRPr>
        </a:p>
      </dsp:txBody>
      <dsp:txXfrm>
        <a:off x="5093" y="0"/>
        <a:ext cx="2449675" cy="1728192"/>
      </dsp:txXfrm>
    </dsp:sp>
    <dsp:sp modelId="{3F2A57A6-6593-421C-88E6-4A9F5F97ECA1}">
      <dsp:nvSpPr>
        <dsp:cNvPr id="0" name=""/>
        <dsp:cNvSpPr/>
      </dsp:nvSpPr>
      <dsp:spPr>
        <a:xfrm>
          <a:off x="1013906" y="1944216"/>
          <a:ext cx="432048" cy="43204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41191A-752F-4E20-AB7E-44655E51EADD}">
      <dsp:nvSpPr>
        <dsp:cNvPr id="0" name=""/>
        <dsp:cNvSpPr/>
      </dsp:nvSpPr>
      <dsp:spPr>
        <a:xfrm>
          <a:off x="2577252" y="2592288"/>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November (total = 7)</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45 x 2 – 3 Nov and 24 Nov</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09 x 2 – 12 Nov and 24 Nov</a:t>
          </a: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GC0134</a:t>
          </a:r>
          <a:r>
            <a:rPr lang="en-US" sz="1400" kern="1200" dirty="0">
              <a:highlight>
                <a:srgbClr val="FFFF00"/>
              </a:highlight>
              <a:latin typeface="Arial" panose="020B0604020202020204" pitchFamily="34" charset="0"/>
              <a:cs typeface="Arial" panose="020B0604020202020204" pitchFamily="34" charset="0"/>
            </a:rPr>
            <a:t> </a:t>
          </a:r>
        </a:p>
        <a:p>
          <a:pPr marL="114300" lvl="1" indent="-114300" algn="l" defTabSz="622300">
            <a:lnSpc>
              <a:spcPct val="90000"/>
            </a:lnSpc>
            <a:spcBef>
              <a:spcPct val="0"/>
            </a:spcBef>
            <a:spcAft>
              <a:spcPct val="15000"/>
            </a:spcAft>
            <a:buChar char="•"/>
          </a:pPr>
          <a:r>
            <a:rPr lang="en-US" sz="1400" kern="1200" dirty="0">
              <a:latin typeface="Arial" panose="020B0604020202020204" pitchFamily="34" charset="0"/>
              <a:cs typeface="Arial" panose="020B0604020202020204" pitchFamily="34" charset="0"/>
            </a:rPr>
            <a:t>GC0139 – 17 Nov</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GC0144 – w/c 2 Nov</a:t>
          </a:r>
          <a:endParaRPr lang="en-US" sz="1400" kern="1200" dirty="0">
            <a:latin typeface="Arial" panose="020B0604020202020204" pitchFamily="34" charset="0"/>
            <a:cs typeface="Arial" panose="020B0604020202020204" pitchFamily="34" charset="0"/>
          </a:endParaRPr>
        </a:p>
      </dsp:txBody>
      <dsp:txXfrm>
        <a:off x="2577252" y="2592288"/>
        <a:ext cx="2449675" cy="1728192"/>
      </dsp:txXfrm>
    </dsp:sp>
    <dsp:sp modelId="{26111A4C-0B05-456F-B746-5DF02A27F4F3}">
      <dsp:nvSpPr>
        <dsp:cNvPr id="0" name=""/>
        <dsp:cNvSpPr/>
      </dsp:nvSpPr>
      <dsp:spPr>
        <a:xfrm>
          <a:off x="3586066" y="1944216"/>
          <a:ext cx="432048" cy="43204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3DE2B4-3B9B-47E3-9F1F-9E92F27DEE99}">
      <dsp:nvSpPr>
        <dsp:cNvPr id="0" name=""/>
        <dsp:cNvSpPr/>
      </dsp:nvSpPr>
      <dsp:spPr>
        <a:xfrm>
          <a:off x="5149411" y="0"/>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1">
          <a:noAutofit/>
        </a:bodyPr>
        <a:lstStyle/>
        <a:p>
          <a:pPr marL="0" lvl="0" indent="0" algn="l" defTabSz="622300">
            <a:lnSpc>
              <a:spcPct val="90000"/>
            </a:lnSpc>
            <a:spcBef>
              <a:spcPct val="0"/>
            </a:spcBef>
            <a:spcAft>
              <a:spcPct val="35000"/>
            </a:spcAft>
            <a:buNone/>
          </a:pPr>
          <a:r>
            <a:rPr lang="en-GB" sz="1400" b="1" kern="1200">
              <a:latin typeface="Arial" panose="020B0604020202020204" pitchFamily="34" charset="0"/>
              <a:cs typeface="Arial" panose="020B0604020202020204" pitchFamily="34" charset="0"/>
            </a:rPr>
            <a:t>December (total = 5)</a:t>
          </a:r>
          <a:endParaRPr lang="en-US" sz="1400" kern="1200"/>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47</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45 – 8 Dec</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44</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34</a:t>
          </a: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37</a:t>
          </a:r>
        </a:p>
      </dsp:txBody>
      <dsp:txXfrm>
        <a:off x="5149411" y="0"/>
        <a:ext cx="2449675" cy="1728192"/>
      </dsp:txXfrm>
    </dsp:sp>
    <dsp:sp modelId="{C50D84A6-9DD6-481A-AE4F-85B1BA40D147}">
      <dsp:nvSpPr>
        <dsp:cNvPr id="0" name=""/>
        <dsp:cNvSpPr/>
      </dsp:nvSpPr>
      <dsp:spPr>
        <a:xfrm>
          <a:off x="6158225" y="1944216"/>
          <a:ext cx="432048" cy="43204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0DBF91-9526-4340-807E-85DB5BD98C7B}">
      <dsp:nvSpPr>
        <dsp:cNvPr id="0" name=""/>
        <dsp:cNvSpPr/>
      </dsp:nvSpPr>
      <dsp:spPr>
        <a:xfrm>
          <a:off x="7721570" y="2592288"/>
          <a:ext cx="2449675" cy="17281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1">
          <a:noAutofit/>
        </a:bodyPr>
        <a:lstStyle/>
        <a:p>
          <a:pPr marL="0" lvl="0" indent="0" algn="l"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January (total = 2)</a:t>
          </a:r>
          <a:endParaRPr lang="en-US" sz="1400" kern="1200" dirty="0">
            <a:latin typeface="Arial" panose="020B0604020202020204" pitchFamily="34" charset="0"/>
            <a:cs typeface="Arial" panose="020B0604020202020204" pitchFamily="34" charset="0"/>
          </a:endParaRPr>
        </a:p>
        <a:p>
          <a:pPr marL="114300" lvl="1" indent="-114300" algn="l" defTabSz="622300">
            <a:lnSpc>
              <a:spcPct val="90000"/>
            </a:lnSpc>
            <a:spcBef>
              <a:spcPct val="0"/>
            </a:spcBef>
            <a:spcAft>
              <a:spcPct val="15000"/>
            </a:spcAft>
            <a:buChar char="•"/>
          </a:pPr>
          <a:r>
            <a:rPr lang="en-US" sz="1400" kern="1200">
              <a:latin typeface="Arial" panose="020B0604020202020204" pitchFamily="34" charset="0"/>
              <a:cs typeface="Arial" panose="020B0604020202020204" pitchFamily="34" charset="0"/>
            </a:rPr>
            <a:t>GC0109 x 2 – w/c 11 Jan and w/c 25 Jan</a:t>
          </a:r>
        </a:p>
      </dsp:txBody>
      <dsp:txXfrm>
        <a:off x="7721570" y="2592288"/>
        <a:ext cx="2449675" cy="1728192"/>
      </dsp:txXfrm>
    </dsp:sp>
    <dsp:sp modelId="{9AE73398-3955-4EA2-96FB-5E18FB7DAFC9}">
      <dsp:nvSpPr>
        <dsp:cNvPr id="0" name=""/>
        <dsp:cNvSpPr/>
      </dsp:nvSpPr>
      <dsp:spPr>
        <a:xfrm>
          <a:off x="8730384" y="1944216"/>
          <a:ext cx="432048" cy="43204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A7A256-5718-40C6-8433-A6EB731A366A}">
      <dsp:nvSpPr>
        <dsp:cNvPr id="0" name=""/>
        <dsp:cNvSpPr/>
      </dsp:nvSpPr>
      <dsp:spPr>
        <a:xfrm>
          <a:off x="0" y="963948"/>
          <a:ext cx="11158965" cy="1285264"/>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8498281-16A6-48B7-AD98-90149668AE09}">
      <dsp:nvSpPr>
        <dsp:cNvPr id="0" name=""/>
        <dsp:cNvSpPr/>
      </dsp:nvSpPr>
      <dsp:spPr>
        <a:xfrm>
          <a:off x="5026" y="0"/>
          <a:ext cx="2417594" cy="1285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1">
          <a:noAutofit/>
        </a:bodyPr>
        <a:lstStyle/>
        <a:p>
          <a:pPr marL="0" lvl="0" indent="0" algn="l"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October</a:t>
          </a:r>
        </a:p>
        <a:p>
          <a:pPr marL="114300" lvl="1" indent="-114300" algn="l" defTabSz="622300">
            <a:lnSpc>
              <a:spcPct val="90000"/>
            </a:lnSpc>
            <a:spcBef>
              <a:spcPct val="0"/>
            </a:spcBef>
            <a:spcAft>
              <a:spcPct val="15000"/>
            </a:spcAft>
            <a:buChar char="•"/>
          </a:pPr>
          <a:r>
            <a:rPr lang="en-GB" sz="1400" b="0" kern="1200" dirty="0">
              <a:latin typeface="Arial" panose="020B0604020202020204" pitchFamily="34" charset="0"/>
              <a:cs typeface="Arial" panose="020B0604020202020204" pitchFamily="34" charset="0"/>
            </a:rPr>
            <a:t>GSR027 – 6 and 8 Oct</a:t>
          </a:r>
        </a:p>
      </dsp:txBody>
      <dsp:txXfrm>
        <a:off x="5026" y="0"/>
        <a:ext cx="2417594" cy="1285264"/>
      </dsp:txXfrm>
    </dsp:sp>
    <dsp:sp modelId="{A89CCC34-59A6-4330-806C-9BADCA929411}">
      <dsp:nvSpPr>
        <dsp:cNvPr id="0" name=""/>
        <dsp:cNvSpPr/>
      </dsp:nvSpPr>
      <dsp:spPr>
        <a:xfrm>
          <a:off x="1053165" y="1445922"/>
          <a:ext cx="321316" cy="3213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5EAF24-7B9A-43BB-A10D-644BD16B455C}">
      <dsp:nvSpPr>
        <dsp:cNvPr id="0" name=""/>
        <dsp:cNvSpPr/>
      </dsp:nvSpPr>
      <dsp:spPr>
        <a:xfrm>
          <a:off x="2543500" y="1927896"/>
          <a:ext cx="2417594" cy="1285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November</a:t>
          </a:r>
        </a:p>
      </dsp:txBody>
      <dsp:txXfrm>
        <a:off x="2543500" y="1927896"/>
        <a:ext cx="2417594" cy="1285264"/>
      </dsp:txXfrm>
    </dsp:sp>
    <dsp:sp modelId="{32E8468A-F1B7-42AF-A178-F024395C3DBD}">
      <dsp:nvSpPr>
        <dsp:cNvPr id="0" name=""/>
        <dsp:cNvSpPr/>
      </dsp:nvSpPr>
      <dsp:spPr>
        <a:xfrm>
          <a:off x="3591639" y="1445922"/>
          <a:ext cx="321316" cy="3213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4A2A12-74EA-4A60-9A18-6F5F4A29F8DD}">
      <dsp:nvSpPr>
        <dsp:cNvPr id="0" name=""/>
        <dsp:cNvSpPr/>
      </dsp:nvSpPr>
      <dsp:spPr>
        <a:xfrm>
          <a:off x="5081974" y="0"/>
          <a:ext cx="2417594" cy="1285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b" anchorCtr="0">
          <a:noAutofit/>
        </a:bodyPr>
        <a:lstStyle/>
        <a:p>
          <a:pPr marL="0" lvl="0" indent="0" algn="ctr"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December</a:t>
          </a:r>
        </a:p>
      </dsp:txBody>
      <dsp:txXfrm>
        <a:off x="5081974" y="0"/>
        <a:ext cx="2417594" cy="1285264"/>
      </dsp:txXfrm>
    </dsp:sp>
    <dsp:sp modelId="{2C4ADE7A-0FA5-4C0D-854E-8F9F0F13744A}">
      <dsp:nvSpPr>
        <dsp:cNvPr id="0" name=""/>
        <dsp:cNvSpPr/>
      </dsp:nvSpPr>
      <dsp:spPr>
        <a:xfrm>
          <a:off x="6130113" y="1445922"/>
          <a:ext cx="321316" cy="3213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ED4B04-6090-4C12-B439-BAE0E6D1940E}">
      <dsp:nvSpPr>
        <dsp:cNvPr id="0" name=""/>
        <dsp:cNvSpPr/>
      </dsp:nvSpPr>
      <dsp:spPr>
        <a:xfrm>
          <a:off x="7620447" y="1927896"/>
          <a:ext cx="2417594" cy="12852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99568" numCol="1" spcCol="1270" anchor="t" anchorCtr="0">
          <a:noAutofit/>
        </a:bodyPr>
        <a:lstStyle/>
        <a:p>
          <a:pPr marL="0" lvl="0" indent="0" algn="ctr" defTabSz="622300">
            <a:lnSpc>
              <a:spcPct val="90000"/>
            </a:lnSpc>
            <a:spcBef>
              <a:spcPct val="0"/>
            </a:spcBef>
            <a:spcAft>
              <a:spcPct val="35000"/>
            </a:spcAft>
            <a:buNone/>
          </a:pPr>
          <a:r>
            <a:rPr lang="en-GB" sz="1400" b="1" kern="1200" dirty="0">
              <a:latin typeface="Arial" panose="020B0604020202020204" pitchFamily="34" charset="0"/>
              <a:cs typeface="Arial" panose="020B0604020202020204" pitchFamily="34" charset="0"/>
            </a:rPr>
            <a:t>January</a:t>
          </a:r>
        </a:p>
      </dsp:txBody>
      <dsp:txXfrm>
        <a:off x="7620447" y="1927896"/>
        <a:ext cx="2417594" cy="1285264"/>
      </dsp:txXfrm>
    </dsp:sp>
    <dsp:sp modelId="{D68F415B-5BC7-440F-BFD8-FDD3F9D6CE72}">
      <dsp:nvSpPr>
        <dsp:cNvPr id="0" name=""/>
        <dsp:cNvSpPr/>
      </dsp:nvSpPr>
      <dsp:spPr>
        <a:xfrm>
          <a:off x="8668586" y="1445922"/>
          <a:ext cx="321316" cy="32131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B526FB-FD57-4FCF-8F5B-57E254278EC9}">
      <dsp:nvSpPr>
        <dsp:cNvPr id="0" name=""/>
        <dsp:cNvSpPr/>
      </dsp:nvSpPr>
      <dsp:spPr>
        <a:xfrm>
          <a:off x="0" y="197582"/>
          <a:ext cx="3536454" cy="212187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latin typeface="Arial" panose="020B0604020202020204" pitchFamily="34" charset="0"/>
              <a:cs typeface="Arial" panose="020B0604020202020204" pitchFamily="34" charset="0"/>
            </a:rPr>
            <a:t>CMP300 – </a:t>
          </a:r>
          <a:r>
            <a:rPr lang="en-GB" sz="1600" b="0" kern="1200" dirty="0">
              <a:latin typeface="Arial" panose="020B0604020202020204" pitchFamily="34" charset="0"/>
              <a:cs typeface="Arial" panose="020B0604020202020204" pitchFamily="34" charset="0"/>
            </a:rPr>
            <a:t>Agree that the Workgroup has met its Terms of Reference and can proceed to Code Administrator Consultation</a:t>
          </a:r>
          <a:endParaRPr lang="en-GB" sz="1600" kern="1200" dirty="0">
            <a:latin typeface="Arial" panose="020B0604020202020204" pitchFamily="34" charset="0"/>
            <a:cs typeface="Arial" panose="020B0604020202020204" pitchFamily="34" charset="0"/>
          </a:endParaRPr>
        </a:p>
      </dsp:txBody>
      <dsp:txXfrm>
        <a:off x="0" y="197582"/>
        <a:ext cx="3536454" cy="2121872"/>
      </dsp:txXfrm>
    </dsp:sp>
    <dsp:sp modelId="{6D40F38A-2121-4C13-BCA1-4984CBECB9AB}">
      <dsp:nvSpPr>
        <dsp:cNvPr id="0" name=""/>
        <dsp:cNvSpPr/>
      </dsp:nvSpPr>
      <dsp:spPr>
        <a:xfrm>
          <a:off x="3890099" y="197582"/>
          <a:ext cx="3536454" cy="212187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latin typeface="Arial" panose="020B0604020202020204" pitchFamily="34" charset="0"/>
              <a:cs typeface="Arial" panose="020B0604020202020204" pitchFamily="34" charset="0"/>
            </a:rPr>
            <a:t>CMP309/310 </a:t>
          </a:r>
          <a:r>
            <a:rPr lang="en-GB" sz="1600" kern="1200" dirty="0">
              <a:latin typeface="Arial" panose="020B0604020202020204" pitchFamily="34" charset="0"/>
              <a:cs typeface="Arial" panose="020B0604020202020204" pitchFamily="34" charset="0"/>
            </a:rPr>
            <a:t>– Note the changes between now and when the last Code Administrator Consultation was issued and agree that this can be issues for a 2</a:t>
          </a:r>
          <a:r>
            <a:rPr lang="en-GB" sz="1600" kern="1200" baseline="30000" dirty="0">
              <a:latin typeface="Arial" panose="020B0604020202020204" pitchFamily="34" charset="0"/>
              <a:cs typeface="Arial" panose="020B0604020202020204" pitchFamily="34" charset="0"/>
            </a:rPr>
            <a:t>nd </a:t>
          </a:r>
          <a:r>
            <a:rPr lang="en-GB" sz="1600" kern="1200" dirty="0">
              <a:latin typeface="Arial" panose="020B0604020202020204" pitchFamily="34" charset="0"/>
              <a:cs typeface="Arial" panose="020B0604020202020204" pitchFamily="34" charset="0"/>
            </a:rPr>
            <a:t>Code Administrator Consultation   </a:t>
          </a:r>
        </a:p>
      </dsp:txBody>
      <dsp:txXfrm>
        <a:off x="3890099" y="197582"/>
        <a:ext cx="3536454" cy="2121872"/>
      </dsp:txXfrm>
    </dsp:sp>
    <dsp:sp modelId="{97B91EC9-D7F5-4018-9C37-A76EE90F8657}">
      <dsp:nvSpPr>
        <dsp:cNvPr id="0" name=""/>
        <dsp:cNvSpPr/>
      </dsp:nvSpPr>
      <dsp:spPr>
        <a:xfrm>
          <a:off x="7698754" y="197539"/>
          <a:ext cx="3536454" cy="212187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latin typeface="Arial" panose="020B0604020202020204" pitchFamily="34" charset="0"/>
              <a:cs typeface="Arial" panose="020B0604020202020204" pitchFamily="34" charset="0"/>
            </a:rPr>
            <a:t>CMP330 - </a:t>
          </a:r>
          <a:r>
            <a:rPr lang="en-GB" sz="1600" b="0" kern="1200" dirty="0">
              <a:latin typeface="Arial" panose="020B0604020202020204" pitchFamily="34" charset="0"/>
              <a:cs typeface="Arial" panose="020B0604020202020204" pitchFamily="34" charset="0"/>
            </a:rPr>
            <a:t>Agree proposed amendments to the Terms of Reference proposed by the Workgroup</a:t>
          </a:r>
        </a:p>
      </dsp:txBody>
      <dsp:txXfrm>
        <a:off x="7698754" y="197539"/>
        <a:ext cx="3536454" cy="2121872"/>
      </dsp:txXfrm>
    </dsp:sp>
    <dsp:sp modelId="{4AA3D864-9FEC-4322-8953-F8571310C036}">
      <dsp:nvSpPr>
        <dsp:cNvPr id="0" name=""/>
        <dsp:cNvSpPr/>
      </dsp:nvSpPr>
      <dsp:spPr>
        <a:xfrm>
          <a:off x="19591" y="2673142"/>
          <a:ext cx="3536454" cy="212187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latin typeface="Arial" panose="020B0604020202020204" pitchFamily="34" charset="0"/>
              <a:cs typeface="Arial" panose="020B0604020202020204" pitchFamily="34" charset="0"/>
            </a:rPr>
            <a:t>CMP344</a:t>
          </a:r>
          <a:r>
            <a:rPr lang="en-GB" sz="1600" kern="1200" dirty="0">
              <a:latin typeface="Arial" panose="020B0604020202020204" pitchFamily="34" charset="0"/>
              <a:cs typeface="Arial" panose="020B0604020202020204" pitchFamily="34" charset="0"/>
            </a:rPr>
            <a:t> – Agree timeline -  specifically  i) Workgroup Report will be a late paper but  presented to November 2020 Panel, ii) we will hold Special Panel in early January for Panel recommendation vote and iii) Panel will only have 1 working day to check that recommendation votes have been recorded correctly</a:t>
          </a:r>
        </a:p>
      </dsp:txBody>
      <dsp:txXfrm>
        <a:off x="19591" y="2673142"/>
        <a:ext cx="3536454" cy="2121872"/>
      </dsp:txXfrm>
    </dsp:sp>
    <dsp:sp modelId="{5ACF356B-5CA4-48C8-AC4C-316EC0E64D9A}">
      <dsp:nvSpPr>
        <dsp:cNvPr id="0" name=""/>
        <dsp:cNvSpPr/>
      </dsp:nvSpPr>
      <dsp:spPr>
        <a:xfrm>
          <a:off x="3909691" y="2673142"/>
          <a:ext cx="3536454" cy="212187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latin typeface="Arial" panose="020B0604020202020204" pitchFamily="34" charset="0"/>
              <a:cs typeface="Arial" panose="020B0604020202020204" pitchFamily="34" charset="0"/>
            </a:rPr>
            <a:t>CMP328</a:t>
          </a:r>
          <a:r>
            <a:rPr lang="en-GB" sz="1600" kern="1200" dirty="0">
              <a:latin typeface="Arial" panose="020B0604020202020204" pitchFamily="34" charset="0"/>
              <a:cs typeface="Arial" panose="020B0604020202020204" pitchFamily="34" charset="0"/>
            </a:rPr>
            <a:t> – </a:t>
          </a:r>
          <a:r>
            <a:rPr lang="en-GB" sz="1600" b="0" kern="1200" dirty="0">
              <a:latin typeface="Arial" panose="020B0604020202020204" pitchFamily="34" charset="0"/>
              <a:cs typeface="Arial" panose="020B0604020202020204" pitchFamily="34" charset="0"/>
            </a:rPr>
            <a:t>Agree proposed amendments to the Terms of Reference proposed by the Workgroup</a:t>
          </a:r>
          <a:endParaRPr lang="en-GB" sz="1600" kern="1200" dirty="0">
            <a:highlight>
              <a:srgbClr val="FFFF00"/>
            </a:highlight>
            <a:latin typeface="Arial" panose="020B0604020202020204" pitchFamily="34" charset="0"/>
            <a:cs typeface="Arial" panose="020B0604020202020204" pitchFamily="34" charset="0"/>
          </a:endParaRPr>
        </a:p>
      </dsp:txBody>
      <dsp:txXfrm>
        <a:off x="3909691" y="2673142"/>
        <a:ext cx="3536454" cy="2121872"/>
      </dsp:txXfrm>
    </dsp:sp>
    <dsp:sp modelId="{3BDA53D2-A371-417C-854E-E37342109627}">
      <dsp:nvSpPr>
        <dsp:cNvPr id="0" name=""/>
        <dsp:cNvSpPr/>
      </dsp:nvSpPr>
      <dsp:spPr>
        <a:xfrm>
          <a:off x="7780198" y="2673100"/>
          <a:ext cx="3536454" cy="2121872"/>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b="1" kern="1200" dirty="0">
              <a:latin typeface="Arial" panose="020B0604020202020204" pitchFamily="34" charset="0"/>
              <a:cs typeface="Arial" panose="020B0604020202020204" pitchFamily="34" charset="0"/>
            </a:rPr>
            <a:t>CMP342 </a:t>
          </a:r>
          <a:r>
            <a:rPr lang="en-GB" sz="1600" kern="1200" dirty="0">
              <a:latin typeface="Arial" panose="020B0604020202020204" pitchFamily="34" charset="0"/>
              <a:cs typeface="Arial" panose="020B0604020202020204" pitchFamily="34" charset="0"/>
            </a:rPr>
            <a:t>– Note that a Self-Governance Appeal was raised 2 October 2020 and won’t be implemented 9 October 2020</a:t>
          </a:r>
        </a:p>
      </dsp:txBody>
      <dsp:txXfrm>
        <a:off x="7780198" y="2673100"/>
        <a:ext cx="3536454" cy="21218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F42F3C-10D0-41EC-909E-81B34A83EA80}">
      <dsp:nvSpPr>
        <dsp:cNvPr id="0" name=""/>
        <dsp:cNvSpPr/>
      </dsp:nvSpPr>
      <dsp:spPr>
        <a:xfrm>
          <a:off x="0" y="617489"/>
          <a:ext cx="11424038" cy="1020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6632" tIns="249936" rIns="886632" bIns="85344" numCol="1" spcCol="1270" anchor="t" anchorCtr="0">
          <a:noAutofit/>
        </a:bodyPr>
        <a:lstStyle/>
        <a:p>
          <a:pPr marL="114300" lvl="1" indent="-114300" algn="just" defTabSz="533400">
            <a:lnSpc>
              <a:spcPct val="90000"/>
            </a:lnSpc>
            <a:spcBef>
              <a:spcPct val="0"/>
            </a:spcBef>
            <a:spcAft>
              <a:spcPct val="15000"/>
            </a:spcAft>
            <a:buChar char="•"/>
          </a:pPr>
          <a:r>
            <a:rPr lang="en-GB" sz="1200" kern="1200" dirty="0"/>
            <a:t>Both have had critical friend checks undertaken on them; </a:t>
          </a:r>
          <a:endParaRPr lang="en-US" sz="1200" kern="1200" dirty="0"/>
        </a:p>
        <a:p>
          <a:pPr marL="114300" lvl="1" indent="-114300" algn="just" defTabSz="533400">
            <a:lnSpc>
              <a:spcPct val="90000"/>
            </a:lnSpc>
            <a:spcBef>
              <a:spcPct val="0"/>
            </a:spcBef>
            <a:spcAft>
              <a:spcPct val="15000"/>
            </a:spcAft>
            <a:buChar char="•"/>
          </a:pPr>
          <a:r>
            <a:rPr lang="en-GB" sz="1200" kern="1200" dirty="0"/>
            <a:t>For both of these, required communications were sent to Independent Chair, Panel and industry within agreed timescales (i.e. on the next working day after Modification Proposal Submission Date); and </a:t>
          </a:r>
          <a:endParaRPr lang="en-US" sz="1200" kern="1200" dirty="0"/>
        </a:p>
        <a:p>
          <a:pPr marL="114300" lvl="1" indent="-114300" algn="just" defTabSz="533400">
            <a:lnSpc>
              <a:spcPct val="90000"/>
            </a:lnSpc>
            <a:spcBef>
              <a:spcPct val="0"/>
            </a:spcBef>
            <a:spcAft>
              <a:spcPct val="15000"/>
            </a:spcAft>
            <a:buChar char="•"/>
          </a:pPr>
          <a:r>
            <a:rPr lang="en-GB" sz="1200" kern="1200" dirty="0"/>
            <a:t>Note there have been 0 Grid Code Modification Proposals raised in the same period.</a:t>
          </a:r>
          <a:endParaRPr lang="en-US" sz="1200" kern="1200" dirty="0"/>
        </a:p>
      </dsp:txBody>
      <dsp:txXfrm>
        <a:off x="0" y="617489"/>
        <a:ext cx="11424038" cy="1020600"/>
      </dsp:txXfrm>
    </dsp:sp>
    <dsp:sp modelId="{40A411EB-61C8-4B76-BD8C-DA4F79C6C4D4}">
      <dsp:nvSpPr>
        <dsp:cNvPr id="0" name=""/>
        <dsp:cNvSpPr/>
      </dsp:nvSpPr>
      <dsp:spPr>
        <a:xfrm>
          <a:off x="571201" y="262226"/>
          <a:ext cx="7996827" cy="5323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2261" tIns="0" rIns="302261" bIns="0" numCol="1" spcCol="1270" anchor="ctr" anchorCtr="0">
          <a:noAutofit/>
        </a:bodyPr>
        <a:lstStyle/>
        <a:p>
          <a:pPr marL="0" lvl="0" indent="0" algn="l" defTabSz="533400">
            <a:lnSpc>
              <a:spcPct val="90000"/>
            </a:lnSpc>
            <a:spcBef>
              <a:spcPct val="0"/>
            </a:spcBef>
            <a:spcAft>
              <a:spcPct val="35000"/>
            </a:spcAft>
            <a:buNone/>
          </a:pPr>
          <a:r>
            <a:rPr lang="en-GB" sz="1200" kern="1200" dirty="0"/>
            <a:t>2 CUSC Modification Proposals received from 1 August to 15 October inclusive</a:t>
          </a:r>
          <a:endParaRPr lang="en-US" sz="1200" kern="1200" dirty="0"/>
        </a:p>
      </dsp:txBody>
      <dsp:txXfrm>
        <a:off x="597190" y="288215"/>
        <a:ext cx="7944849" cy="480405"/>
      </dsp:txXfrm>
    </dsp:sp>
    <dsp:sp modelId="{DE380A5A-B04E-4A2C-A508-AAE871FD18DE}">
      <dsp:nvSpPr>
        <dsp:cNvPr id="0" name=""/>
        <dsp:cNvSpPr/>
      </dsp:nvSpPr>
      <dsp:spPr>
        <a:xfrm>
          <a:off x="0" y="1841076"/>
          <a:ext cx="11424038" cy="10017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6632" tIns="249936" rIns="886632" bIns="85344" numCol="1" spcCol="1270" anchor="t" anchorCtr="0">
          <a:noAutofit/>
        </a:bodyPr>
        <a:lstStyle/>
        <a:p>
          <a:pPr marL="114300" lvl="1" indent="-114300" algn="just" defTabSz="533400">
            <a:lnSpc>
              <a:spcPct val="90000"/>
            </a:lnSpc>
            <a:spcBef>
              <a:spcPct val="0"/>
            </a:spcBef>
            <a:spcAft>
              <a:spcPct val="15000"/>
            </a:spcAft>
            <a:buChar char="•"/>
          </a:pPr>
          <a:r>
            <a:rPr lang="en-US" sz="1200" kern="1200" dirty="0"/>
            <a:t>Working with the Proposer well ahead of </a:t>
          </a:r>
          <a:r>
            <a:rPr lang="en-GB" sz="1200" kern="1200" dirty="0"/>
            <a:t>Modification Proposal Submission Date helps ensure the best outcome – following such discussions, the Proposer realised the impact on the ESO could be minimised by amending their original proposed timescales. Positive feedback received from Proposer on this process.</a:t>
          </a:r>
          <a:endParaRPr lang="en-US" sz="1200" kern="1200" dirty="0"/>
        </a:p>
        <a:p>
          <a:pPr marL="114300" lvl="1" indent="-114300" algn="just" defTabSz="533400">
            <a:lnSpc>
              <a:spcPct val="90000"/>
            </a:lnSpc>
            <a:spcBef>
              <a:spcPct val="0"/>
            </a:spcBef>
            <a:spcAft>
              <a:spcPct val="15000"/>
            </a:spcAft>
            <a:buChar char="•"/>
          </a:pPr>
          <a:r>
            <a:rPr lang="en-GB" sz="1200" kern="1200" dirty="0"/>
            <a:t>From 1 October 2020, we have introduced new simpler Proposal Forms that remove repetition and include guidance for Proposers.</a:t>
          </a:r>
          <a:endParaRPr lang="en-US" sz="1200" kern="1200" dirty="0"/>
        </a:p>
      </dsp:txBody>
      <dsp:txXfrm>
        <a:off x="0" y="1841076"/>
        <a:ext cx="11424038" cy="1001700"/>
      </dsp:txXfrm>
    </dsp:sp>
    <dsp:sp modelId="{FDFE3B95-AADB-4DC2-886F-8BC8C486655F}">
      <dsp:nvSpPr>
        <dsp:cNvPr id="0" name=""/>
        <dsp:cNvSpPr/>
      </dsp:nvSpPr>
      <dsp:spPr>
        <a:xfrm>
          <a:off x="571201" y="1702889"/>
          <a:ext cx="7996827" cy="3542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2261" tIns="0" rIns="302261" bIns="0" numCol="1" spcCol="1270" anchor="ctr" anchorCtr="0">
          <a:noAutofit/>
        </a:bodyPr>
        <a:lstStyle/>
        <a:p>
          <a:pPr marL="0" lvl="0" indent="0" algn="l" defTabSz="533400">
            <a:lnSpc>
              <a:spcPct val="90000"/>
            </a:lnSpc>
            <a:spcBef>
              <a:spcPct val="0"/>
            </a:spcBef>
            <a:spcAft>
              <a:spcPct val="35000"/>
            </a:spcAft>
            <a:buNone/>
          </a:pPr>
          <a:r>
            <a:rPr lang="en-GB" sz="1200" kern="1200" dirty="0"/>
            <a:t>General areas of feedback (across all CUSC and Grid Code Modifications) </a:t>
          </a:r>
          <a:endParaRPr lang="en-US" sz="1200" kern="1200" dirty="0"/>
        </a:p>
      </dsp:txBody>
      <dsp:txXfrm>
        <a:off x="588494" y="1720182"/>
        <a:ext cx="7962241" cy="319654"/>
      </dsp:txXfrm>
    </dsp:sp>
    <dsp:sp modelId="{A3108DE4-046E-478B-A58E-1C1235B54FF3}">
      <dsp:nvSpPr>
        <dsp:cNvPr id="0" name=""/>
        <dsp:cNvSpPr/>
      </dsp:nvSpPr>
      <dsp:spPr>
        <a:xfrm>
          <a:off x="0" y="3088832"/>
          <a:ext cx="11424038" cy="10206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6632" tIns="249936" rIns="886632" bIns="85344" numCol="1" spcCol="1270" anchor="t" anchorCtr="0">
          <a:noAutofit/>
        </a:bodyPr>
        <a:lstStyle/>
        <a:p>
          <a:pPr marL="114300" lvl="1" indent="-114300" algn="just" defTabSz="533400">
            <a:lnSpc>
              <a:spcPct val="90000"/>
            </a:lnSpc>
            <a:spcBef>
              <a:spcPct val="0"/>
            </a:spcBef>
            <a:spcAft>
              <a:spcPct val="15000"/>
            </a:spcAft>
            <a:buChar char="•"/>
          </a:pPr>
          <a:r>
            <a:rPr lang="en-GB" sz="1200" kern="1200" dirty="0"/>
            <a:t>Continue to have discussions with Proposers ahead of Modification Proposal Submission Date so clear on expectations, level of detail and process; </a:t>
          </a:r>
          <a:endParaRPr lang="en-US" sz="1200" kern="1200" dirty="0"/>
        </a:p>
        <a:p>
          <a:pPr marL="114300" lvl="1" indent="-114300" algn="just" defTabSz="533400">
            <a:lnSpc>
              <a:spcPct val="90000"/>
            </a:lnSpc>
            <a:spcBef>
              <a:spcPct val="0"/>
            </a:spcBef>
            <a:spcAft>
              <a:spcPct val="15000"/>
            </a:spcAft>
            <a:buChar char="•"/>
          </a:pPr>
          <a:r>
            <a:rPr lang="en-US" sz="1200" kern="1200" dirty="0"/>
            <a:t>Further internal workshops November and December for practical application of our checks (including EBGL) against the new proposal form </a:t>
          </a:r>
        </a:p>
        <a:p>
          <a:pPr marL="114300" lvl="1" indent="-114300" algn="just" defTabSz="533400">
            <a:lnSpc>
              <a:spcPct val="90000"/>
            </a:lnSpc>
            <a:spcBef>
              <a:spcPct val="0"/>
            </a:spcBef>
            <a:spcAft>
              <a:spcPct val="15000"/>
            </a:spcAft>
            <a:buChar char="•"/>
          </a:pPr>
          <a:r>
            <a:rPr lang="en-US" sz="1200" kern="1200" dirty="0"/>
            <a:t>Will seek and act on feedback from Proposers, who have used the new Proposal Forms.</a:t>
          </a:r>
        </a:p>
      </dsp:txBody>
      <dsp:txXfrm>
        <a:off x="0" y="3088832"/>
        <a:ext cx="11424038" cy="1020600"/>
      </dsp:txXfrm>
    </dsp:sp>
    <dsp:sp modelId="{4BC82297-FBA2-4758-8A7D-294F83E87F72}">
      <dsp:nvSpPr>
        <dsp:cNvPr id="0" name=""/>
        <dsp:cNvSpPr/>
      </dsp:nvSpPr>
      <dsp:spPr>
        <a:xfrm>
          <a:off x="571201" y="2946509"/>
          <a:ext cx="7996827" cy="3542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2261" tIns="0" rIns="302261" bIns="0" numCol="1" spcCol="1270" anchor="ctr" anchorCtr="0">
          <a:noAutofit/>
        </a:bodyPr>
        <a:lstStyle/>
        <a:p>
          <a:pPr marL="0" lvl="0" indent="0" algn="l" defTabSz="533400">
            <a:lnSpc>
              <a:spcPct val="90000"/>
            </a:lnSpc>
            <a:spcBef>
              <a:spcPct val="0"/>
            </a:spcBef>
            <a:spcAft>
              <a:spcPct val="35000"/>
            </a:spcAft>
            <a:buNone/>
          </a:pPr>
          <a:r>
            <a:rPr lang="en-GB" sz="1200" kern="1200" dirty="0"/>
            <a:t>Feedback we will act on to further improve our service:</a:t>
          </a:r>
          <a:endParaRPr lang="en-US" sz="1200" kern="1200" dirty="0"/>
        </a:p>
      </dsp:txBody>
      <dsp:txXfrm>
        <a:off x="588494" y="2963802"/>
        <a:ext cx="7962241" cy="319654"/>
      </dsp:txXfrm>
    </dsp:sp>
    <dsp:sp modelId="{0BE9689E-9E62-4D25-B3BF-E4CCAC30192F}">
      <dsp:nvSpPr>
        <dsp:cNvPr id="0" name=""/>
        <dsp:cNvSpPr/>
      </dsp:nvSpPr>
      <dsp:spPr>
        <a:xfrm>
          <a:off x="0" y="4386149"/>
          <a:ext cx="11424038" cy="680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86632" tIns="249936" rIns="886632" bIns="85344" numCol="1" spcCol="1270" anchor="t" anchorCtr="0">
          <a:noAutofit/>
        </a:bodyPr>
        <a:lstStyle/>
        <a:p>
          <a:pPr marL="114300" lvl="1" indent="-114300" algn="l" defTabSz="533400">
            <a:lnSpc>
              <a:spcPct val="90000"/>
            </a:lnSpc>
            <a:spcBef>
              <a:spcPct val="0"/>
            </a:spcBef>
            <a:spcAft>
              <a:spcPct val="15000"/>
            </a:spcAft>
            <a:buChar char="•"/>
          </a:pPr>
          <a:r>
            <a:rPr lang="en-GB" sz="1200" kern="1200" dirty="0"/>
            <a:t>Are you seeing better quality Modification Proposals?</a:t>
          </a:r>
          <a:endParaRPr lang="en-US" sz="1200" kern="1200" dirty="0"/>
        </a:p>
        <a:p>
          <a:pPr marL="114300" lvl="1" indent="-114300" algn="l" defTabSz="533400">
            <a:lnSpc>
              <a:spcPct val="90000"/>
            </a:lnSpc>
            <a:spcBef>
              <a:spcPct val="0"/>
            </a:spcBef>
            <a:spcAft>
              <a:spcPct val="15000"/>
            </a:spcAft>
            <a:buChar char="•"/>
          </a:pPr>
          <a:r>
            <a:rPr lang="en-GB" sz="1200" kern="1200" dirty="0"/>
            <a:t>Any further feedback?</a:t>
          </a:r>
          <a:endParaRPr lang="en-US" sz="1200" kern="1200" dirty="0"/>
        </a:p>
      </dsp:txBody>
      <dsp:txXfrm>
        <a:off x="0" y="4386149"/>
        <a:ext cx="11424038" cy="680400"/>
      </dsp:txXfrm>
    </dsp:sp>
    <dsp:sp modelId="{5748A470-F144-4362-BE20-3C0CDD6D0031}">
      <dsp:nvSpPr>
        <dsp:cNvPr id="0" name=""/>
        <dsp:cNvSpPr/>
      </dsp:nvSpPr>
      <dsp:spPr>
        <a:xfrm>
          <a:off x="571201" y="4209029"/>
          <a:ext cx="7996827" cy="3542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2261" tIns="0" rIns="302261" bIns="0" numCol="1" spcCol="1270" anchor="ctr" anchorCtr="0">
          <a:noAutofit/>
        </a:bodyPr>
        <a:lstStyle/>
        <a:p>
          <a:pPr marL="0" lvl="0" indent="0" algn="l" defTabSz="533400">
            <a:lnSpc>
              <a:spcPct val="90000"/>
            </a:lnSpc>
            <a:spcBef>
              <a:spcPct val="0"/>
            </a:spcBef>
            <a:spcAft>
              <a:spcPct val="35000"/>
            </a:spcAft>
            <a:buNone/>
          </a:pPr>
          <a:r>
            <a:rPr lang="en-GB" sz="1200" kern="1200" dirty="0"/>
            <a:t>Any thoughts from Panel so far?</a:t>
          </a:r>
          <a:endParaRPr lang="en-US" sz="1200" kern="1200" dirty="0"/>
        </a:p>
      </dsp:txBody>
      <dsp:txXfrm>
        <a:off x="588494" y="4226322"/>
        <a:ext cx="7962241"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7C5FC15-1CE8-0B43-8B80-417162D2E6F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5396DC26-95A5-8940-A79D-AF0EBC391E9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3A44258-D2F0-FD48-997E-DC1F2F174FC0}" type="datetimeFigureOut">
              <a:rPr lang="en-US" smtClean="0"/>
              <a:t>10/29/2020</a:t>
            </a:fld>
            <a:endParaRPr lang="en-US" dirty="0"/>
          </a:p>
        </p:txBody>
      </p:sp>
      <p:sp>
        <p:nvSpPr>
          <p:cNvPr id="4" name="Footer Placeholder 3">
            <a:extLst>
              <a:ext uri="{FF2B5EF4-FFF2-40B4-BE49-F238E27FC236}">
                <a16:creationId xmlns:a16="http://schemas.microsoft.com/office/drawing/2014/main" id="{5C45D5B0-EF1F-4049-AE11-F12F598628C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A9A0E71D-EE13-E446-8DC2-9087618116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7C8834-3968-D043-A9C1-2B3E3096FACD}" type="slidenum">
              <a:rPr lang="en-US" smtClean="0"/>
              <a:t>‹#›</a:t>
            </a:fld>
            <a:endParaRPr lang="en-US" dirty="0"/>
          </a:p>
        </p:txBody>
      </p:sp>
    </p:spTree>
    <p:extLst>
      <p:ext uri="{BB962C8B-B14F-4D97-AF65-F5344CB8AC3E}">
        <p14:creationId xmlns:p14="http://schemas.microsoft.com/office/powerpoint/2010/main" val="14931991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2D0886-E6DD-294C-AA3E-B63E30F05A7E}" type="datetimeFigureOut">
              <a:rPr lang="en-US" smtClean="0"/>
              <a:t>10/29/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B74334-5195-1F4B-B190-5A416FFA4340}" type="slidenum">
              <a:rPr lang="en-US" smtClean="0"/>
              <a:t>‹#›</a:t>
            </a:fld>
            <a:endParaRPr lang="en-US" dirty="0"/>
          </a:p>
        </p:txBody>
      </p:sp>
    </p:spTree>
    <p:extLst>
      <p:ext uri="{BB962C8B-B14F-4D97-AF65-F5344CB8AC3E}">
        <p14:creationId xmlns:p14="http://schemas.microsoft.com/office/powerpoint/2010/main" val="28130198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0E980F-71C9-CA4F-9586-F9C2D8BE6DD3}" type="slidenum">
              <a:rPr lang="en-US" smtClean="0"/>
              <a:pPr/>
              <a:t>15</a:t>
            </a:fld>
            <a:endParaRPr lang="en-US" dirty="0"/>
          </a:p>
        </p:txBody>
      </p:sp>
    </p:spTree>
    <p:extLst>
      <p:ext uri="{BB962C8B-B14F-4D97-AF65-F5344CB8AC3E}">
        <p14:creationId xmlns:p14="http://schemas.microsoft.com/office/powerpoint/2010/main" val="17352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0E980F-71C9-CA4F-9586-F9C2D8BE6DD3}" type="slidenum">
              <a:rPr lang="en-US" smtClean="0"/>
              <a:pPr/>
              <a:t>23</a:t>
            </a:fld>
            <a:endParaRPr lang="en-US"/>
          </a:p>
        </p:txBody>
      </p:sp>
    </p:spTree>
    <p:extLst>
      <p:ext uri="{BB962C8B-B14F-4D97-AF65-F5344CB8AC3E}">
        <p14:creationId xmlns:p14="http://schemas.microsoft.com/office/powerpoint/2010/main" val="17352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0E980F-71C9-CA4F-9586-F9C2D8BE6DD3}" type="slidenum">
              <a:rPr lang="en-US" smtClean="0"/>
              <a:pPr/>
              <a:t>25</a:t>
            </a:fld>
            <a:endParaRPr lang="en-US" dirty="0"/>
          </a:p>
        </p:txBody>
      </p:sp>
    </p:spTree>
    <p:extLst>
      <p:ext uri="{BB962C8B-B14F-4D97-AF65-F5344CB8AC3E}">
        <p14:creationId xmlns:p14="http://schemas.microsoft.com/office/powerpoint/2010/main" val="3635477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t>CMP328 -  Put in place an appropriate process to be utilised when any connection triggers a Distribution impact assessment. </a:t>
            </a:r>
          </a:p>
          <a:p>
            <a:r>
              <a:rPr lang="en-GB" sz="1800" dirty="0"/>
              <a:t>CMP344 - Clarifies that the allowed revenue for Transmission Owners recovered from Transmission Users under the Charging Methodologies is fixed for each onshore price control period for onshore transmission licensees and at the point of asset transfer for OFTOs. </a:t>
            </a:r>
          </a:p>
          <a:p>
            <a:r>
              <a:rPr lang="en-GB" sz="1800" dirty="0"/>
              <a:t>CMP311 – Reassessment of CUSC credit requirements for Suppliers, specifically for “User Allowed Credit  “</a:t>
            </a:r>
          </a:p>
          <a:p>
            <a:r>
              <a:rPr lang="en-GB" sz="1800" dirty="0"/>
              <a:t>CMP326 - Introducing a 'Turbine Availability Factor' for use in Frequency Response</a:t>
            </a:r>
          </a:p>
          <a:p>
            <a:r>
              <a:rPr lang="en-GB" sz="1800" dirty="0"/>
              <a:t>Capacity Calculation for Power Park Modules (PPMs)</a:t>
            </a:r>
          </a:p>
          <a:p>
            <a:r>
              <a:rPr lang="en-GB" sz="1800" dirty="0"/>
              <a:t>CMP330 - Allowing new Transmission Connected parties to build Connection Assets greater than 2km in length</a:t>
            </a:r>
          </a:p>
          <a:p>
            <a:endParaRPr lang="en-GB" dirty="0"/>
          </a:p>
          <a:p>
            <a:endParaRPr lang="en-US" dirty="0"/>
          </a:p>
        </p:txBody>
      </p:sp>
      <p:sp>
        <p:nvSpPr>
          <p:cNvPr id="4" name="Slide Number Placeholder 3"/>
          <p:cNvSpPr>
            <a:spLocks noGrp="1"/>
          </p:cNvSpPr>
          <p:nvPr>
            <p:ph type="sldNum" sz="quarter" idx="10"/>
          </p:nvPr>
        </p:nvSpPr>
        <p:spPr/>
        <p:txBody>
          <a:bodyPr/>
          <a:lstStyle/>
          <a:p>
            <a:pPr marL="0" marR="0" lvl="0" indent="0" algn="r" defTabSz="415869" rtl="0" eaLnBrk="1" fontAlgn="auto" latinLnBrk="0" hangingPunct="1">
              <a:lnSpc>
                <a:spcPct val="100000"/>
              </a:lnSpc>
              <a:spcBef>
                <a:spcPts val="0"/>
              </a:spcBef>
              <a:spcAft>
                <a:spcPts val="0"/>
              </a:spcAft>
              <a:buClrTx/>
              <a:buSzTx/>
              <a:buFontTx/>
              <a:buNone/>
              <a:tabLst/>
              <a:defRPr/>
            </a:pPr>
            <a:fld id="{570E980F-71C9-CA4F-9586-F9C2D8BE6DD3}" type="slidenum">
              <a:rPr kumimoji="0" lang="en-US" sz="6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15869" rtl="0" eaLnBrk="1" fontAlgn="auto" latinLnBrk="0" hangingPunct="1">
                <a:lnSpc>
                  <a:spcPct val="100000"/>
                </a:lnSpc>
                <a:spcBef>
                  <a:spcPts val="0"/>
                </a:spcBef>
                <a:spcAft>
                  <a:spcPts val="0"/>
                </a:spcAft>
                <a:buClrTx/>
                <a:buSzTx/>
                <a:buFontTx/>
                <a:buNone/>
                <a:tabLst/>
                <a:defRPr/>
              </a:pPr>
              <a:t>26</a:t>
            </a:fld>
            <a:endParaRPr kumimoji="0" lang="en-US" sz="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01721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000" dirty="0"/>
              <a:t>GC0145 – Updating the Grid Code to include the Manually Activated Reserve Initiative (MARI)</a:t>
            </a:r>
          </a:p>
          <a:p>
            <a:r>
              <a:rPr lang="en-GB" sz="1000" dirty="0"/>
              <a:t>GC0147 – Enduring Modification to GC0143</a:t>
            </a:r>
          </a:p>
          <a:p>
            <a:r>
              <a:rPr lang="en-GB" sz="1000" dirty="0"/>
              <a:t>GC0139 - Seeks to increase the scope and detail of planning -  data exchange between DNO's and National Grid ESO to help facilitate the transition to a smart, flexible energy system. </a:t>
            </a:r>
          </a:p>
          <a:p>
            <a:pPr marL="0" marR="0" lvl="0" indent="0" algn="l" defTabSz="415869" rtl="0" eaLnBrk="1" fontAlgn="auto" latinLnBrk="0" hangingPunct="1">
              <a:lnSpc>
                <a:spcPct val="100000"/>
              </a:lnSpc>
              <a:spcBef>
                <a:spcPts val="0"/>
              </a:spcBef>
              <a:spcAft>
                <a:spcPts val="0"/>
              </a:spcAft>
              <a:buClrTx/>
              <a:buSzTx/>
              <a:buFontTx/>
              <a:buNone/>
              <a:tabLst/>
              <a:defRPr/>
            </a:pPr>
            <a:r>
              <a:rPr lang="en-GB" sz="1000" dirty="0"/>
              <a:t>GC0141 - User Compliance Processes and Modelling following 9th August Power Disruption</a:t>
            </a:r>
          </a:p>
          <a:p>
            <a:r>
              <a:rPr lang="en-GB" sz="1000" dirty="0"/>
              <a:t>GC0138 – Compliance process technical improvements (EU and GB User)</a:t>
            </a:r>
          </a:p>
          <a:p>
            <a:r>
              <a:rPr lang="en-US" dirty="0"/>
              <a:t>GC0134 -  R</a:t>
            </a:r>
            <a:r>
              <a:rPr lang="en-GB" dirty="0" err="1"/>
              <a:t>emove</a:t>
            </a:r>
            <a:r>
              <a:rPr lang="en-GB" dirty="0"/>
              <a:t> the need for 24/7 contact and telephony for small embedded generators forming part of an aggregator or participating in the Balancing Market as part of wider access.</a:t>
            </a:r>
            <a:endParaRPr lang="en-US" dirty="0"/>
          </a:p>
          <a:p>
            <a:r>
              <a:rPr lang="en-US" dirty="0"/>
              <a:t>GC0109 - </a:t>
            </a:r>
            <a:r>
              <a:rPr lang="en-GB" dirty="0"/>
              <a:t>Set out within the Grid Code the obligation on Network Operators to make available to market participants, in real time, all the types of system  warnings issued</a:t>
            </a:r>
          </a:p>
          <a:p>
            <a:r>
              <a:rPr lang="en-GB" dirty="0"/>
              <a:t>GC0144 – Set out what criteria would constitute an emergency condition under Article 18(3) of the System Operation Guideline and under what conditions National Grid ESO would suspend the market. In addition, the modification also seeks to clarify under what conditions the TERRE market would be suspended and to align these provisions.</a:t>
            </a:r>
          </a:p>
          <a:p>
            <a:r>
              <a:rPr lang="en-GB" dirty="0"/>
              <a:t>GC0137 -  Proposes to add a non-mandatory technical specification to the Grid Code, relating to what is referred to as Virtual Synchronous Machine (“VSM”) capability</a:t>
            </a:r>
            <a:endParaRPr lang="en-US" dirty="0"/>
          </a:p>
        </p:txBody>
      </p:sp>
      <p:sp>
        <p:nvSpPr>
          <p:cNvPr id="4" name="Slide Number Placeholder 3"/>
          <p:cNvSpPr>
            <a:spLocks noGrp="1"/>
          </p:cNvSpPr>
          <p:nvPr>
            <p:ph type="sldNum" sz="quarter" idx="10"/>
          </p:nvPr>
        </p:nvSpPr>
        <p:spPr/>
        <p:txBody>
          <a:bodyPr/>
          <a:lstStyle/>
          <a:p>
            <a:fld id="{570E980F-71C9-CA4F-9586-F9C2D8BE6DD3}" type="slidenum">
              <a:rPr lang="en-US" smtClean="0"/>
              <a:pPr/>
              <a:t>27</a:t>
            </a:fld>
            <a:endParaRPr lang="en-US"/>
          </a:p>
        </p:txBody>
      </p:sp>
    </p:spTree>
    <p:extLst>
      <p:ext uri="{BB962C8B-B14F-4D97-AF65-F5344CB8AC3E}">
        <p14:creationId xmlns:p14="http://schemas.microsoft.com/office/powerpoint/2010/main" val="2875127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0E980F-71C9-CA4F-9586-F9C2D8BE6DD3}" type="slidenum">
              <a:rPr lang="en-US" smtClean="0"/>
              <a:pPr/>
              <a:t>28</a:t>
            </a:fld>
            <a:endParaRPr lang="en-US" dirty="0"/>
          </a:p>
        </p:txBody>
      </p:sp>
    </p:spTree>
    <p:extLst>
      <p:ext uri="{BB962C8B-B14F-4D97-AF65-F5344CB8AC3E}">
        <p14:creationId xmlns:p14="http://schemas.microsoft.com/office/powerpoint/2010/main" val="2689220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70E980F-71C9-CA4F-9586-F9C2D8BE6DD3}" type="slidenum">
              <a:rPr lang="en-US" smtClean="0"/>
              <a:pPr/>
              <a:t>29</a:t>
            </a:fld>
            <a:endParaRPr lang="en-US" dirty="0"/>
          </a:p>
        </p:txBody>
      </p:sp>
    </p:spTree>
    <p:extLst>
      <p:ext uri="{BB962C8B-B14F-4D97-AF65-F5344CB8AC3E}">
        <p14:creationId xmlns:p14="http://schemas.microsoft.com/office/powerpoint/2010/main" val="19989137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7.xml"/><Relationship Id="rId4" Type="http://schemas.openxmlformats.org/officeDocument/2006/relationships/image" Target="../media/image1.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hyperlink" Target="https://nationalgrid.onbrandcloud.com/login/" TargetMode="External"/><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9.xml"/><Relationship Id="rId4" Type="http://schemas.openxmlformats.org/officeDocument/2006/relationships/image" Target="../media/image1.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609A1C17-C62E-814B-98D4-9359B30674D1}"/>
              </a:ext>
            </a:extLst>
          </p:cNvPr>
          <p:cNvSpPr>
            <a:spLocks noGrp="1"/>
          </p:cNvSpPr>
          <p:nvPr>
            <p:ph type="body" sz="quarter" idx="10"/>
          </p:nvPr>
        </p:nvSpPr>
        <p:spPr>
          <a:xfrm>
            <a:off x="973797" y="2034234"/>
            <a:ext cx="3645338" cy="1655763"/>
          </a:xfrm>
          <a:prstGeom prst="rect">
            <a:avLst/>
          </a:prstGeom>
        </p:spPr>
        <p:txBody>
          <a:bodyPr/>
          <a:lstStyle>
            <a:lvl1pPr marL="0" indent="0">
              <a:buNone/>
              <a:defRPr sz="3600" b="0" i="0">
                <a:solidFill>
                  <a:schemeClr val="bg1"/>
                </a:solidFill>
                <a:latin typeface="Helvetica Neue LT Std 65 Medium" panose="020B0604020202020204" pitchFamily="34" charset="0"/>
              </a:defRPr>
            </a:lvl1pPr>
            <a:lvl2pPr marL="457189" indent="0">
              <a:buNone/>
              <a:defRPr/>
            </a:lvl2pPr>
          </a:lstStyle>
          <a:p>
            <a:pPr lvl="0"/>
            <a:r>
              <a:rPr lang="en-GB" dirty="0"/>
              <a:t>Click to edit Master text styles</a:t>
            </a:r>
          </a:p>
        </p:txBody>
      </p:sp>
    </p:spTree>
    <p:extLst>
      <p:ext uri="{BB962C8B-B14F-4D97-AF65-F5344CB8AC3E}">
        <p14:creationId xmlns:p14="http://schemas.microsoft.com/office/powerpoint/2010/main" val="41659292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dirty="0"/>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p:nvPicPr>
        <p:blipFill>
          <a:blip r:embed="rId2"/>
          <a:stretch>
            <a:fillRect/>
          </a:stretch>
        </p:blipFill>
        <p:spPr>
          <a:xfrm>
            <a:off x="0" y="5816600"/>
            <a:ext cx="12192000" cy="1041400"/>
          </a:xfrm>
          <a:prstGeom prst="rect">
            <a:avLst/>
          </a:prstGeom>
        </p:spPr>
      </p:pic>
      <p:sp>
        <p:nvSpPr>
          <p:cNvPr id="3" name="Table Placeholder 2">
            <a:extLst>
              <a:ext uri="{FF2B5EF4-FFF2-40B4-BE49-F238E27FC236}">
                <a16:creationId xmlns:a16="http://schemas.microsoft.com/office/drawing/2014/main" id="{2BDEBFE9-838E-194F-A633-0E7ABCE7BD1D}"/>
              </a:ext>
            </a:extLst>
          </p:cNvPr>
          <p:cNvSpPr>
            <a:spLocks noGrp="1"/>
          </p:cNvSpPr>
          <p:nvPr>
            <p:ph type="tbl" sz="quarter" idx="10"/>
          </p:nvPr>
        </p:nvSpPr>
        <p:spPr>
          <a:xfrm>
            <a:off x="496888" y="1555750"/>
            <a:ext cx="11064875" cy="3983038"/>
          </a:xfrm>
          <a:prstGeom prst="rect">
            <a:avLst/>
          </a:prstGeom>
          <a:noFill/>
        </p:spPr>
        <p:txBody>
          <a:bodyPr/>
          <a:lstStyle/>
          <a:p>
            <a:endParaRPr lang="en-US" dirty="0"/>
          </a:p>
        </p:txBody>
      </p:sp>
    </p:spTree>
    <p:extLst>
      <p:ext uri="{BB962C8B-B14F-4D97-AF65-F5344CB8AC3E}">
        <p14:creationId xmlns:p14="http://schemas.microsoft.com/office/powerpoint/2010/main" val="6947966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Employee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885BEA-7C33-EC4C-9B83-76A1B77EB0FB}"/>
              </a:ext>
            </a:extLst>
          </p:cNvPr>
          <p:cNvSpPr>
            <a:spLocks noGrp="1"/>
          </p:cNvSpPr>
          <p:nvPr>
            <p:ph type="title"/>
          </p:nvPr>
        </p:nvSpPr>
        <p:spPr>
          <a:xfrm>
            <a:off x="517629" y="487300"/>
            <a:ext cx="4629406" cy="1369209"/>
          </a:xfrm>
          <a:prstGeom prst="rect">
            <a:avLst/>
          </a:prstGeom>
        </p:spPr>
        <p:txBody>
          <a:bodyPr lIns="0"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1" name="Text Placeholder 10">
            <a:extLst>
              <a:ext uri="{FF2B5EF4-FFF2-40B4-BE49-F238E27FC236}">
                <a16:creationId xmlns:a16="http://schemas.microsoft.com/office/drawing/2014/main" id="{8D9B2882-406D-0A4D-BF70-0A3D2EB58AEE}"/>
              </a:ext>
            </a:extLst>
          </p:cNvPr>
          <p:cNvSpPr>
            <a:spLocks noGrp="1"/>
          </p:cNvSpPr>
          <p:nvPr>
            <p:ph type="body" sz="quarter" idx="11" hasCustomPrompt="1"/>
          </p:nvPr>
        </p:nvSpPr>
        <p:spPr>
          <a:xfrm>
            <a:off x="8469127" y="1238522"/>
            <a:ext cx="2036041" cy="258700"/>
          </a:xfrm>
          <a:prstGeom prst="rect">
            <a:avLst/>
          </a:prstGeom>
        </p:spPr>
        <p:txBody>
          <a:bodyPr lIns="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3" name="Text Placeholder 12">
            <a:extLst>
              <a:ext uri="{FF2B5EF4-FFF2-40B4-BE49-F238E27FC236}">
                <a16:creationId xmlns:a16="http://schemas.microsoft.com/office/drawing/2014/main" id="{98B15EC4-7827-AD44-9BF2-5FF8608DDB43}"/>
              </a:ext>
            </a:extLst>
          </p:cNvPr>
          <p:cNvSpPr>
            <a:spLocks noGrp="1"/>
          </p:cNvSpPr>
          <p:nvPr>
            <p:ph type="body" sz="quarter" idx="12" hasCustomPrompt="1"/>
          </p:nvPr>
        </p:nvSpPr>
        <p:spPr>
          <a:xfrm>
            <a:off x="8469127" y="1411982"/>
            <a:ext cx="2036763" cy="258700"/>
          </a:xfrm>
          <a:prstGeom prst="rect">
            <a:avLst/>
          </a:prstGeom>
        </p:spPr>
        <p:txBody>
          <a:bodyPr lIns="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4" name="Text Placeholder 10">
            <a:extLst>
              <a:ext uri="{FF2B5EF4-FFF2-40B4-BE49-F238E27FC236}">
                <a16:creationId xmlns:a16="http://schemas.microsoft.com/office/drawing/2014/main" id="{25FD1F12-AD2C-7341-8AFB-CDB935BA9898}"/>
              </a:ext>
            </a:extLst>
          </p:cNvPr>
          <p:cNvSpPr>
            <a:spLocks noGrp="1"/>
          </p:cNvSpPr>
          <p:nvPr>
            <p:ph type="body" sz="quarter" idx="13" hasCustomPrompt="1"/>
          </p:nvPr>
        </p:nvSpPr>
        <p:spPr>
          <a:xfrm>
            <a:off x="792272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5" name="Text Placeholder 12">
            <a:extLst>
              <a:ext uri="{FF2B5EF4-FFF2-40B4-BE49-F238E27FC236}">
                <a16:creationId xmlns:a16="http://schemas.microsoft.com/office/drawing/2014/main" id="{DEAA0E9D-C17D-9848-AED5-206761E20B8A}"/>
              </a:ext>
            </a:extLst>
          </p:cNvPr>
          <p:cNvSpPr>
            <a:spLocks noGrp="1"/>
          </p:cNvSpPr>
          <p:nvPr>
            <p:ph type="body" sz="quarter" idx="14" hasCustomPrompt="1"/>
          </p:nvPr>
        </p:nvSpPr>
        <p:spPr>
          <a:xfrm>
            <a:off x="792263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6" name="Text Placeholder 10">
            <a:extLst>
              <a:ext uri="{FF2B5EF4-FFF2-40B4-BE49-F238E27FC236}">
                <a16:creationId xmlns:a16="http://schemas.microsoft.com/office/drawing/2014/main" id="{026F6D38-3BF3-A84D-85B0-AF87285D1F22}"/>
              </a:ext>
            </a:extLst>
          </p:cNvPr>
          <p:cNvSpPr>
            <a:spLocks noGrp="1"/>
          </p:cNvSpPr>
          <p:nvPr>
            <p:ph type="body" sz="quarter" idx="15" hasCustomPrompt="1"/>
          </p:nvPr>
        </p:nvSpPr>
        <p:spPr>
          <a:xfrm>
            <a:off x="608795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7" name="Text Placeholder 12">
            <a:extLst>
              <a:ext uri="{FF2B5EF4-FFF2-40B4-BE49-F238E27FC236}">
                <a16:creationId xmlns:a16="http://schemas.microsoft.com/office/drawing/2014/main" id="{DD7A5CEC-EC14-9F40-AF5A-DE0DD70F29B7}"/>
              </a:ext>
            </a:extLst>
          </p:cNvPr>
          <p:cNvSpPr>
            <a:spLocks noGrp="1"/>
          </p:cNvSpPr>
          <p:nvPr>
            <p:ph type="body" sz="quarter" idx="16" hasCustomPrompt="1"/>
          </p:nvPr>
        </p:nvSpPr>
        <p:spPr>
          <a:xfrm>
            <a:off x="608786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8" name="Text Placeholder 10">
            <a:extLst>
              <a:ext uri="{FF2B5EF4-FFF2-40B4-BE49-F238E27FC236}">
                <a16:creationId xmlns:a16="http://schemas.microsoft.com/office/drawing/2014/main" id="{8C37767A-9381-684B-AFF3-4BC41ACA71ED}"/>
              </a:ext>
            </a:extLst>
          </p:cNvPr>
          <p:cNvSpPr>
            <a:spLocks noGrp="1"/>
          </p:cNvSpPr>
          <p:nvPr>
            <p:ph type="body" sz="quarter" idx="17" hasCustomPrompt="1"/>
          </p:nvPr>
        </p:nvSpPr>
        <p:spPr>
          <a:xfrm>
            <a:off x="419105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9" name="Text Placeholder 12">
            <a:extLst>
              <a:ext uri="{FF2B5EF4-FFF2-40B4-BE49-F238E27FC236}">
                <a16:creationId xmlns:a16="http://schemas.microsoft.com/office/drawing/2014/main" id="{30568923-57EA-3244-993A-D090E73CAC81}"/>
              </a:ext>
            </a:extLst>
          </p:cNvPr>
          <p:cNvSpPr>
            <a:spLocks noGrp="1"/>
          </p:cNvSpPr>
          <p:nvPr>
            <p:ph type="body" sz="quarter" idx="18" hasCustomPrompt="1"/>
          </p:nvPr>
        </p:nvSpPr>
        <p:spPr>
          <a:xfrm>
            <a:off x="419096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0" name="Text Placeholder 10">
            <a:extLst>
              <a:ext uri="{FF2B5EF4-FFF2-40B4-BE49-F238E27FC236}">
                <a16:creationId xmlns:a16="http://schemas.microsoft.com/office/drawing/2014/main" id="{52684357-8BAC-7C47-887A-37917745E901}"/>
              </a:ext>
            </a:extLst>
          </p:cNvPr>
          <p:cNvSpPr>
            <a:spLocks noGrp="1"/>
          </p:cNvSpPr>
          <p:nvPr>
            <p:ph type="body" sz="quarter" idx="19" hasCustomPrompt="1"/>
          </p:nvPr>
        </p:nvSpPr>
        <p:spPr>
          <a:xfrm>
            <a:off x="236137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1" name="Text Placeholder 12">
            <a:extLst>
              <a:ext uri="{FF2B5EF4-FFF2-40B4-BE49-F238E27FC236}">
                <a16:creationId xmlns:a16="http://schemas.microsoft.com/office/drawing/2014/main" id="{FE757602-E883-0C46-83AF-8B1CEC8D9CED}"/>
              </a:ext>
            </a:extLst>
          </p:cNvPr>
          <p:cNvSpPr>
            <a:spLocks noGrp="1"/>
          </p:cNvSpPr>
          <p:nvPr>
            <p:ph type="body" sz="quarter" idx="20" hasCustomPrompt="1"/>
          </p:nvPr>
        </p:nvSpPr>
        <p:spPr>
          <a:xfrm>
            <a:off x="236128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2" name="Text Placeholder 10">
            <a:extLst>
              <a:ext uri="{FF2B5EF4-FFF2-40B4-BE49-F238E27FC236}">
                <a16:creationId xmlns:a16="http://schemas.microsoft.com/office/drawing/2014/main" id="{E80E63D6-51AF-9342-84DD-2F397CF5E026}"/>
              </a:ext>
            </a:extLst>
          </p:cNvPr>
          <p:cNvSpPr>
            <a:spLocks noGrp="1"/>
          </p:cNvSpPr>
          <p:nvPr>
            <p:ph type="body" sz="quarter" idx="21" hasCustomPrompt="1"/>
          </p:nvPr>
        </p:nvSpPr>
        <p:spPr>
          <a:xfrm>
            <a:off x="517720"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3" name="Text Placeholder 12">
            <a:extLst>
              <a:ext uri="{FF2B5EF4-FFF2-40B4-BE49-F238E27FC236}">
                <a16:creationId xmlns:a16="http://schemas.microsoft.com/office/drawing/2014/main" id="{800E494D-C690-A141-A71E-A48CBF0A61D1}"/>
              </a:ext>
            </a:extLst>
          </p:cNvPr>
          <p:cNvSpPr>
            <a:spLocks noGrp="1"/>
          </p:cNvSpPr>
          <p:nvPr>
            <p:ph type="body" sz="quarter" idx="22" hasCustomPrompt="1"/>
          </p:nvPr>
        </p:nvSpPr>
        <p:spPr>
          <a:xfrm>
            <a:off x="517629"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4" name="Text Placeholder 10">
            <a:extLst>
              <a:ext uri="{FF2B5EF4-FFF2-40B4-BE49-F238E27FC236}">
                <a16:creationId xmlns:a16="http://schemas.microsoft.com/office/drawing/2014/main" id="{A23863FE-952A-244D-90F7-688D9A0DDD22}"/>
              </a:ext>
            </a:extLst>
          </p:cNvPr>
          <p:cNvSpPr>
            <a:spLocks noGrp="1"/>
          </p:cNvSpPr>
          <p:nvPr>
            <p:ph type="body" sz="quarter" idx="23" hasCustomPrompt="1"/>
          </p:nvPr>
        </p:nvSpPr>
        <p:spPr>
          <a:xfrm>
            <a:off x="792272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5" name="Text Placeholder 12">
            <a:extLst>
              <a:ext uri="{FF2B5EF4-FFF2-40B4-BE49-F238E27FC236}">
                <a16:creationId xmlns:a16="http://schemas.microsoft.com/office/drawing/2014/main" id="{A60A29BA-89A0-BA4C-A5D2-BF6E7D66D826}"/>
              </a:ext>
            </a:extLst>
          </p:cNvPr>
          <p:cNvSpPr>
            <a:spLocks noGrp="1"/>
          </p:cNvSpPr>
          <p:nvPr>
            <p:ph type="body" sz="quarter" idx="24" hasCustomPrompt="1"/>
          </p:nvPr>
        </p:nvSpPr>
        <p:spPr>
          <a:xfrm>
            <a:off x="792263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6" name="Text Placeholder 10">
            <a:extLst>
              <a:ext uri="{FF2B5EF4-FFF2-40B4-BE49-F238E27FC236}">
                <a16:creationId xmlns:a16="http://schemas.microsoft.com/office/drawing/2014/main" id="{89898E1A-7B68-F04E-8DF9-7DF4AC3F2022}"/>
              </a:ext>
            </a:extLst>
          </p:cNvPr>
          <p:cNvSpPr>
            <a:spLocks noGrp="1"/>
          </p:cNvSpPr>
          <p:nvPr>
            <p:ph type="body" sz="quarter" idx="25" hasCustomPrompt="1"/>
          </p:nvPr>
        </p:nvSpPr>
        <p:spPr>
          <a:xfrm>
            <a:off x="608795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7" name="Text Placeholder 12">
            <a:extLst>
              <a:ext uri="{FF2B5EF4-FFF2-40B4-BE49-F238E27FC236}">
                <a16:creationId xmlns:a16="http://schemas.microsoft.com/office/drawing/2014/main" id="{FE65C65B-35EF-AF42-937E-CB58BD9F5DC3}"/>
              </a:ext>
            </a:extLst>
          </p:cNvPr>
          <p:cNvSpPr>
            <a:spLocks noGrp="1"/>
          </p:cNvSpPr>
          <p:nvPr>
            <p:ph type="body" sz="quarter" idx="26" hasCustomPrompt="1"/>
          </p:nvPr>
        </p:nvSpPr>
        <p:spPr>
          <a:xfrm>
            <a:off x="608786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8" name="Text Placeholder 10">
            <a:extLst>
              <a:ext uri="{FF2B5EF4-FFF2-40B4-BE49-F238E27FC236}">
                <a16:creationId xmlns:a16="http://schemas.microsoft.com/office/drawing/2014/main" id="{E8818411-28B7-E348-8FC0-16EA9B5CD6E8}"/>
              </a:ext>
            </a:extLst>
          </p:cNvPr>
          <p:cNvSpPr>
            <a:spLocks noGrp="1"/>
          </p:cNvSpPr>
          <p:nvPr>
            <p:ph type="body" sz="quarter" idx="27" hasCustomPrompt="1"/>
          </p:nvPr>
        </p:nvSpPr>
        <p:spPr>
          <a:xfrm>
            <a:off x="419105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9" name="Text Placeholder 12">
            <a:extLst>
              <a:ext uri="{FF2B5EF4-FFF2-40B4-BE49-F238E27FC236}">
                <a16:creationId xmlns:a16="http://schemas.microsoft.com/office/drawing/2014/main" id="{1D298B64-DB9D-7D4F-85F5-13A6775E23B2}"/>
              </a:ext>
            </a:extLst>
          </p:cNvPr>
          <p:cNvSpPr>
            <a:spLocks noGrp="1"/>
          </p:cNvSpPr>
          <p:nvPr>
            <p:ph type="body" sz="quarter" idx="28" hasCustomPrompt="1"/>
          </p:nvPr>
        </p:nvSpPr>
        <p:spPr>
          <a:xfrm>
            <a:off x="419096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0" name="Text Placeholder 10">
            <a:extLst>
              <a:ext uri="{FF2B5EF4-FFF2-40B4-BE49-F238E27FC236}">
                <a16:creationId xmlns:a16="http://schemas.microsoft.com/office/drawing/2014/main" id="{CA7EE175-F504-A241-BB9E-4B63D9421241}"/>
              </a:ext>
            </a:extLst>
          </p:cNvPr>
          <p:cNvSpPr>
            <a:spLocks noGrp="1"/>
          </p:cNvSpPr>
          <p:nvPr>
            <p:ph type="body" sz="quarter" idx="29" hasCustomPrompt="1"/>
          </p:nvPr>
        </p:nvSpPr>
        <p:spPr>
          <a:xfrm>
            <a:off x="236137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31" name="Text Placeholder 12">
            <a:extLst>
              <a:ext uri="{FF2B5EF4-FFF2-40B4-BE49-F238E27FC236}">
                <a16:creationId xmlns:a16="http://schemas.microsoft.com/office/drawing/2014/main" id="{33A5E4BB-C47B-5146-8E48-1E9A4ED09F28}"/>
              </a:ext>
            </a:extLst>
          </p:cNvPr>
          <p:cNvSpPr>
            <a:spLocks noGrp="1"/>
          </p:cNvSpPr>
          <p:nvPr>
            <p:ph type="body" sz="quarter" idx="30" hasCustomPrompt="1"/>
          </p:nvPr>
        </p:nvSpPr>
        <p:spPr>
          <a:xfrm>
            <a:off x="236128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2" name="Text Placeholder 10">
            <a:extLst>
              <a:ext uri="{FF2B5EF4-FFF2-40B4-BE49-F238E27FC236}">
                <a16:creationId xmlns:a16="http://schemas.microsoft.com/office/drawing/2014/main" id="{CDFCD2CC-774B-7C45-B5EF-4845C476F627}"/>
              </a:ext>
            </a:extLst>
          </p:cNvPr>
          <p:cNvSpPr>
            <a:spLocks noGrp="1"/>
          </p:cNvSpPr>
          <p:nvPr>
            <p:ph type="body" sz="quarter" idx="31" hasCustomPrompt="1"/>
          </p:nvPr>
        </p:nvSpPr>
        <p:spPr>
          <a:xfrm>
            <a:off x="517720"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33" name="Text Placeholder 12">
            <a:extLst>
              <a:ext uri="{FF2B5EF4-FFF2-40B4-BE49-F238E27FC236}">
                <a16:creationId xmlns:a16="http://schemas.microsoft.com/office/drawing/2014/main" id="{54099D0C-11DE-564E-87CD-3D7CA122E369}"/>
              </a:ext>
            </a:extLst>
          </p:cNvPr>
          <p:cNvSpPr>
            <a:spLocks noGrp="1"/>
          </p:cNvSpPr>
          <p:nvPr>
            <p:ph type="body" sz="quarter" idx="32" hasCustomPrompt="1"/>
          </p:nvPr>
        </p:nvSpPr>
        <p:spPr>
          <a:xfrm>
            <a:off x="517629"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 name="Picture Placeholder 2">
            <a:extLst>
              <a:ext uri="{FF2B5EF4-FFF2-40B4-BE49-F238E27FC236}">
                <a16:creationId xmlns:a16="http://schemas.microsoft.com/office/drawing/2014/main" id="{98E5176D-C25B-0B4F-9953-18721D7311C3}"/>
              </a:ext>
            </a:extLst>
          </p:cNvPr>
          <p:cNvSpPr>
            <a:spLocks noGrp="1"/>
          </p:cNvSpPr>
          <p:nvPr>
            <p:ph type="pic" sz="quarter" idx="33"/>
          </p:nvPr>
        </p:nvSpPr>
        <p:spPr>
          <a:xfrm>
            <a:off x="518540" y="2012178"/>
            <a:ext cx="1643869" cy="1058862"/>
          </a:xfrm>
          <a:prstGeom prst="rect">
            <a:avLst/>
          </a:prstGeom>
          <a:noFill/>
        </p:spPr>
        <p:txBody>
          <a:bodyPr/>
          <a:lstStyle/>
          <a:p>
            <a:endParaRPr lang="en-US" dirty="0"/>
          </a:p>
        </p:txBody>
      </p:sp>
      <p:sp>
        <p:nvSpPr>
          <p:cNvPr id="34" name="Picture Placeholder 2">
            <a:extLst>
              <a:ext uri="{FF2B5EF4-FFF2-40B4-BE49-F238E27FC236}">
                <a16:creationId xmlns:a16="http://schemas.microsoft.com/office/drawing/2014/main" id="{3034D6EA-24FA-B44E-B175-A69466B69136}"/>
              </a:ext>
            </a:extLst>
          </p:cNvPr>
          <p:cNvSpPr>
            <a:spLocks noGrp="1"/>
          </p:cNvSpPr>
          <p:nvPr>
            <p:ph type="pic" sz="quarter" idx="34"/>
          </p:nvPr>
        </p:nvSpPr>
        <p:spPr>
          <a:xfrm>
            <a:off x="2361401" y="2012178"/>
            <a:ext cx="1643869" cy="1058862"/>
          </a:xfrm>
          <a:prstGeom prst="rect">
            <a:avLst/>
          </a:prstGeom>
        </p:spPr>
        <p:txBody>
          <a:bodyPr/>
          <a:lstStyle/>
          <a:p>
            <a:endParaRPr lang="en-US" dirty="0"/>
          </a:p>
        </p:txBody>
      </p:sp>
      <p:sp>
        <p:nvSpPr>
          <p:cNvPr id="35" name="Picture Placeholder 2">
            <a:extLst>
              <a:ext uri="{FF2B5EF4-FFF2-40B4-BE49-F238E27FC236}">
                <a16:creationId xmlns:a16="http://schemas.microsoft.com/office/drawing/2014/main" id="{F6C71354-D9C6-0944-A6F7-99F3174B5B91}"/>
              </a:ext>
            </a:extLst>
          </p:cNvPr>
          <p:cNvSpPr>
            <a:spLocks noGrp="1"/>
          </p:cNvSpPr>
          <p:nvPr>
            <p:ph type="pic" sz="quarter" idx="35"/>
          </p:nvPr>
        </p:nvSpPr>
        <p:spPr>
          <a:xfrm>
            <a:off x="4197453" y="2012178"/>
            <a:ext cx="1643869" cy="1058862"/>
          </a:xfrm>
          <a:prstGeom prst="rect">
            <a:avLst/>
          </a:prstGeom>
        </p:spPr>
        <p:txBody>
          <a:bodyPr/>
          <a:lstStyle/>
          <a:p>
            <a:endParaRPr lang="en-US" dirty="0"/>
          </a:p>
        </p:txBody>
      </p:sp>
      <p:sp>
        <p:nvSpPr>
          <p:cNvPr id="36" name="Picture Placeholder 2">
            <a:extLst>
              <a:ext uri="{FF2B5EF4-FFF2-40B4-BE49-F238E27FC236}">
                <a16:creationId xmlns:a16="http://schemas.microsoft.com/office/drawing/2014/main" id="{44E7A985-A721-C642-8A01-B43F591F76EE}"/>
              </a:ext>
            </a:extLst>
          </p:cNvPr>
          <p:cNvSpPr>
            <a:spLocks noGrp="1"/>
          </p:cNvSpPr>
          <p:nvPr>
            <p:ph type="pic" sz="quarter" idx="36"/>
          </p:nvPr>
        </p:nvSpPr>
        <p:spPr>
          <a:xfrm>
            <a:off x="6085092" y="2012178"/>
            <a:ext cx="1643869" cy="1058862"/>
          </a:xfrm>
          <a:prstGeom prst="rect">
            <a:avLst/>
          </a:prstGeom>
        </p:spPr>
        <p:txBody>
          <a:bodyPr/>
          <a:lstStyle/>
          <a:p>
            <a:endParaRPr lang="en-US" dirty="0"/>
          </a:p>
        </p:txBody>
      </p:sp>
      <p:sp>
        <p:nvSpPr>
          <p:cNvPr id="37" name="Picture Placeholder 2">
            <a:extLst>
              <a:ext uri="{FF2B5EF4-FFF2-40B4-BE49-F238E27FC236}">
                <a16:creationId xmlns:a16="http://schemas.microsoft.com/office/drawing/2014/main" id="{5FA04993-DD2D-FE4F-9418-231283FBC620}"/>
              </a:ext>
            </a:extLst>
          </p:cNvPr>
          <p:cNvSpPr>
            <a:spLocks noGrp="1"/>
          </p:cNvSpPr>
          <p:nvPr>
            <p:ph type="pic" sz="quarter" idx="37"/>
          </p:nvPr>
        </p:nvSpPr>
        <p:spPr>
          <a:xfrm>
            <a:off x="7927464" y="2012178"/>
            <a:ext cx="1643869" cy="1058862"/>
          </a:xfrm>
          <a:prstGeom prst="rect">
            <a:avLst/>
          </a:prstGeom>
        </p:spPr>
        <p:txBody>
          <a:bodyPr/>
          <a:lstStyle/>
          <a:p>
            <a:endParaRPr lang="en-US" dirty="0"/>
          </a:p>
        </p:txBody>
      </p:sp>
      <p:sp>
        <p:nvSpPr>
          <p:cNvPr id="38" name="Picture Placeholder 2">
            <a:extLst>
              <a:ext uri="{FF2B5EF4-FFF2-40B4-BE49-F238E27FC236}">
                <a16:creationId xmlns:a16="http://schemas.microsoft.com/office/drawing/2014/main" id="{F831207F-DC8C-AA47-AFC2-667CF2F429E4}"/>
              </a:ext>
            </a:extLst>
          </p:cNvPr>
          <p:cNvSpPr>
            <a:spLocks noGrp="1"/>
          </p:cNvSpPr>
          <p:nvPr>
            <p:ph type="pic" sz="quarter" idx="38"/>
          </p:nvPr>
        </p:nvSpPr>
        <p:spPr>
          <a:xfrm>
            <a:off x="518540" y="3942630"/>
            <a:ext cx="1643869" cy="1058862"/>
          </a:xfrm>
          <a:prstGeom prst="rect">
            <a:avLst/>
          </a:prstGeom>
        </p:spPr>
        <p:txBody>
          <a:bodyPr/>
          <a:lstStyle/>
          <a:p>
            <a:endParaRPr lang="en-US" dirty="0"/>
          </a:p>
        </p:txBody>
      </p:sp>
      <p:sp>
        <p:nvSpPr>
          <p:cNvPr id="39" name="Picture Placeholder 2">
            <a:extLst>
              <a:ext uri="{FF2B5EF4-FFF2-40B4-BE49-F238E27FC236}">
                <a16:creationId xmlns:a16="http://schemas.microsoft.com/office/drawing/2014/main" id="{A2F6536A-9693-E841-AD61-8C359448084F}"/>
              </a:ext>
            </a:extLst>
          </p:cNvPr>
          <p:cNvSpPr>
            <a:spLocks noGrp="1"/>
          </p:cNvSpPr>
          <p:nvPr>
            <p:ph type="pic" sz="quarter" idx="39"/>
          </p:nvPr>
        </p:nvSpPr>
        <p:spPr>
          <a:xfrm>
            <a:off x="2361401" y="3942630"/>
            <a:ext cx="1643869" cy="1058862"/>
          </a:xfrm>
          <a:prstGeom prst="rect">
            <a:avLst/>
          </a:prstGeom>
        </p:spPr>
        <p:txBody>
          <a:bodyPr/>
          <a:lstStyle/>
          <a:p>
            <a:endParaRPr lang="en-US" dirty="0"/>
          </a:p>
        </p:txBody>
      </p:sp>
      <p:sp>
        <p:nvSpPr>
          <p:cNvPr id="40" name="Picture Placeholder 2">
            <a:extLst>
              <a:ext uri="{FF2B5EF4-FFF2-40B4-BE49-F238E27FC236}">
                <a16:creationId xmlns:a16="http://schemas.microsoft.com/office/drawing/2014/main" id="{28EFB759-7961-0F4B-9DA2-9B07D82B3B79}"/>
              </a:ext>
            </a:extLst>
          </p:cNvPr>
          <p:cNvSpPr>
            <a:spLocks noGrp="1"/>
          </p:cNvSpPr>
          <p:nvPr>
            <p:ph type="pic" sz="quarter" idx="40"/>
          </p:nvPr>
        </p:nvSpPr>
        <p:spPr>
          <a:xfrm>
            <a:off x="4197453" y="3942630"/>
            <a:ext cx="1643869" cy="1058862"/>
          </a:xfrm>
          <a:prstGeom prst="rect">
            <a:avLst/>
          </a:prstGeom>
        </p:spPr>
        <p:txBody>
          <a:bodyPr/>
          <a:lstStyle/>
          <a:p>
            <a:endParaRPr lang="en-US" dirty="0"/>
          </a:p>
        </p:txBody>
      </p:sp>
      <p:sp>
        <p:nvSpPr>
          <p:cNvPr id="41" name="Picture Placeholder 2">
            <a:extLst>
              <a:ext uri="{FF2B5EF4-FFF2-40B4-BE49-F238E27FC236}">
                <a16:creationId xmlns:a16="http://schemas.microsoft.com/office/drawing/2014/main" id="{F10325A2-6AE5-2B40-BA16-62A41FF09948}"/>
              </a:ext>
            </a:extLst>
          </p:cNvPr>
          <p:cNvSpPr>
            <a:spLocks noGrp="1"/>
          </p:cNvSpPr>
          <p:nvPr>
            <p:ph type="pic" sz="quarter" idx="41"/>
          </p:nvPr>
        </p:nvSpPr>
        <p:spPr>
          <a:xfrm>
            <a:off x="6085092" y="3942630"/>
            <a:ext cx="1643869" cy="1058862"/>
          </a:xfrm>
          <a:prstGeom prst="rect">
            <a:avLst/>
          </a:prstGeom>
        </p:spPr>
        <p:txBody>
          <a:bodyPr/>
          <a:lstStyle/>
          <a:p>
            <a:endParaRPr lang="en-US" dirty="0"/>
          </a:p>
        </p:txBody>
      </p:sp>
      <p:sp>
        <p:nvSpPr>
          <p:cNvPr id="42" name="Picture Placeholder 2">
            <a:extLst>
              <a:ext uri="{FF2B5EF4-FFF2-40B4-BE49-F238E27FC236}">
                <a16:creationId xmlns:a16="http://schemas.microsoft.com/office/drawing/2014/main" id="{48548331-C398-0441-8680-2BC2E34EA6B7}"/>
              </a:ext>
            </a:extLst>
          </p:cNvPr>
          <p:cNvSpPr>
            <a:spLocks noGrp="1"/>
          </p:cNvSpPr>
          <p:nvPr>
            <p:ph type="pic" sz="quarter" idx="42"/>
          </p:nvPr>
        </p:nvSpPr>
        <p:spPr>
          <a:xfrm>
            <a:off x="7927464" y="3942630"/>
            <a:ext cx="1643869" cy="1058862"/>
          </a:xfrm>
          <a:prstGeom prst="rect">
            <a:avLst/>
          </a:prstGeom>
        </p:spPr>
        <p:txBody>
          <a:bodyPr/>
          <a:lstStyle/>
          <a:p>
            <a:endParaRPr lang="en-US" dirty="0"/>
          </a:p>
        </p:txBody>
      </p:sp>
      <p:sp>
        <p:nvSpPr>
          <p:cNvPr id="43" name="Picture Placeholder 2">
            <a:extLst>
              <a:ext uri="{FF2B5EF4-FFF2-40B4-BE49-F238E27FC236}">
                <a16:creationId xmlns:a16="http://schemas.microsoft.com/office/drawing/2014/main" id="{DD52C364-564D-1C4F-82AA-CD456091DD55}"/>
              </a:ext>
            </a:extLst>
          </p:cNvPr>
          <p:cNvSpPr>
            <a:spLocks noGrp="1"/>
          </p:cNvSpPr>
          <p:nvPr>
            <p:ph type="pic" sz="quarter" idx="43"/>
          </p:nvPr>
        </p:nvSpPr>
        <p:spPr>
          <a:xfrm>
            <a:off x="6632170" y="611157"/>
            <a:ext cx="1643869" cy="1058862"/>
          </a:xfrm>
          <a:prstGeom prst="rect">
            <a:avLst/>
          </a:prstGeom>
        </p:spPr>
        <p:txBody>
          <a:bodyPr/>
          <a:lstStyle/>
          <a:p>
            <a:endParaRPr lang="en-US" dirty="0"/>
          </a:p>
        </p:txBody>
      </p:sp>
      <p:sp>
        <p:nvSpPr>
          <p:cNvPr id="44" name="Text Placeholder 10">
            <a:extLst>
              <a:ext uri="{FF2B5EF4-FFF2-40B4-BE49-F238E27FC236}">
                <a16:creationId xmlns:a16="http://schemas.microsoft.com/office/drawing/2014/main" id="{34A5EC81-F5AA-BD4F-AD20-F610E3D2A6A9}"/>
              </a:ext>
            </a:extLst>
          </p:cNvPr>
          <p:cNvSpPr>
            <a:spLocks noGrp="1"/>
          </p:cNvSpPr>
          <p:nvPr>
            <p:ph type="body" sz="quarter" idx="44" hasCustomPrompt="1"/>
          </p:nvPr>
        </p:nvSpPr>
        <p:spPr>
          <a:xfrm>
            <a:off x="9759476"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45" name="Text Placeholder 12">
            <a:extLst>
              <a:ext uri="{FF2B5EF4-FFF2-40B4-BE49-F238E27FC236}">
                <a16:creationId xmlns:a16="http://schemas.microsoft.com/office/drawing/2014/main" id="{F8D452BD-BCAB-8E4B-8F90-5D25276410E3}"/>
              </a:ext>
            </a:extLst>
          </p:cNvPr>
          <p:cNvSpPr>
            <a:spLocks noGrp="1"/>
          </p:cNvSpPr>
          <p:nvPr>
            <p:ph type="body" sz="quarter" idx="45" hasCustomPrompt="1"/>
          </p:nvPr>
        </p:nvSpPr>
        <p:spPr>
          <a:xfrm>
            <a:off x="9759385"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46" name="Text Placeholder 10">
            <a:extLst>
              <a:ext uri="{FF2B5EF4-FFF2-40B4-BE49-F238E27FC236}">
                <a16:creationId xmlns:a16="http://schemas.microsoft.com/office/drawing/2014/main" id="{3C461A69-4097-4449-90FF-4E186AE70D69}"/>
              </a:ext>
            </a:extLst>
          </p:cNvPr>
          <p:cNvSpPr>
            <a:spLocks noGrp="1"/>
          </p:cNvSpPr>
          <p:nvPr>
            <p:ph type="body" sz="quarter" idx="46" hasCustomPrompt="1"/>
          </p:nvPr>
        </p:nvSpPr>
        <p:spPr>
          <a:xfrm>
            <a:off x="9759476"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47" name="Text Placeholder 12">
            <a:extLst>
              <a:ext uri="{FF2B5EF4-FFF2-40B4-BE49-F238E27FC236}">
                <a16:creationId xmlns:a16="http://schemas.microsoft.com/office/drawing/2014/main" id="{8CF0C9D9-5593-DE4A-8CDE-70AC8BAEB3F3}"/>
              </a:ext>
            </a:extLst>
          </p:cNvPr>
          <p:cNvSpPr>
            <a:spLocks noGrp="1"/>
          </p:cNvSpPr>
          <p:nvPr>
            <p:ph type="body" sz="quarter" idx="47" hasCustomPrompt="1"/>
          </p:nvPr>
        </p:nvSpPr>
        <p:spPr>
          <a:xfrm>
            <a:off x="9759385"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48" name="Picture Placeholder 2">
            <a:extLst>
              <a:ext uri="{FF2B5EF4-FFF2-40B4-BE49-F238E27FC236}">
                <a16:creationId xmlns:a16="http://schemas.microsoft.com/office/drawing/2014/main" id="{130CC36B-383B-694A-B2BC-DC26B0643A4B}"/>
              </a:ext>
            </a:extLst>
          </p:cNvPr>
          <p:cNvSpPr>
            <a:spLocks noGrp="1"/>
          </p:cNvSpPr>
          <p:nvPr>
            <p:ph type="pic" sz="quarter" idx="48"/>
          </p:nvPr>
        </p:nvSpPr>
        <p:spPr>
          <a:xfrm>
            <a:off x="9764216" y="2012178"/>
            <a:ext cx="1643869" cy="1058862"/>
          </a:xfrm>
          <a:prstGeom prst="rect">
            <a:avLst/>
          </a:prstGeom>
        </p:spPr>
        <p:txBody>
          <a:bodyPr/>
          <a:lstStyle/>
          <a:p>
            <a:endParaRPr lang="en-US" dirty="0"/>
          </a:p>
        </p:txBody>
      </p:sp>
      <p:sp>
        <p:nvSpPr>
          <p:cNvPr id="49" name="Picture Placeholder 2">
            <a:extLst>
              <a:ext uri="{FF2B5EF4-FFF2-40B4-BE49-F238E27FC236}">
                <a16:creationId xmlns:a16="http://schemas.microsoft.com/office/drawing/2014/main" id="{426D85E2-E3EC-D747-8E19-BC2E5FD68A65}"/>
              </a:ext>
            </a:extLst>
          </p:cNvPr>
          <p:cNvSpPr>
            <a:spLocks noGrp="1"/>
          </p:cNvSpPr>
          <p:nvPr>
            <p:ph type="pic" sz="quarter" idx="49"/>
          </p:nvPr>
        </p:nvSpPr>
        <p:spPr>
          <a:xfrm>
            <a:off x="9764216" y="3942630"/>
            <a:ext cx="1643869" cy="1058862"/>
          </a:xfrm>
          <a:prstGeom prst="rect">
            <a:avLst/>
          </a:prstGeom>
        </p:spPr>
        <p:txBody>
          <a:bodyPr/>
          <a:lstStyle/>
          <a:p>
            <a:endParaRPr lang="en-US" dirty="0"/>
          </a:p>
        </p:txBody>
      </p:sp>
      <p:pic>
        <p:nvPicPr>
          <p:cNvPr id="50" name="Picture 49">
            <a:extLst>
              <a:ext uri="{FF2B5EF4-FFF2-40B4-BE49-F238E27FC236}">
                <a16:creationId xmlns:a16="http://schemas.microsoft.com/office/drawing/2014/main" id="{4FAF91A6-FFE3-3C47-BB4D-3B6CAF6F3511}"/>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2432079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_Copy_Bullet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BE0F4E-7F52-BF43-AF16-31579F5CC45F}"/>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8" name="Title 1">
            <a:extLst>
              <a:ext uri="{FF2B5EF4-FFF2-40B4-BE49-F238E27FC236}">
                <a16:creationId xmlns:a16="http://schemas.microsoft.com/office/drawing/2014/main" id="{5273F311-619C-EE41-937C-5749C9503E0D}"/>
              </a:ext>
            </a:extLst>
          </p:cNvPr>
          <p:cNvSpPr>
            <a:spLocks noGrp="1"/>
          </p:cNvSpPr>
          <p:nvPr>
            <p:ph type="title"/>
          </p:nvPr>
        </p:nvSpPr>
        <p:spPr>
          <a:xfrm>
            <a:off x="627025" y="560117"/>
            <a:ext cx="5043199" cy="1289948"/>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9" name="Text Placeholder 11">
            <a:extLst>
              <a:ext uri="{FF2B5EF4-FFF2-40B4-BE49-F238E27FC236}">
                <a16:creationId xmlns:a16="http://schemas.microsoft.com/office/drawing/2014/main" id="{40614858-C7E0-384B-835C-E29EEB6B5850}"/>
              </a:ext>
            </a:extLst>
          </p:cNvPr>
          <p:cNvSpPr>
            <a:spLocks noGrp="1"/>
          </p:cNvSpPr>
          <p:nvPr>
            <p:ph type="body" sz="quarter" idx="11"/>
          </p:nvPr>
        </p:nvSpPr>
        <p:spPr>
          <a:xfrm>
            <a:off x="627024" y="2410182"/>
            <a:ext cx="5043199" cy="2024936"/>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0" name="Text Placeholder 11">
            <a:extLst>
              <a:ext uri="{FF2B5EF4-FFF2-40B4-BE49-F238E27FC236}">
                <a16:creationId xmlns:a16="http://schemas.microsoft.com/office/drawing/2014/main" id="{09C47B6E-226B-D145-B819-97EEF7D88F7A}"/>
              </a:ext>
            </a:extLst>
          </p:cNvPr>
          <p:cNvSpPr>
            <a:spLocks noGrp="1"/>
          </p:cNvSpPr>
          <p:nvPr>
            <p:ph type="body" sz="quarter" idx="12"/>
          </p:nvPr>
        </p:nvSpPr>
        <p:spPr>
          <a:xfrm>
            <a:off x="627024" y="4595737"/>
            <a:ext cx="5043199" cy="228034"/>
          </a:xfrm>
          <a:prstGeom prst="rect">
            <a:avLst/>
          </a:prstGeom>
          <a:ln>
            <a:noFill/>
          </a:ln>
        </p:spPr>
        <p:txBody>
          <a:bodyPr/>
          <a:lstStyle>
            <a:lvl1pPr marL="0" indent="0">
              <a:buNone/>
              <a:defRPr sz="1200" b="1" i="1">
                <a:solidFill>
                  <a:srgbClr val="E75400"/>
                </a:solidFill>
                <a:latin typeface="Helvetica Neue LT Std 97 Black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2" name="Text Placeholder 11">
            <a:extLst>
              <a:ext uri="{FF2B5EF4-FFF2-40B4-BE49-F238E27FC236}">
                <a16:creationId xmlns:a16="http://schemas.microsoft.com/office/drawing/2014/main" id="{60F38ADB-7D45-C04A-9FF2-6847299BBE4E}"/>
              </a:ext>
            </a:extLst>
          </p:cNvPr>
          <p:cNvSpPr>
            <a:spLocks noGrp="1"/>
          </p:cNvSpPr>
          <p:nvPr>
            <p:ph type="body" sz="quarter" idx="13"/>
          </p:nvPr>
        </p:nvSpPr>
        <p:spPr>
          <a:xfrm>
            <a:off x="627023" y="4978510"/>
            <a:ext cx="5043199" cy="867691"/>
          </a:xfrm>
          <a:prstGeom prst="rect">
            <a:avLst/>
          </a:prstGeom>
          <a:ln>
            <a:noFill/>
          </a:ln>
        </p:spPr>
        <p:txBody>
          <a:bodyPr numCol="2"/>
          <a:lstStyle>
            <a:lvl1pPr marL="285750" indent="-2857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20201E"/>
                </a:solidFill>
                <a:latin typeface="Helvetica Neue LT Std 45 Light" panose="020B0403020202020204" pitchFamily="34" charset="0"/>
              </a:defRPr>
            </a:lvl3pPr>
            <a:lvl4pPr marL="1371566" indent="0">
              <a:buFont typeface="Arial" panose="020B0604020202020204" pitchFamily="34" charset="0"/>
              <a:buNone/>
              <a:defRPr sz="1400" b="0" i="0">
                <a:solidFill>
                  <a:srgbClr val="20201E"/>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1" name="Picture 10">
            <a:extLst>
              <a:ext uri="{FF2B5EF4-FFF2-40B4-BE49-F238E27FC236}">
                <a16:creationId xmlns:a16="http://schemas.microsoft.com/office/drawing/2014/main" id="{06368F39-CE94-4F4E-BC80-9950DABBFD3A}"/>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73038177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Title_Intro_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5" name="Picture 4">
            <a:extLst>
              <a:ext uri="{FF2B5EF4-FFF2-40B4-BE49-F238E27FC236}">
                <a16:creationId xmlns:a16="http://schemas.microsoft.com/office/drawing/2014/main" id="{D3E91914-15F0-C444-9769-0EC96228BFA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4339826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_Intro_Copyx3">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592143"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59214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p:nvPicPr>
        <p:blipFill>
          <a:blip r:embed="rId2"/>
          <a:stretch>
            <a:fillRect/>
          </a:stretch>
        </p:blipFill>
        <p:spPr>
          <a:xfrm>
            <a:off x="0" y="5816600"/>
            <a:ext cx="12192000" cy="1041400"/>
          </a:xfrm>
          <a:prstGeom prst="rect">
            <a:avLst/>
          </a:prstGeom>
        </p:spPr>
      </p:pic>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444651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9" name="Text Placeholder 11">
            <a:extLst>
              <a:ext uri="{FF2B5EF4-FFF2-40B4-BE49-F238E27FC236}">
                <a16:creationId xmlns:a16="http://schemas.microsoft.com/office/drawing/2014/main" id="{E16F508C-C8C7-E649-9929-A87F4FD3E22F}"/>
              </a:ext>
            </a:extLst>
          </p:cNvPr>
          <p:cNvSpPr>
            <a:spLocks noGrp="1"/>
          </p:cNvSpPr>
          <p:nvPr>
            <p:ph type="body" sz="quarter" idx="14"/>
          </p:nvPr>
        </p:nvSpPr>
        <p:spPr>
          <a:xfrm>
            <a:off x="8300882"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434938"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3" name="Text Placeholder 11">
            <a:extLst>
              <a:ext uri="{FF2B5EF4-FFF2-40B4-BE49-F238E27FC236}">
                <a16:creationId xmlns:a16="http://schemas.microsoft.com/office/drawing/2014/main" id="{DE8310A5-8F15-B846-BB45-B7B8D709FBE8}"/>
              </a:ext>
            </a:extLst>
          </p:cNvPr>
          <p:cNvSpPr>
            <a:spLocks noGrp="1"/>
          </p:cNvSpPr>
          <p:nvPr>
            <p:ph type="body" sz="quarter" idx="16"/>
          </p:nvPr>
        </p:nvSpPr>
        <p:spPr>
          <a:xfrm>
            <a:off x="8300882"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Tree>
    <p:extLst>
      <p:ext uri="{BB962C8B-B14F-4D97-AF65-F5344CB8AC3E}">
        <p14:creationId xmlns:p14="http://schemas.microsoft.com/office/powerpoint/2010/main" val="117829491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dirty="0"/>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p:nvPicPr>
        <p:blipFill>
          <a:blip r:embed="rId2"/>
          <a:stretch>
            <a:fillRect/>
          </a:stretch>
        </p:blipFill>
        <p:spPr>
          <a:xfrm>
            <a:off x="0" y="5816600"/>
            <a:ext cx="12192000" cy="1041400"/>
          </a:xfrm>
          <a:prstGeom prst="rect">
            <a:avLst/>
          </a:prstGeom>
        </p:spPr>
      </p:pic>
      <p:sp>
        <p:nvSpPr>
          <p:cNvPr id="3" name="Table Placeholder 2">
            <a:extLst>
              <a:ext uri="{FF2B5EF4-FFF2-40B4-BE49-F238E27FC236}">
                <a16:creationId xmlns:a16="http://schemas.microsoft.com/office/drawing/2014/main" id="{2BDEBFE9-838E-194F-A633-0E7ABCE7BD1D}"/>
              </a:ext>
            </a:extLst>
          </p:cNvPr>
          <p:cNvSpPr>
            <a:spLocks noGrp="1"/>
          </p:cNvSpPr>
          <p:nvPr>
            <p:ph type="tbl" sz="quarter" idx="10"/>
          </p:nvPr>
        </p:nvSpPr>
        <p:spPr>
          <a:xfrm>
            <a:off x="496888" y="1555750"/>
            <a:ext cx="11064875" cy="3983038"/>
          </a:xfrm>
          <a:prstGeom prst="rect">
            <a:avLst/>
          </a:prstGeom>
          <a:noFill/>
        </p:spPr>
        <p:txBody>
          <a:bodyPr/>
          <a:lstStyle/>
          <a:p>
            <a:endParaRPr lang="en-US" dirty="0"/>
          </a:p>
        </p:txBody>
      </p:sp>
    </p:spTree>
    <p:extLst>
      <p:ext uri="{BB962C8B-B14F-4D97-AF65-F5344CB8AC3E}">
        <p14:creationId xmlns:p14="http://schemas.microsoft.com/office/powerpoint/2010/main" val="130174568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rgbClr val="20201E"/>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5074192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Animation Placehol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tit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
        <p:nvSpPr>
          <p:cNvPr id="8" name="Media Placeholder 7">
            <a:extLst>
              <a:ext uri="{FF2B5EF4-FFF2-40B4-BE49-F238E27FC236}">
                <a16:creationId xmlns:a16="http://schemas.microsoft.com/office/drawing/2014/main" id="{79C68202-A54E-6A4D-B1AC-DE71B357A6EC}"/>
              </a:ext>
            </a:extLst>
          </p:cNvPr>
          <p:cNvSpPr>
            <a:spLocks noGrp="1"/>
          </p:cNvSpPr>
          <p:nvPr>
            <p:ph type="media" sz="quarter" idx="13"/>
          </p:nvPr>
        </p:nvSpPr>
        <p:spPr>
          <a:xfrm>
            <a:off x="3657600" y="1143000"/>
            <a:ext cx="7821613" cy="4400550"/>
          </a:xfrm>
          <a:prstGeom prst="rect">
            <a:avLst/>
          </a:prstGeom>
        </p:spPr>
        <p:txBody>
          <a:bodyPr/>
          <a:lstStyle/>
          <a:p>
            <a:endParaRPr lang="en-US" dirty="0"/>
          </a:p>
        </p:txBody>
      </p:sp>
    </p:spTree>
    <p:extLst>
      <p:ext uri="{BB962C8B-B14F-4D97-AF65-F5344CB8AC3E}">
        <p14:creationId xmlns:p14="http://schemas.microsoft.com/office/powerpoint/2010/main" val="32646299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Animation Placehol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B0CA34-0058-9047-AA94-D2A25CB49EF4}"/>
              </a:ext>
            </a:extLst>
          </p:cNvPr>
          <p:cNvSpPr>
            <a:spLocks noGrp="1"/>
          </p:cNvSpPr>
          <p:nvPr>
            <p:ph type="pic" sz="quarter" idx="14"/>
          </p:nvPr>
        </p:nvSpPr>
        <p:spPr>
          <a:xfrm>
            <a:off x="3657600" y="1143000"/>
            <a:ext cx="7821613" cy="4400550"/>
          </a:xfrm>
          <a:prstGeom prst="rect">
            <a:avLst/>
          </a:prstGeom>
        </p:spPr>
        <p:txBody>
          <a:bodyPr/>
          <a:lstStyle/>
          <a:p>
            <a:endParaRPr lang="en-US" dirty="0"/>
          </a:p>
        </p:txBody>
      </p:sp>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tit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75333589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_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3CEFC9FD-4988-3545-94AD-E0B828F13E63}"/>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43034602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YellowBG_4Col_Copy">
    <p:bg>
      <p:bgPr>
        <a:solidFill>
          <a:srgbClr val="FFCE2C"/>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44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731520" y="3141703"/>
            <a:ext cx="10769600" cy="424458"/>
          </a:xfrm>
          <a:prstGeom prst="rect">
            <a:avLst/>
          </a:prstGeom>
          <a:ln>
            <a:noFill/>
          </a:ln>
        </p:spPr>
        <p:txBody>
          <a:bodyPr numCol="5" spcCol="180000"/>
          <a:lstStyle>
            <a:lvl1pPr marL="0" indent="0">
              <a:buNone/>
              <a:defRPr sz="12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dirty="0"/>
          </a:p>
        </p:txBody>
      </p:sp>
      <p:sp>
        <p:nvSpPr>
          <p:cNvPr id="8" name="Text Placeholder 11">
            <a:extLst>
              <a:ext uri="{FF2B5EF4-FFF2-40B4-BE49-F238E27FC236}">
                <a16:creationId xmlns:a16="http://schemas.microsoft.com/office/drawing/2014/main" id="{A06DA923-E6F8-0C40-AB87-1C790FDFB57B}"/>
              </a:ext>
            </a:extLst>
          </p:cNvPr>
          <p:cNvSpPr>
            <a:spLocks noGrp="1"/>
          </p:cNvSpPr>
          <p:nvPr>
            <p:ph type="body" sz="quarter" idx="14"/>
          </p:nvPr>
        </p:nvSpPr>
        <p:spPr>
          <a:xfrm>
            <a:off x="731520" y="3613316"/>
            <a:ext cx="10769600" cy="1161287"/>
          </a:xfrm>
          <a:prstGeom prst="rect">
            <a:avLst/>
          </a:prstGeom>
          <a:ln>
            <a:noFill/>
          </a:ln>
        </p:spPr>
        <p:txBody>
          <a:bodyPr numCol="5" spcCol="180000"/>
          <a:lstStyle>
            <a:lvl1pPr marL="0" indent="0">
              <a:buNone/>
              <a:defRPr sz="1200" b="0" i="0">
                <a:solidFill>
                  <a:schemeClr val="bg1"/>
                </a:solidFill>
                <a:latin typeface="Helvetica Neue LT Std 55 Roman"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0" name="Picture 9">
            <a:extLst>
              <a:ext uri="{FF2B5EF4-FFF2-40B4-BE49-F238E27FC236}">
                <a16:creationId xmlns:a16="http://schemas.microsoft.com/office/drawing/2014/main" id="{64A1F1FB-7E9F-194E-B5B6-585CAF3C3674}"/>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8465416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rgbClr val="20201E"/>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7724694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Content-2_colum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5F6C26-F6B7-524C-A2DE-8D5D05800874}"/>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5" name="Text Placeholder 11">
            <a:extLst>
              <a:ext uri="{FF2B5EF4-FFF2-40B4-BE49-F238E27FC236}">
                <a16:creationId xmlns:a16="http://schemas.microsoft.com/office/drawing/2014/main" id="{96A35149-E325-934F-831D-58E063CAB1F5}"/>
              </a:ext>
            </a:extLst>
          </p:cNvPr>
          <p:cNvSpPr>
            <a:spLocks noGrp="1"/>
          </p:cNvSpPr>
          <p:nvPr>
            <p:ph type="body" sz="quarter" idx="12"/>
          </p:nvPr>
        </p:nvSpPr>
        <p:spPr>
          <a:xfrm>
            <a:off x="627025" y="2123440"/>
            <a:ext cx="6738975" cy="3454400"/>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6" name="Picture 5">
            <a:extLst>
              <a:ext uri="{FF2B5EF4-FFF2-40B4-BE49-F238E27FC236}">
                <a16:creationId xmlns:a16="http://schemas.microsoft.com/office/drawing/2014/main" id="{3D551E60-DCC7-4A4D-A003-7BFB85876EA6}"/>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8373239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a:p>
        </p:txBody>
      </p:sp>
      <p:grpSp>
        <p:nvGrpSpPr>
          <p:cNvPr id="10" name="Guidance note">
            <a:extLst>
              <a:ext uri="{FF2B5EF4-FFF2-40B4-BE49-F238E27FC236}">
                <a16:creationId xmlns:a16="http://schemas.microsoft.com/office/drawing/2014/main" id="{632E5E5C-A081-4838-96EC-2018DFBEF9DF}"/>
              </a:ext>
            </a:extLst>
          </p:cNvPr>
          <p:cNvGrpSpPr/>
          <p:nvPr/>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5" name="Picture 14">
            <a:extLst>
              <a:ext uri="{FF2B5EF4-FFF2-40B4-BE49-F238E27FC236}">
                <a16:creationId xmlns:a16="http://schemas.microsoft.com/office/drawing/2014/main" id="{F71F1E83-4FFA-C548-AFA3-4B29E7AD98EA}"/>
              </a:ext>
            </a:extLst>
          </p:cNvPr>
          <p:cNvPicPr>
            <a:picLocks noChangeAspect="1"/>
          </p:cNvPicPr>
          <p:nvPr/>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3227561725"/>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Success 202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65DB93-84BA-6F4E-867A-6C9DDF392ED2}"/>
              </a:ext>
            </a:extLst>
          </p:cNvPr>
          <p:cNvPicPr>
            <a:picLocks noChangeAspect="1"/>
          </p:cNvPicPr>
          <p:nvPr userDrawn="1"/>
        </p:nvPicPr>
        <p:blipFill>
          <a:blip r:embed="rId2"/>
          <a:srcRect/>
          <a:stretch/>
        </p:blipFill>
        <p:spPr>
          <a:xfrm>
            <a:off x="0" y="14088"/>
            <a:ext cx="12192000" cy="6843912"/>
          </a:xfrm>
          <a:prstGeom prst="rect">
            <a:avLst/>
          </a:prstGeom>
        </p:spPr>
      </p:pic>
      <p:sp>
        <p:nvSpPr>
          <p:cNvPr id="3" name="Title 1">
            <a:extLst>
              <a:ext uri="{FF2B5EF4-FFF2-40B4-BE49-F238E27FC236}">
                <a16:creationId xmlns:a16="http://schemas.microsoft.com/office/drawing/2014/main" id="{D55661EB-4104-4747-B2EB-2D0E05A2DD4D}"/>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a:t>
            </a:r>
            <a:endParaRPr lang="en-US" dirty="0"/>
          </a:p>
        </p:txBody>
      </p:sp>
      <p:sp>
        <p:nvSpPr>
          <p:cNvPr id="8" name="Text Placeholder 11">
            <a:extLst>
              <a:ext uri="{FF2B5EF4-FFF2-40B4-BE49-F238E27FC236}">
                <a16:creationId xmlns:a16="http://schemas.microsoft.com/office/drawing/2014/main" id="{4CCEDE6E-3C12-1C43-A880-0B6F1300F28C}"/>
              </a:ext>
            </a:extLst>
          </p:cNvPr>
          <p:cNvSpPr>
            <a:spLocks noGrp="1"/>
          </p:cNvSpPr>
          <p:nvPr>
            <p:ph type="body" sz="quarter" idx="11"/>
          </p:nvPr>
        </p:nvSpPr>
        <p:spPr>
          <a:xfrm>
            <a:off x="968440"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3" name="Text Placeholder 12">
            <a:extLst>
              <a:ext uri="{FF2B5EF4-FFF2-40B4-BE49-F238E27FC236}">
                <a16:creationId xmlns:a16="http://schemas.microsoft.com/office/drawing/2014/main" id="{CE6029B3-1496-8845-A0B4-692DF4171963}"/>
              </a:ext>
            </a:extLst>
          </p:cNvPr>
          <p:cNvSpPr>
            <a:spLocks noGrp="1"/>
          </p:cNvSpPr>
          <p:nvPr>
            <p:ph type="body" sz="quarter" idx="15"/>
          </p:nvPr>
        </p:nvSpPr>
        <p:spPr>
          <a:xfrm>
            <a:off x="1573212" y="1198563"/>
            <a:ext cx="3968051" cy="620712"/>
          </a:xfrm>
          <a:prstGeom prst="rect">
            <a:avLst/>
          </a:prstGeom>
        </p:spPr>
        <p:txBody>
          <a:bodyPr/>
          <a:lstStyle>
            <a:lvl1pPr marL="0" indent="0">
              <a:buNone/>
              <a:defRPr sz="2200" b="0" i="0">
                <a:solidFill>
                  <a:srgbClr val="FFBF22"/>
                </a:solidFill>
                <a:latin typeface="Helvetica Neue LT Std 65 Medium" panose="020B0604020202020204" pitchFamily="34" charset="0"/>
              </a:defRPr>
            </a:lvl1pPr>
            <a:lvl2pPr marL="457189" indent="0">
              <a:buNone/>
              <a:defRPr b="0" i="0">
                <a:solidFill>
                  <a:srgbClr val="E8BC28"/>
                </a:solidFill>
                <a:latin typeface="Helvetica Neue LT Std 65 Medium" panose="020B0604020202020204" pitchFamily="34" charset="0"/>
              </a:defRPr>
            </a:lvl2pPr>
            <a:lvl3pPr marL="914377" indent="0">
              <a:buNone/>
              <a:defRPr b="0" i="0">
                <a:solidFill>
                  <a:srgbClr val="E8BC28"/>
                </a:solidFill>
                <a:latin typeface="Helvetica Neue LT Std 65 Medium" panose="020B0604020202020204" pitchFamily="34" charset="0"/>
              </a:defRPr>
            </a:lvl3pPr>
            <a:lvl4pPr marL="1371566" indent="0">
              <a:buNone/>
              <a:defRPr b="0" i="0">
                <a:solidFill>
                  <a:srgbClr val="E8BC28"/>
                </a:solidFill>
                <a:latin typeface="Helvetica Neue LT Std 65 Medium" panose="020B0604020202020204" pitchFamily="34" charset="0"/>
              </a:defRPr>
            </a:lvl4pPr>
            <a:lvl5pPr marL="1828755" indent="0">
              <a:buNone/>
              <a:defRPr b="0" i="0">
                <a:solidFill>
                  <a:srgbClr val="E8BC28"/>
                </a:solidFill>
                <a:latin typeface="Helvetica Neue LT Std 65 Medium" panose="020B0604020202020204" pitchFamily="34" charset="0"/>
              </a:defRPr>
            </a:lvl5pPr>
          </a:lstStyle>
          <a:p>
            <a:pPr lvl="0"/>
            <a:r>
              <a:rPr lang="en-GB" dirty="0"/>
              <a:t>Click to edit Master</a:t>
            </a:r>
            <a:endParaRPr lang="en-US" dirty="0"/>
          </a:p>
        </p:txBody>
      </p:sp>
      <p:pic>
        <p:nvPicPr>
          <p:cNvPr id="12" name="Picture 11">
            <a:extLst>
              <a:ext uri="{FF2B5EF4-FFF2-40B4-BE49-F238E27FC236}">
                <a16:creationId xmlns:a16="http://schemas.microsoft.com/office/drawing/2014/main" id="{F7F9FA82-BB7B-3442-B78C-206C929B4ECB}"/>
              </a:ext>
            </a:extLst>
          </p:cNvPr>
          <p:cNvPicPr>
            <a:picLocks noChangeAspect="1"/>
          </p:cNvPicPr>
          <p:nvPr userDrawn="1"/>
        </p:nvPicPr>
        <p:blipFill>
          <a:blip r:embed="rId3"/>
          <a:stretch>
            <a:fillRect/>
          </a:stretch>
        </p:blipFill>
        <p:spPr>
          <a:xfrm>
            <a:off x="0" y="5816600"/>
            <a:ext cx="12192000" cy="1041400"/>
          </a:xfrm>
          <a:prstGeom prst="rect">
            <a:avLst/>
          </a:prstGeom>
        </p:spPr>
      </p:pic>
      <p:sp>
        <p:nvSpPr>
          <p:cNvPr id="14" name="Text Placeholder 11">
            <a:extLst>
              <a:ext uri="{FF2B5EF4-FFF2-40B4-BE49-F238E27FC236}">
                <a16:creationId xmlns:a16="http://schemas.microsoft.com/office/drawing/2014/main" id="{89013AE0-A7CE-7547-8EEA-81CCF43E43E2}"/>
              </a:ext>
            </a:extLst>
          </p:cNvPr>
          <p:cNvSpPr>
            <a:spLocks noGrp="1"/>
          </p:cNvSpPr>
          <p:nvPr>
            <p:ph type="body" sz="quarter" idx="16"/>
          </p:nvPr>
        </p:nvSpPr>
        <p:spPr>
          <a:xfrm>
            <a:off x="6427195"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5" name="Text Placeholder 11">
            <a:extLst>
              <a:ext uri="{FF2B5EF4-FFF2-40B4-BE49-F238E27FC236}">
                <a16:creationId xmlns:a16="http://schemas.microsoft.com/office/drawing/2014/main" id="{9CD27893-F0D0-1A45-9332-495EA803DFB0}"/>
              </a:ext>
            </a:extLst>
          </p:cNvPr>
          <p:cNvSpPr>
            <a:spLocks noGrp="1"/>
          </p:cNvSpPr>
          <p:nvPr>
            <p:ph type="body" sz="quarter" idx="17"/>
          </p:nvPr>
        </p:nvSpPr>
        <p:spPr>
          <a:xfrm>
            <a:off x="3732860" y="4873750"/>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6" name="Text Placeholder 11">
            <a:extLst>
              <a:ext uri="{FF2B5EF4-FFF2-40B4-BE49-F238E27FC236}">
                <a16:creationId xmlns:a16="http://schemas.microsoft.com/office/drawing/2014/main" id="{993E37F8-8A43-B148-B157-E7E2E1E6C38C}"/>
              </a:ext>
            </a:extLst>
          </p:cNvPr>
          <p:cNvSpPr>
            <a:spLocks noGrp="1"/>
          </p:cNvSpPr>
          <p:nvPr>
            <p:ph type="body" sz="quarter" idx="18"/>
          </p:nvPr>
        </p:nvSpPr>
        <p:spPr>
          <a:xfrm>
            <a:off x="9173817"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Tree>
    <p:extLst>
      <p:ext uri="{BB962C8B-B14F-4D97-AF65-F5344CB8AC3E}">
        <p14:creationId xmlns:p14="http://schemas.microsoft.com/office/powerpoint/2010/main" val="300065383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62847" y="1414222"/>
            <a:ext cx="11266309" cy="20926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defTabSz="554478">
              <a:defRPr/>
            </a:pPr>
            <a:fld id="{6E983326-A70F-4957-A3ED-4F2F5C0FDFC2}" type="datetime1">
              <a:rPr lang="en-US" sz="1092" smtClean="0">
                <a:solidFill>
                  <a:srgbClr val="454545"/>
                </a:solidFill>
              </a:rPr>
              <a:pPr defTabSz="554478">
                <a:defRPr/>
              </a:pPr>
              <a:t>10/29/2020</a:t>
            </a:fld>
            <a:endParaRPr lang="en-US" sz="1092" dirty="0">
              <a:solidFill>
                <a:srgbClr val="454545"/>
              </a:solidFill>
            </a:endParaRPr>
          </a:p>
        </p:txBody>
      </p:sp>
      <p:sp>
        <p:nvSpPr>
          <p:cNvPr id="5" name="Rectangle 5"/>
          <p:cNvSpPr>
            <a:spLocks noGrp="1" noChangeArrowheads="1"/>
          </p:cNvSpPr>
          <p:nvPr>
            <p:ph type="ftr" sz="quarter" idx="11"/>
          </p:nvPr>
        </p:nvSpPr>
        <p:spPr>
          <a:ln/>
        </p:spPr>
        <p:txBody>
          <a:bodyPr/>
          <a:lstStyle>
            <a:lvl1pPr>
              <a:defRPr/>
            </a:lvl1pPr>
          </a:lstStyle>
          <a:p>
            <a:pPr defTabSz="554478">
              <a:defRPr/>
            </a:pPr>
            <a:endParaRPr lang="en-US" sz="1092" dirty="0">
              <a:solidFill>
                <a:srgbClr val="454545"/>
              </a:solidFill>
            </a:endParaRPr>
          </a:p>
        </p:txBody>
      </p:sp>
      <p:sp>
        <p:nvSpPr>
          <p:cNvPr id="6" name="Rectangle 6"/>
          <p:cNvSpPr>
            <a:spLocks noGrp="1" noChangeArrowheads="1"/>
          </p:cNvSpPr>
          <p:nvPr>
            <p:ph type="sldNum" sz="quarter" idx="12"/>
          </p:nvPr>
        </p:nvSpPr>
        <p:spPr>
          <a:ln/>
        </p:spPr>
        <p:txBody>
          <a:bodyPr/>
          <a:lstStyle>
            <a:lvl1pPr>
              <a:defRPr/>
            </a:lvl1pPr>
          </a:lstStyle>
          <a:p>
            <a:pPr defTabSz="554478">
              <a:defRPr/>
            </a:pPr>
            <a:fld id="{15D2633F-9E37-4580-B197-799DECA1053C}" type="slidenum">
              <a:rPr lang="en-US" altLang="en-US" sz="1092" smtClean="0">
                <a:solidFill>
                  <a:srgbClr val="454545"/>
                </a:solidFill>
              </a:rPr>
              <a:pPr defTabSz="554478">
                <a:defRPr/>
              </a:pPr>
              <a:t>‹#›</a:t>
            </a:fld>
            <a:endParaRPr lang="en-US" altLang="en-US" sz="1092" dirty="0">
              <a:solidFill>
                <a:srgbClr val="454545"/>
              </a:solidFill>
            </a:endParaRPr>
          </a:p>
        </p:txBody>
      </p:sp>
    </p:spTree>
    <p:extLst>
      <p:ext uri="{BB962C8B-B14F-4D97-AF65-F5344CB8AC3E}">
        <p14:creationId xmlns:p14="http://schemas.microsoft.com/office/powerpoint/2010/main" val="24504443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609A1C17-C62E-814B-98D4-9359B30674D1}"/>
              </a:ext>
            </a:extLst>
          </p:cNvPr>
          <p:cNvSpPr>
            <a:spLocks noGrp="1"/>
          </p:cNvSpPr>
          <p:nvPr>
            <p:ph type="body" sz="quarter" idx="10"/>
          </p:nvPr>
        </p:nvSpPr>
        <p:spPr>
          <a:xfrm>
            <a:off x="973797" y="2034234"/>
            <a:ext cx="3645338" cy="1655763"/>
          </a:xfrm>
          <a:prstGeom prst="rect">
            <a:avLst/>
          </a:prstGeom>
        </p:spPr>
        <p:txBody>
          <a:bodyPr/>
          <a:lstStyle>
            <a:lvl1pPr marL="0" indent="0">
              <a:buNone/>
              <a:defRPr sz="3600" b="0" i="0">
                <a:solidFill>
                  <a:schemeClr val="bg1"/>
                </a:solidFill>
                <a:latin typeface="Helvetica Neue LT Std 65 Medium" panose="020B0604020202020204" pitchFamily="34" charset="0"/>
              </a:defRPr>
            </a:lvl1pPr>
            <a:lvl2pPr marL="457189" indent="0">
              <a:buNone/>
              <a:defRPr/>
            </a:lvl2pPr>
          </a:lstStyle>
          <a:p>
            <a:pPr lvl="0"/>
            <a:r>
              <a:rPr lang="en-GB"/>
              <a:t>Click to edit Master text styles</a:t>
            </a:r>
          </a:p>
        </p:txBody>
      </p:sp>
    </p:spTree>
    <p:extLst>
      <p:ext uri="{BB962C8B-B14F-4D97-AF65-F5344CB8AC3E}">
        <p14:creationId xmlns:p14="http://schemas.microsoft.com/office/powerpoint/2010/main" val="21075800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TRO">
    <p:spTree>
      <p:nvGrpSpPr>
        <p:cNvPr id="1" name=""/>
        <p:cNvGrpSpPr/>
        <p:nvPr/>
      </p:nvGrpSpPr>
      <p:grpSpPr>
        <a:xfrm>
          <a:off x="0" y="0"/>
          <a:ext cx="0" cy="0"/>
          <a:chOff x="0" y="0"/>
          <a:chExt cx="0" cy="0"/>
        </a:xfrm>
      </p:grpSpPr>
      <p:pic>
        <p:nvPicPr>
          <p:cNvPr id="7" name="Picture 6" descr="A close up of a cable&#10;&#10;Description automatically generated">
            <a:extLst>
              <a:ext uri="{FF2B5EF4-FFF2-40B4-BE49-F238E27FC236}">
                <a16:creationId xmlns:a16="http://schemas.microsoft.com/office/drawing/2014/main" id="{5404E37C-C7FD-044A-9344-97CB07453AF2}"/>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400000"/>
                    </a14:imgEffect>
                    <a14:imgEffect>
                      <a14:brightnessContrast contrast="20000"/>
                    </a14:imgEffect>
                  </a14:imgLayer>
                </a14:imgProps>
              </a:ext>
            </a:extLst>
          </a:blip>
          <a:stretch>
            <a:fill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E11FBAF8-F67E-8C4F-93C7-5212A8CCAF34}"/>
              </a:ext>
            </a:extLst>
          </p:cNvPr>
          <p:cNvSpPr/>
          <p:nvPr userDrawn="1"/>
        </p:nvSpPr>
        <p:spPr>
          <a:xfrm>
            <a:off x="1593130" y="1777993"/>
            <a:ext cx="7286919" cy="3331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AF27D59-4236-2040-B62F-72DA9623B435}"/>
              </a:ext>
            </a:extLst>
          </p:cNvPr>
          <p:cNvSpPr txBox="1">
            <a:spLocks/>
          </p:cNvSpPr>
          <p:nvPr userDrawn="1"/>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dirty="0"/>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1697037" y="3289300"/>
            <a:ext cx="7079317" cy="1677988"/>
          </a:xfrm>
          <a:prstGeom prst="rect">
            <a:avLst/>
          </a:prstGeom>
        </p:spPr>
        <p:txBody>
          <a:bodyPr/>
          <a:lstStyle>
            <a:lvl1pPr marL="0" indent="0">
              <a:buNone/>
              <a:defRPr sz="1600" b="0" i="0">
                <a:solidFill>
                  <a:srgbClr val="FFBF22"/>
                </a:solidFill>
                <a:latin typeface="Helvetica Neue LT Std 45 Light" panose="020B0403020202020204" pitchFamily="34" charset="0"/>
              </a:defRPr>
            </a:lvl1pPr>
            <a:lvl2pPr marL="457189" indent="0">
              <a:buNone/>
              <a:defRPr sz="1800" b="0" i="0">
                <a:solidFill>
                  <a:srgbClr val="E8BC28"/>
                </a:solidFill>
                <a:latin typeface="Helvetica Neue LT Std 45 Light" panose="020B0403020202020204" pitchFamily="34" charset="0"/>
              </a:defRPr>
            </a:lvl2pPr>
            <a:lvl3pPr marL="914377" indent="0">
              <a:buNone/>
              <a:defRPr sz="1600" b="0" i="0">
                <a:solidFill>
                  <a:srgbClr val="E8BC28"/>
                </a:solidFill>
                <a:latin typeface="Helvetica Neue LT Std 45 Light" panose="020B0403020202020204" pitchFamily="34" charset="0"/>
              </a:defRPr>
            </a:lvl3pPr>
            <a:lvl4pPr marL="1371566" indent="0">
              <a:buNone/>
              <a:defRPr sz="1400" b="0" i="0">
                <a:solidFill>
                  <a:srgbClr val="E8BC28"/>
                </a:solidFill>
                <a:latin typeface="Helvetica Neue LT Std 45 Light" panose="020B0403020202020204" pitchFamily="34" charset="0"/>
              </a:defRPr>
            </a:lvl4pPr>
            <a:lvl5pPr marL="1828755" indent="0">
              <a:buNone/>
              <a:defRPr sz="1400" b="0" i="0">
                <a:solidFill>
                  <a:srgbClr val="E8BC28"/>
                </a:solidFill>
                <a:latin typeface="Helvetica Neue LT Std 45 Light" panose="020B0403020202020204" pitchFamily="34" charset="0"/>
              </a:defRPr>
            </a:lvl5pPr>
          </a:lstStyle>
          <a:p>
            <a:pPr lvl="0"/>
            <a:r>
              <a:rPr lang="en-GB"/>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1697037" y="1885223"/>
            <a:ext cx="7079318" cy="1227137"/>
          </a:xfrm>
          <a:prstGeom prst="rect">
            <a:avLst/>
          </a:prstGeom>
        </p:spPr>
        <p:txBody>
          <a:bodyPr/>
          <a:lstStyle>
            <a:lvl1pPr marL="0" indent="0">
              <a:buNone/>
              <a:defRPr sz="4800" b="0" i="0">
                <a:solidFill>
                  <a:srgbClr val="FFBF22"/>
                </a:solidFill>
                <a:latin typeface="Helvetica Neue LT Std 65 Medium" panose="020B0604020202020204" pitchFamily="34" charset="0"/>
              </a:defRPr>
            </a:lvl1pPr>
          </a:lstStyle>
          <a:p>
            <a:pPr lvl="0"/>
            <a:r>
              <a:rPr lang="en-GB"/>
              <a:t>Click to edit Master text styles</a:t>
            </a:r>
          </a:p>
        </p:txBody>
      </p:sp>
    </p:spTree>
    <p:extLst>
      <p:ext uri="{BB962C8B-B14F-4D97-AF65-F5344CB8AC3E}">
        <p14:creationId xmlns:p14="http://schemas.microsoft.com/office/powerpoint/2010/main" val="40507672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_BG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5F127328-5914-8746-9676-46AEF2593FFE}"/>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5" name="Title 1">
            <a:extLst>
              <a:ext uri="{FF2B5EF4-FFF2-40B4-BE49-F238E27FC236}">
                <a16:creationId xmlns:a16="http://schemas.microsoft.com/office/drawing/2014/main" id="{D545E6C8-F8C7-574A-9C5C-305FA222624F}"/>
              </a:ext>
            </a:extLst>
          </p:cNvPr>
          <p:cNvSpPr>
            <a:spLocks noGrp="1"/>
          </p:cNvSpPr>
          <p:nvPr>
            <p:ph type="title"/>
          </p:nvPr>
        </p:nvSpPr>
        <p:spPr>
          <a:xfrm>
            <a:off x="527568" y="2688964"/>
            <a:ext cx="4856568" cy="1480071"/>
          </a:xfrm>
          <a:prstGeom prst="rect">
            <a:avLst/>
          </a:prstGeom>
        </p:spPr>
        <p:txBody>
          <a:bodyPr anchor="b"/>
          <a:lstStyle>
            <a:lvl1pPr>
              <a:defRPr sz="4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Tree>
    <p:extLst>
      <p:ext uri="{BB962C8B-B14F-4D97-AF65-F5344CB8AC3E}">
        <p14:creationId xmlns:p14="http://schemas.microsoft.com/office/powerpoint/2010/main" val="180497235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 Spac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521267E-3022-A74A-971C-6C1E2121DF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8E21D48B-0AA6-6545-8696-0290965D519C}"/>
              </a:ext>
            </a:extLst>
          </p:cNvPr>
          <p:cNvSpPr>
            <a:spLocks noGrp="1"/>
          </p:cNvSpPr>
          <p:nvPr>
            <p:ph type="title"/>
          </p:nvPr>
        </p:nvSpPr>
        <p:spPr>
          <a:xfrm>
            <a:off x="517629" y="1623373"/>
            <a:ext cx="3139971" cy="2166730"/>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2" name="Text Placeholder 11">
            <a:extLst>
              <a:ext uri="{FF2B5EF4-FFF2-40B4-BE49-F238E27FC236}">
                <a16:creationId xmlns:a16="http://schemas.microsoft.com/office/drawing/2014/main" id="{84AD00B6-DB3F-A94F-80AB-5497BFEDCD39}"/>
              </a:ext>
            </a:extLst>
          </p:cNvPr>
          <p:cNvSpPr>
            <a:spLocks noGrp="1"/>
          </p:cNvSpPr>
          <p:nvPr>
            <p:ph type="body" sz="quarter" idx="10" hasCustomPrompt="1"/>
          </p:nvPr>
        </p:nvSpPr>
        <p:spPr>
          <a:xfrm>
            <a:off x="3657600" y="1623373"/>
            <a:ext cx="3148908" cy="2932112"/>
          </a:xfrm>
          <a:prstGeom prst="rect">
            <a:avLst/>
          </a:prstGeom>
          <a:ln>
            <a:noFill/>
          </a:ln>
        </p:spPr>
        <p:txBody>
          <a:bodyPr/>
          <a:lstStyle>
            <a:lvl1pPr marL="0" indent="0">
              <a:buNone/>
              <a:defRPr sz="14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chemeClr val="tx1">
                    <a:lumMod val="65000"/>
                    <a:lumOff val="35000"/>
                  </a:schemeClr>
                </a:solidFill>
                <a:latin typeface="Helvetica Neue LT Std 45 Light" panose="020B0403020202020204" pitchFamily="34" charset="0"/>
              </a:defRPr>
            </a:lvl2pPr>
            <a:lvl3pPr marL="914377"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3pPr>
            <a:lvl4pPr marL="1371566"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r>
              <a:rPr lang="en-GB"/>
              <a:t>Second level</a:t>
            </a:r>
          </a:p>
          <a:p>
            <a:pPr lvl="1"/>
            <a:r>
              <a:rPr lang="en-GB"/>
              <a:t>Third level</a:t>
            </a:r>
          </a:p>
          <a:p>
            <a:pPr lvl="2"/>
            <a:r>
              <a:rPr lang="en-GB"/>
              <a:t>Fourth level</a:t>
            </a:r>
          </a:p>
          <a:p>
            <a:pPr lvl="3"/>
            <a:r>
              <a:rPr lang="en-GB"/>
              <a:t>Fifth level</a:t>
            </a:r>
            <a:endParaRPr lang="en-US"/>
          </a:p>
        </p:txBody>
      </p:sp>
      <p:pic>
        <p:nvPicPr>
          <p:cNvPr id="5" name="Picture 4">
            <a:extLst>
              <a:ext uri="{FF2B5EF4-FFF2-40B4-BE49-F238E27FC236}">
                <a16:creationId xmlns:a16="http://schemas.microsoft.com/office/drawing/2014/main" id="{D692D929-61E5-2249-9856-646EEDD981CC}"/>
              </a:ext>
            </a:extLst>
          </p:cNvPr>
          <p:cNvPicPr>
            <a:picLocks noChangeAspect="1"/>
          </p:cNvPicPr>
          <p:nvPr userDrawn="1"/>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15990966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8699B13-3C3C-E843-9056-43C49BFD6686}"/>
              </a:ext>
            </a:extLst>
          </p:cNvPr>
          <p:cNvSpPr>
            <a:spLocks noGrp="1"/>
          </p:cNvSpPr>
          <p:nvPr>
            <p:ph type="title"/>
          </p:nvPr>
        </p:nvSpPr>
        <p:spPr>
          <a:xfrm>
            <a:off x="517629" y="487300"/>
            <a:ext cx="4735091" cy="1369209"/>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17" name="Picture 16" descr="A picture containing indoor, shelf, sitting, book&#10;&#10;Description automatically generated">
            <a:extLst>
              <a:ext uri="{FF2B5EF4-FFF2-40B4-BE49-F238E27FC236}">
                <a16:creationId xmlns:a16="http://schemas.microsoft.com/office/drawing/2014/main" id="{A6DFB6EE-17A2-A541-BF74-02235A207D07}"/>
              </a:ext>
            </a:extLst>
          </p:cNvPr>
          <p:cNvPicPr>
            <a:picLocks noChangeAspect="1"/>
          </p:cNvPicPr>
          <p:nvPr userDrawn="1"/>
        </p:nvPicPr>
        <p:blipFill rotWithShape="1">
          <a:blip r:embed="rId2"/>
          <a:srcRect t="50000" b="16364"/>
          <a:stretch/>
        </p:blipFill>
        <p:spPr>
          <a:xfrm>
            <a:off x="0" y="3429000"/>
            <a:ext cx="12192000" cy="2306782"/>
          </a:xfrm>
          <a:prstGeom prst="rect">
            <a:avLst/>
          </a:prstGeom>
        </p:spPr>
      </p:pic>
      <p:pic>
        <p:nvPicPr>
          <p:cNvPr id="5" name="Picture 4">
            <a:extLst>
              <a:ext uri="{FF2B5EF4-FFF2-40B4-BE49-F238E27FC236}">
                <a16:creationId xmlns:a16="http://schemas.microsoft.com/office/drawing/2014/main" id="{D9903181-6847-FE45-9CA1-F3DB5B1861D8}"/>
              </a:ext>
            </a:extLst>
          </p:cNvPr>
          <p:cNvPicPr>
            <a:picLocks noChangeAspect="1"/>
          </p:cNvPicPr>
          <p:nvPr userDrawn="1"/>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38577186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Employee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885BEA-7C33-EC4C-9B83-76A1B77EB0FB}"/>
              </a:ext>
            </a:extLst>
          </p:cNvPr>
          <p:cNvSpPr>
            <a:spLocks noGrp="1"/>
          </p:cNvSpPr>
          <p:nvPr>
            <p:ph type="title"/>
          </p:nvPr>
        </p:nvSpPr>
        <p:spPr>
          <a:xfrm>
            <a:off x="517629" y="487300"/>
            <a:ext cx="4629406" cy="1369209"/>
          </a:xfrm>
          <a:prstGeom prst="rect">
            <a:avLst/>
          </a:prstGeom>
        </p:spPr>
        <p:txBody>
          <a:bodyPr lIns="0"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1" name="Text Placeholder 10">
            <a:extLst>
              <a:ext uri="{FF2B5EF4-FFF2-40B4-BE49-F238E27FC236}">
                <a16:creationId xmlns:a16="http://schemas.microsoft.com/office/drawing/2014/main" id="{8D9B2882-406D-0A4D-BF70-0A3D2EB58AEE}"/>
              </a:ext>
            </a:extLst>
          </p:cNvPr>
          <p:cNvSpPr>
            <a:spLocks noGrp="1"/>
          </p:cNvSpPr>
          <p:nvPr>
            <p:ph type="body" sz="quarter" idx="11" hasCustomPrompt="1"/>
          </p:nvPr>
        </p:nvSpPr>
        <p:spPr>
          <a:xfrm>
            <a:off x="8469127" y="1238522"/>
            <a:ext cx="2036041" cy="258700"/>
          </a:xfrm>
          <a:prstGeom prst="rect">
            <a:avLst/>
          </a:prstGeom>
        </p:spPr>
        <p:txBody>
          <a:bodyPr lIns="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3" name="Text Placeholder 12">
            <a:extLst>
              <a:ext uri="{FF2B5EF4-FFF2-40B4-BE49-F238E27FC236}">
                <a16:creationId xmlns:a16="http://schemas.microsoft.com/office/drawing/2014/main" id="{98B15EC4-7827-AD44-9BF2-5FF8608DDB43}"/>
              </a:ext>
            </a:extLst>
          </p:cNvPr>
          <p:cNvSpPr>
            <a:spLocks noGrp="1"/>
          </p:cNvSpPr>
          <p:nvPr>
            <p:ph type="body" sz="quarter" idx="12" hasCustomPrompt="1"/>
          </p:nvPr>
        </p:nvSpPr>
        <p:spPr>
          <a:xfrm>
            <a:off x="8469127" y="1411982"/>
            <a:ext cx="2036763" cy="258700"/>
          </a:xfrm>
          <a:prstGeom prst="rect">
            <a:avLst/>
          </a:prstGeom>
        </p:spPr>
        <p:txBody>
          <a:bodyPr lIns="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14" name="Text Placeholder 10">
            <a:extLst>
              <a:ext uri="{FF2B5EF4-FFF2-40B4-BE49-F238E27FC236}">
                <a16:creationId xmlns:a16="http://schemas.microsoft.com/office/drawing/2014/main" id="{25FD1F12-AD2C-7341-8AFB-CDB935BA9898}"/>
              </a:ext>
            </a:extLst>
          </p:cNvPr>
          <p:cNvSpPr>
            <a:spLocks noGrp="1"/>
          </p:cNvSpPr>
          <p:nvPr>
            <p:ph type="body" sz="quarter" idx="13" hasCustomPrompt="1"/>
          </p:nvPr>
        </p:nvSpPr>
        <p:spPr>
          <a:xfrm>
            <a:off x="792272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5" name="Text Placeholder 12">
            <a:extLst>
              <a:ext uri="{FF2B5EF4-FFF2-40B4-BE49-F238E27FC236}">
                <a16:creationId xmlns:a16="http://schemas.microsoft.com/office/drawing/2014/main" id="{DEAA0E9D-C17D-9848-AED5-206761E20B8A}"/>
              </a:ext>
            </a:extLst>
          </p:cNvPr>
          <p:cNvSpPr>
            <a:spLocks noGrp="1"/>
          </p:cNvSpPr>
          <p:nvPr>
            <p:ph type="body" sz="quarter" idx="14" hasCustomPrompt="1"/>
          </p:nvPr>
        </p:nvSpPr>
        <p:spPr>
          <a:xfrm>
            <a:off x="792263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16" name="Text Placeholder 10">
            <a:extLst>
              <a:ext uri="{FF2B5EF4-FFF2-40B4-BE49-F238E27FC236}">
                <a16:creationId xmlns:a16="http://schemas.microsoft.com/office/drawing/2014/main" id="{026F6D38-3BF3-A84D-85B0-AF87285D1F22}"/>
              </a:ext>
            </a:extLst>
          </p:cNvPr>
          <p:cNvSpPr>
            <a:spLocks noGrp="1"/>
          </p:cNvSpPr>
          <p:nvPr>
            <p:ph type="body" sz="quarter" idx="15" hasCustomPrompt="1"/>
          </p:nvPr>
        </p:nvSpPr>
        <p:spPr>
          <a:xfrm>
            <a:off x="608795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7" name="Text Placeholder 12">
            <a:extLst>
              <a:ext uri="{FF2B5EF4-FFF2-40B4-BE49-F238E27FC236}">
                <a16:creationId xmlns:a16="http://schemas.microsoft.com/office/drawing/2014/main" id="{DD7A5CEC-EC14-9F40-AF5A-DE0DD70F29B7}"/>
              </a:ext>
            </a:extLst>
          </p:cNvPr>
          <p:cNvSpPr>
            <a:spLocks noGrp="1"/>
          </p:cNvSpPr>
          <p:nvPr>
            <p:ph type="body" sz="quarter" idx="16" hasCustomPrompt="1"/>
          </p:nvPr>
        </p:nvSpPr>
        <p:spPr>
          <a:xfrm>
            <a:off x="608786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18" name="Text Placeholder 10">
            <a:extLst>
              <a:ext uri="{FF2B5EF4-FFF2-40B4-BE49-F238E27FC236}">
                <a16:creationId xmlns:a16="http://schemas.microsoft.com/office/drawing/2014/main" id="{8C37767A-9381-684B-AFF3-4BC41ACA71ED}"/>
              </a:ext>
            </a:extLst>
          </p:cNvPr>
          <p:cNvSpPr>
            <a:spLocks noGrp="1"/>
          </p:cNvSpPr>
          <p:nvPr>
            <p:ph type="body" sz="quarter" idx="17" hasCustomPrompt="1"/>
          </p:nvPr>
        </p:nvSpPr>
        <p:spPr>
          <a:xfrm>
            <a:off x="419105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19" name="Text Placeholder 12">
            <a:extLst>
              <a:ext uri="{FF2B5EF4-FFF2-40B4-BE49-F238E27FC236}">
                <a16:creationId xmlns:a16="http://schemas.microsoft.com/office/drawing/2014/main" id="{30568923-57EA-3244-993A-D090E73CAC81}"/>
              </a:ext>
            </a:extLst>
          </p:cNvPr>
          <p:cNvSpPr>
            <a:spLocks noGrp="1"/>
          </p:cNvSpPr>
          <p:nvPr>
            <p:ph type="body" sz="quarter" idx="18" hasCustomPrompt="1"/>
          </p:nvPr>
        </p:nvSpPr>
        <p:spPr>
          <a:xfrm>
            <a:off x="419096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0" name="Text Placeholder 10">
            <a:extLst>
              <a:ext uri="{FF2B5EF4-FFF2-40B4-BE49-F238E27FC236}">
                <a16:creationId xmlns:a16="http://schemas.microsoft.com/office/drawing/2014/main" id="{52684357-8BAC-7C47-887A-37917745E901}"/>
              </a:ext>
            </a:extLst>
          </p:cNvPr>
          <p:cNvSpPr>
            <a:spLocks noGrp="1"/>
          </p:cNvSpPr>
          <p:nvPr>
            <p:ph type="body" sz="quarter" idx="19" hasCustomPrompt="1"/>
          </p:nvPr>
        </p:nvSpPr>
        <p:spPr>
          <a:xfrm>
            <a:off x="236137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1" name="Text Placeholder 12">
            <a:extLst>
              <a:ext uri="{FF2B5EF4-FFF2-40B4-BE49-F238E27FC236}">
                <a16:creationId xmlns:a16="http://schemas.microsoft.com/office/drawing/2014/main" id="{FE757602-E883-0C46-83AF-8B1CEC8D9CED}"/>
              </a:ext>
            </a:extLst>
          </p:cNvPr>
          <p:cNvSpPr>
            <a:spLocks noGrp="1"/>
          </p:cNvSpPr>
          <p:nvPr>
            <p:ph type="body" sz="quarter" idx="20" hasCustomPrompt="1"/>
          </p:nvPr>
        </p:nvSpPr>
        <p:spPr>
          <a:xfrm>
            <a:off x="236128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2" name="Text Placeholder 10">
            <a:extLst>
              <a:ext uri="{FF2B5EF4-FFF2-40B4-BE49-F238E27FC236}">
                <a16:creationId xmlns:a16="http://schemas.microsoft.com/office/drawing/2014/main" id="{E80E63D6-51AF-9342-84DD-2F397CF5E026}"/>
              </a:ext>
            </a:extLst>
          </p:cNvPr>
          <p:cNvSpPr>
            <a:spLocks noGrp="1"/>
          </p:cNvSpPr>
          <p:nvPr>
            <p:ph type="body" sz="quarter" idx="21" hasCustomPrompt="1"/>
          </p:nvPr>
        </p:nvSpPr>
        <p:spPr>
          <a:xfrm>
            <a:off x="517720"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3" name="Text Placeholder 12">
            <a:extLst>
              <a:ext uri="{FF2B5EF4-FFF2-40B4-BE49-F238E27FC236}">
                <a16:creationId xmlns:a16="http://schemas.microsoft.com/office/drawing/2014/main" id="{800E494D-C690-A141-A71E-A48CBF0A61D1}"/>
              </a:ext>
            </a:extLst>
          </p:cNvPr>
          <p:cNvSpPr>
            <a:spLocks noGrp="1"/>
          </p:cNvSpPr>
          <p:nvPr>
            <p:ph type="body" sz="quarter" idx="22" hasCustomPrompt="1"/>
          </p:nvPr>
        </p:nvSpPr>
        <p:spPr>
          <a:xfrm>
            <a:off x="517629"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4" name="Text Placeholder 10">
            <a:extLst>
              <a:ext uri="{FF2B5EF4-FFF2-40B4-BE49-F238E27FC236}">
                <a16:creationId xmlns:a16="http://schemas.microsoft.com/office/drawing/2014/main" id="{A23863FE-952A-244D-90F7-688D9A0DDD22}"/>
              </a:ext>
            </a:extLst>
          </p:cNvPr>
          <p:cNvSpPr>
            <a:spLocks noGrp="1"/>
          </p:cNvSpPr>
          <p:nvPr>
            <p:ph type="body" sz="quarter" idx="23" hasCustomPrompt="1"/>
          </p:nvPr>
        </p:nvSpPr>
        <p:spPr>
          <a:xfrm>
            <a:off x="792272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5" name="Text Placeholder 12">
            <a:extLst>
              <a:ext uri="{FF2B5EF4-FFF2-40B4-BE49-F238E27FC236}">
                <a16:creationId xmlns:a16="http://schemas.microsoft.com/office/drawing/2014/main" id="{A60A29BA-89A0-BA4C-A5D2-BF6E7D66D826}"/>
              </a:ext>
            </a:extLst>
          </p:cNvPr>
          <p:cNvSpPr>
            <a:spLocks noGrp="1"/>
          </p:cNvSpPr>
          <p:nvPr>
            <p:ph type="body" sz="quarter" idx="24" hasCustomPrompt="1"/>
          </p:nvPr>
        </p:nvSpPr>
        <p:spPr>
          <a:xfrm>
            <a:off x="792263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6" name="Text Placeholder 10">
            <a:extLst>
              <a:ext uri="{FF2B5EF4-FFF2-40B4-BE49-F238E27FC236}">
                <a16:creationId xmlns:a16="http://schemas.microsoft.com/office/drawing/2014/main" id="{89898E1A-7B68-F04E-8DF9-7DF4AC3F2022}"/>
              </a:ext>
            </a:extLst>
          </p:cNvPr>
          <p:cNvSpPr>
            <a:spLocks noGrp="1"/>
          </p:cNvSpPr>
          <p:nvPr>
            <p:ph type="body" sz="quarter" idx="25" hasCustomPrompt="1"/>
          </p:nvPr>
        </p:nvSpPr>
        <p:spPr>
          <a:xfrm>
            <a:off x="608795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7" name="Text Placeholder 12">
            <a:extLst>
              <a:ext uri="{FF2B5EF4-FFF2-40B4-BE49-F238E27FC236}">
                <a16:creationId xmlns:a16="http://schemas.microsoft.com/office/drawing/2014/main" id="{FE65C65B-35EF-AF42-937E-CB58BD9F5DC3}"/>
              </a:ext>
            </a:extLst>
          </p:cNvPr>
          <p:cNvSpPr>
            <a:spLocks noGrp="1"/>
          </p:cNvSpPr>
          <p:nvPr>
            <p:ph type="body" sz="quarter" idx="26" hasCustomPrompt="1"/>
          </p:nvPr>
        </p:nvSpPr>
        <p:spPr>
          <a:xfrm>
            <a:off x="608786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28" name="Text Placeholder 10">
            <a:extLst>
              <a:ext uri="{FF2B5EF4-FFF2-40B4-BE49-F238E27FC236}">
                <a16:creationId xmlns:a16="http://schemas.microsoft.com/office/drawing/2014/main" id="{E8818411-28B7-E348-8FC0-16EA9B5CD6E8}"/>
              </a:ext>
            </a:extLst>
          </p:cNvPr>
          <p:cNvSpPr>
            <a:spLocks noGrp="1"/>
          </p:cNvSpPr>
          <p:nvPr>
            <p:ph type="body" sz="quarter" idx="27" hasCustomPrompt="1"/>
          </p:nvPr>
        </p:nvSpPr>
        <p:spPr>
          <a:xfrm>
            <a:off x="419105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29" name="Text Placeholder 12">
            <a:extLst>
              <a:ext uri="{FF2B5EF4-FFF2-40B4-BE49-F238E27FC236}">
                <a16:creationId xmlns:a16="http://schemas.microsoft.com/office/drawing/2014/main" id="{1D298B64-DB9D-7D4F-85F5-13A6775E23B2}"/>
              </a:ext>
            </a:extLst>
          </p:cNvPr>
          <p:cNvSpPr>
            <a:spLocks noGrp="1"/>
          </p:cNvSpPr>
          <p:nvPr>
            <p:ph type="body" sz="quarter" idx="28" hasCustomPrompt="1"/>
          </p:nvPr>
        </p:nvSpPr>
        <p:spPr>
          <a:xfrm>
            <a:off x="419096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30" name="Text Placeholder 10">
            <a:extLst>
              <a:ext uri="{FF2B5EF4-FFF2-40B4-BE49-F238E27FC236}">
                <a16:creationId xmlns:a16="http://schemas.microsoft.com/office/drawing/2014/main" id="{CA7EE175-F504-A241-BB9E-4B63D9421241}"/>
              </a:ext>
            </a:extLst>
          </p:cNvPr>
          <p:cNvSpPr>
            <a:spLocks noGrp="1"/>
          </p:cNvSpPr>
          <p:nvPr>
            <p:ph type="body" sz="quarter" idx="29" hasCustomPrompt="1"/>
          </p:nvPr>
        </p:nvSpPr>
        <p:spPr>
          <a:xfrm>
            <a:off x="236137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31" name="Text Placeholder 12">
            <a:extLst>
              <a:ext uri="{FF2B5EF4-FFF2-40B4-BE49-F238E27FC236}">
                <a16:creationId xmlns:a16="http://schemas.microsoft.com/office/drawing/2014/main" id="{33A5E4BB-C47B-5146-8E48-1E9A4ED09F28}"/>
              </a:ext>
            </a:extLst>
          </p:cNvPr>
          <p:cNvSpPr>
            <a:spLocks noGrp="1"/>
          </p:cNvSpPr>
          <p:nvPr>
            <p:ph type="body" sz="quarter" idx="30" hasCustomPrompt="1"/>
          </p:nvPr>
        </p:nvSpPr>
        <p:spPr>
          <a:xfrm>
            <a:off x="236128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32" name="Text Placeholder 10">
            <a:extLst>
              <a:ext uri="{FF2B5EF4-FFF2-40B4-BE49-F238E27FC236}">
                <a16:creationId xmlns:a16="http://schemas.microsoft.com/office/drawing/2014/main" id="{CDFCD2CC-774B-7C45-B5EF-4845C476F627}"/>
              </a:ext>
            </a:extLst>
          </p:cNvPr>
          <p:cNvSpPr>
            <a:spLocks noGrp="1"/>
          </p:cNvSpPr>
          <p:nvPr>
            <p:ph type="body" sz="quarter" idx="31" hasCustomPrompt="1"/>
          </p:nvPr>
        </p:nvSpPr>
        <p:spPr>
          <a:xfrm>
            <a:off x="517720"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33" name="Text Placeholder 12">
            <a:extLst>
              <a:ext uri="{FF2B5EF4-FFF2-40B4-BE49-F238E27FC236}">
                <a16:creationId xmlns:a16="http://schemas.microsoft.com/office/drawing/2014/main" id="{54099D0C-11DE-564E-87CD-3D7CA122E369}"/>
              </a:ext>
            </a:extLst>
          </p:cNvPr>
          <p:cNvSpPr>
            <a:spLocks noGrp="1"/>
          </p:cNvSpPr>
          <p:nvPr>
            <p:ph type="body" sz="quarter" idx="32" hasCustomPrompt="1"/>
          </p:nvPr>
        </p:nvSpPr>
        <p:spPr>
          <a:xfrm>
            <a:off x="517629"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3" name="Picture Placeholder 2">
            <a:extLst>
              <a:ext uri="{FF2B5EF4-FFF2-40B4-BE49-F238E27FC236}">
                <a16:creationId xmlns:a16="http://schemas.microsoft.com/office/drawing/2014/main" id="{98E5176D-C25B-0B4F-9953-18721D7311C3}"/>
              </a:ext>
            </a:extLst>
          </p:cNvPr>
          <p:cNvSpPr>
            <a:spLocks noGrp="1"/>
          </p:cNvSpPr>
          <p:nvPr>
            <p:ph type="pic" sz="quarter" idx="33"/>
          </p:nvPr>
        </p:nvSpPr>
        <p:spPr>
          <a:xfrm>
            <a:off x="518540" y="2012178"/>
            <a:ext cx="1643869" cy="1058862"/>
          </a:xfrm>
          <a:prstGeom prst="rect">
            <a:avLst/>
          </a:prstGeom>
          <a:noFill/>
        </p:spPr>
        <p:txBody>
          <a:bodyPr/>
          <a:lstStyle/>
          <a:p>
            <a:endParaRPr lang="en-US" dirty="0"/>
          </a:p>
        </p:txBody>
      </p:sp>
      <p:sp>
        <p:nvSpPr>
          <p:cNvPr id="34" name="Picture Placeholder 2">
            <a:extLst>
              <a:ext uri="{FF2B5EF4-FFF2-40B4-BE49-F238E27FC236}">
                <a16:creationId xmlns:a16="http://schemas.microsoft.com/office/drawing/2014/main" id="{3034D6EA-24FA-B44E-B175-A69466B69136}"/>
              </a:ext>
            </a:extLst>
          </p:cNvPr>
          <p:cNvSpPr>
            <a:spLocks noGrp="1"/>
          </p:cNvSpPr>
          <p:nvPr>
            <p:ph type="pic" sz="quarter" idx="34"/>
          </p:nvPr>
        </p:nvSpPr>
        <p:spPr>
          <a:xfrm>
            <a:off x="2361401" y="2012178"/>
            <a:ext cx="1643869" cy="1058862"/>
          </a:xfrm>
          <a:prstGeom prst="rect">
            <a:avLst/>
          </a:prstGeom>
        </p:spPr>
        <p:txBody>
          <a:bodyPr/>
          <a:lstStyle/>
          <a:p>
            <a:endParaRPr lang="en-US" dirty="0"/>
          </a:p>
        </p:txBody>
      </p:sp>
      <p:sp>
        <p:nvSpPr>
          <p:cNvPr id="35" name="Picture Placeholder 2">
            <a:extLst>
              <a:ext uri="{FF2B5EF4-FFF2-40B4-BE49-F238E27FC236}">
                <a16:creationId xmlns:a16="http://schemas.microsoft.com/office/drawing/2014/main" id="{F6C71354-D9C6-0944-A6F7-99F3174B5B91}"/>
              </a:ext>
            </a:extLst>
          </p:cNvPr>
          <p:cNvSpPr>
            <a:spLocks noGrp="1"/>
          </p:cNvSpPr>
          <p:nvPr>
            <p:ph type="pic" sz="quarter" idx="35"/>
          </p:nvPr>
        </p:nvSpPr>
        <p:spPr>
          <a:xfrm>
            <a:off x="4197453" y="2012178"/>
            <a:ext cx="1643869" cy="1058862"/>
          </a:xfrm>
          <a:prstGeom prst="rect">
            <a:avLst/>
          </a:prstGeom>
        </p:spPr>
        <p:txBody>
          <a:bodyPr/>
          <a:lstStyle/>
          <a:p>
            <a:endParaRPr lang="en-US" dirty="0"/>
          </a:p>
        </p:txBody>
      </p:sp>
      <p:sp>
        <p:nvSpPr>
          <p:cNvPr id="36" name="Picture Placeholder 2">
            <a:extLst>
              <a:ext uri="{FF2B5EF4-FFF2-40B4-BE49-F238E27FC236}">
                <a16:creationId xmlns:a16="http://schemas.microsoft.com/office/drawing/2014/main" id="{44E7A985-A721-C642-8A01-B43F591F76EE}"/>
              </a:ext>
            </a:extLst>
          </p:cNvPr>
          <p:cNvSpPr>
            <a:spLocks noGrp="1"/>
          </p:cNvSpPr>
          <p:nvPr>
            <p:ph type="pic" sz="quarter" idx="36"/>
          </p:nvPr>
        </p:nvSpPr>
        <p:spPr>
          <a:xfrm>
            <a:off x="6085092" y="2012178"/>
            <a:ext cx="1643869" cy="1058862"/>
          </a:xfrm>
          <a:prstGeom prst="rect">
            <a:avLst/>
          </a:prstGeom>
        </p:spPr>
        <p:txBody>
          <a:bodyPr/>
          <a:lstStyle/>
          <a:p>
            <a:endParaRPr lang="en-US" dirty="0"/>
          </a:p>
        </p:txBody>
      </p:sp>
      <p:sp>
        <p:nvSpPr>
          <p:cNvPr id="37" name="Picture Placeholder 2">
            <a:extLst>
              <a:ext uri="{FF2B5EF4-FFF2-40B4-BE49-F238E27FC236}">
                <a16:creationId xmlns:a16="http://schemas.microsoft.com/office/drawing/2014/main" id="{5FA04993-DD2D-FE4F-9418-231283FBC620}"/>
              </a:ext>
            </a:extLst>
          </p:cNvPr>
          <p:cNvSpPr>
            <a:spLocks noGrp="1"/>
          </p:cNvSpPr>
          <p:nvPr>
            <p:ph type="pic" sz="quarter" idx="37"/>
          </p:nvPr>
        </p:nvSpPr>
        <p:spPr>
          <a:xfrm>
            <a:off x="7927464" y="2012178"/>
            <a:ext cx="1643869" cy="1058862"/>
          </a:xfrm>
          <a:prstGeom prst="rect">
            <a:avLst/>
          </a:prstGeom>
        </p:spPr>
        <p:txBody>
          <a:bodyPr/>
          <a:lstStyle/>
          <a:p>
            <a:endParaRPr lang="en-US" dirty="0"/>
          </a:p>
        </p:txBody>
      </p:sp>
      <p:sp>
        <p:nvSpPr>
          <p:cNvPr id="38" name="Picture Placeholder 2">
            <a:extLst>
              <a:ext uri="{FF2B5EF4-FFF2-40B4-BE49-F238E27FC236}">
                <a16:creationId xmlns:a16="http://schemas.microsoft.com/office/drawing/2014/main" id="{F831207F-DC8C-AA47-AFC2-667CF2F429E4}"/>
              </a:ext>
            </a:extLst>
          </p:cNvPr>
          <p:cNvSpPr>
            <a:spLocks noGrp="1"/>
          </p:cNvSpPr>
          <p:nvPr>
            <p:ph type="pic" sz="quarter" idx="38"/>
          </p:nvPr>
        </p:nvSpPr>
        <p:spPr>
          <a:xfrm>
            <a:off x="518540" y="3942630"/>
            <a:ext cx="1643869" cy="1058862"/>
          </a:xfrm>
          <a:prstGeom prst="rect">
            <a:avLst/>
          </a:prstGeom>
        </p:spPr>
        <p:txBody>
          <a:bodyPr/>
          <a:lstStyle/>
          <a:p>
            <a:endParaRPr lang="en-US" dirty="0"/>
          </a:p>
        </p:txBody>
      </p:sp>
      <p:sp>
        <p:nvSpPr>
          <p:cNvPr id="39" name="Picture Placeholder 2">
            <a:extLst>
              <a:ext uri="{FF2B5EF4-FFF2-40B4-BE49-F238E27FC236}">
                <a16:creationId xmlns:a16="http://schemas.microsoft.com/office/drawing/2014/main" id="{A2F6536A-9693-E841-AD61-8C359448084F}"/>
              </a:ext>
            </a:extLst>
          </p:cNvPr>
          <p:cNvSpPr>
            <a:spLocks noGrp="1"/>
          </p:cNvSpPr>
          <p:nvPr>
            <p:ph type="pic" sz="quarter" idx="39"/>
          </p:nvPr>
        </p:nvSpPr>
        <p:spPr>
          <a:xfrm>
            <a:off x="2361401" y="3942630"/>
            <a:ext cx="1643869" cy="1058862"/>
          </a:xfrm>
          <a:prstGeom prst="rect">
            <a:avLst/>
          </a:prstGeom>
        </p:spPr>
        <p:txBody>
          <a:bodyPr/>
          <a:lstStyle/>
          <a:p>
            <a:endParaRPr lang="en-US" dirty="0"/>
          </a:p>
        </p:txBody>
      </p:sp>
      <p:sp>
        <p:nvSpPr>
          <p:cNvPr id="40" name="Picture Placeholder 2">
            <a:extLst>
              <a:ext uri="{FF2B5EF4-FFF2-40B4-BE49-F238E27FC236}">
                <a16:creationId xmlns:a16="http://schemas.microsoft.com/office/drawing/2014/main" id="{28EFB759-7961-0F4B-9DA2-9B07D82B3B79}"/>
              </a:ext>
            </a:extLst>
          </p:cNvPr>
          <p:cNvSpPr>
            <a:spLocks noGrp="1"/>
          </p:cNvSpPr>
          <p:nvPr>
            <p:ph type="pic" sz="quarter" idx="40"/>
          </p:nvPr>
        </p:nvSpPr>
        <p:spPr>
          <a:xfrm>
            <a:off x="4197453" y="3942630"/>
            <a:ext cx="1643869" cy="1058862"/>
          </a:xfrm>
          <a:prstGeom prst="rect">
            <a:avLst/>
          </a:prstGeom>
        </p:spPr>
        <p:txBody>
          <a:bodyPr/>
          <a:lstStyle/>
          <a:p>
            <a:endParaRPr lang="en-US" dirty="0"/>
          </a:p>
        </p:txBody>
      </p:sp>
      <p:sp>
        <p:nvSpPr>
          <p:cNvPr id="41" name="Picture Placeholder 2">
            <a:extLst>
              <a:ext uri="{FF2B5EF4-FFF2-40B4-BE49-F238E27FC236}">
                <a16:creationId xmlns:a16="http://schemas.microsoft.com/office/drawing/2014/main" id="{F10325A2-6AE5-2B40-BA16-62A41FF09948}"/>
              </a:ext>
            </a:extLst>
          </p:cNvPr>
          <p:cNvSpPr>
            <a:spLocks noGrp="1"/>
          </p:cNvSpPr>
          <p:nvPr>
            <p:ph type="pic" sz="quarter" idx="41"/>
          </p:nvPr>
        </p:nvSpPr>
        <p:spPr>
          <a:xfrm>
            <a:off x="6085092" y="3942630"/>
            <a:ext cx="1643869" cy="1058862"/>
          </a:xfrm>
          <a:prstGeom prst="rect">
            <a:avLst/>
          </a:prstGeom>
        </p:spPr>
        <p:txBody>
          <a:bodyPr/>
          <a:lstStyle/>
          <a:p>
            <a:endParaRPr lang="en-US" dirty="0"/>
          </a:p>
        </p:txBody>
      </p:sp>
      <p:sp>
        <p:nvSpPr>
          <p:cNvPr id="42" name="Picture Placeholder 2">
            <a:extLst>
              <a:ext uri="{FF2B5EF4-FFF2-40B4-BE49-F238E27FC236}">
                <a16:creationId xmlns:a16="http://schemas.microsoft.com/office/drawing/2014/main" id="{48548331-C398-0441-8680-2BC2E34EA6B7}"/>
              </a:ext>
            </a:extLst>
          </p:cNvPr>
          <p:cNvSpPr>
            <a:spLocks noGrp="1"/>
          </p:cNvSpPr>
          <p:nvPr>
            <p:ph type="pic" sz="quarter" idx="42"/>
          </p:nvPr>
        </p:nvSpPr>
        <p:spPr>
          <a:xfrm>
            <a:off x="7927464" y="3942630"/>
            <a:ext cx="1643869" cy="1058862"/>
          </a:xfrm>
          <a:prstGeom prst="rect">
            <a:avLst/>
          </a:prstGeom>
        </p:spPr>
        <p:txBody>
          <a:bodyPr/>
          <a:lstStyle/>
          <a:p>
            <a:endParaRPr lang="en-US" dirty="0"/>
          </a:p>
        </p:txBody>
      </p:sp>
      <p:sp>
        <p:nvSpPr>
          <p:cNvPr id="43" name="Picture Placeholder 2">
            <a:extLst>
              <a:ext uri="{FF2B5EF4-FFF2-40B4-BE49-F238E27FC236}">
                <a16:creationId xmlns:a16="http://schemas.microsoft.com/office/drawing/2014/main" id="{DD52C364-564D-1C4F-82AA-CD456091DD55}"/>
              </a:ext>
            </a:extLst>
          </p:cNvPr>
          <p:cNvSpPr>
            <a:spLocks noGrp="1"/>
          </p:cNvSpPr>
          <p:nvPr>
            <p:ph type="pic" sz="quarter" idx="43"/>
          </p:nvPr>
        </p:nvSpPr>
        <p:spPr>
          <a:xfrm>
            <a:off x="6632170" y="611157"/>
            <a:ext cx="1643869" cy="1058862"/>
          </a:xfrm>
          <a:prstGeom prst="rect">
            <a:avLst/>
          </a:prstGeom>
        </p:spPr>
        <p:txBody>
          <a:bodyPr/>
          <a:lstStyle/>
          <a:p>
            <a:endParaRPr lang="en-US" dirty="0"/>
          </a:p>
        </p:txBody>
      </p:sp>
      <p:sp>
        <p:nvSpPr>
          <p:cNvPr id="44" name="Text Placeholder 10">
            <a:extLst>
              <a:ext uri="{FF2B5EF4-FFF2-40B4-BE49-F238E27FC236}">
                <a16:creationId xmlns:a16="http://schemas.microsoft.com/office/drawing/2014/main" id="{34A5EC81-F5AA-BD4F-AD20-F610E3D2A6A9}"/>
              </a:ext>
            </a:extLst>
          </p:cNvPr>
          <p:cNvSpPr>
            <a:spLocks noGrp="1"/>
          </p:cNvSpPr>
          <p:nvPr>
            <p:ph type="body" sz="quarter" idx="44" hasCustomPrompt="1"/>
          </p:nvPr>
        </p:nvSpPr>
        <p:spPr>
          <a:xfrm>
            <a:off x="9759476"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45" name="Text Placeholder 12">
            <a:extLst>
              <a:ext uri="{FF2B5EF4-FFF2-40B4-BE49-F238E27FC236}">
                <a16:creationId xmlns:a16="http://schemas.microsoft.com/office/drawing/2014/main" id="{F8D452BD-BCAB-8E4B-8F90-5D25276410E3}"/>
              </a:ext>
            </a:extLst>
          </p:cNvPr>
          <p:cNvSpPr>
            <a:spLocks noGrp="1"/>
          </p:cNvSpPr>
          <p:nvPr>
            <p:ph type="body" sz="quarter" idx="45" hasCustomPrompt="1"/>
          </p:nvPr>
        </p:nvSpPr>
        <p:spPr>
          <a:xfrm>
            <a:off x="9759385"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46" name="Text Placeholder 10">
            <a:extLst>
              <a:ext uri="{FF2B5EF4-FFF2-40B4-BE49-F238E27FC236}">
                <a16:creationId xmlns:a16="http://schemas.microsoft.com/office/drawing/2014/main" id="{3C461A69-4097-4449-90FF-4E186AE70D69}"/>
              </a:ext>
            </a:extLst>
          </p:cNvPr>
          <p:cNvSpPr>
            <a:spLocks noGrp="1"/>
          </p:cNvSpPr>
          <p:nvPr>
            <p:ph type="body" sz="quarter" idx="46" hasCustomPrompt="1"/>
          </p:nvPr>
        </p:nvSpPr>
        <p:spPr>
          <a:xfrm>
            <a:off x="9759476"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a:t>Name Surname</a:t>
            </a:r>
          </a:p>
        </p:txBody>
      </p:sp>
      <p:sp>
        <p:nvSpPr>
          <p:cNvPr id="47" name="Text Placeholder 12">
            <a:extLst>
              <a:ext uri="{FF2B5EF4-FFF2-40B4-BE49-F238E27FC236}">
                <a16:creationId xmlns:a16="http://schemas.microsoft.com/office/drawing/2014/main" id="{8CF0C9D9-5593-DE4A-8CDE-70AC8BAEB3F3}"/>
              </a:ext>
            </a:extLst>
          </p:cNvPr>
          <p:cNvSpPr>
            <a:spLocks noGrp="1"/>
          </p:cNvSpPr>
          <p:nvPr>
            <p:ph type="body" sz="quarter" idx="47" hasCustomPrompt="1"/>
          </p:nvPr>
        </p:nvSpPr>
        <p:spPr>
          <a:xfrm>
            <a:off x="9759385"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a:t>Job title</a:t>
            </a:r>
            <a:endParaRPr lang="en-US"/>
          </a:p>
        </p:txBody>
      </p:sp>
      <p:sp>
        <p:nvSpPr>
          <p:cNvPr id="48" name="Picture Placeholder 2">
            <a:extLst>
              <a:ext uri="{FF2B5EF4-FFF2-40B4-BE49-F238E27FC236}">
                <a16:creationId xmlns:a16="http://schemas.microsoft.com/office/drawing/2014/main" id="{130CC36B-383B-694A-B2BC-DC26B0643A4B}"/>
              </a:ext>
            </a:extLst>
          </p:cNvPr>
          <p:cNvSpPr>
            <a:spLocks noGrp="1"/>
          </p:cNvSpPr>
          <p:nvPr>
            <p:ph type="pic" sz="quarter" idx="48"/>
          </p:nvPr>
        </p:nvSpPr>
        <p:spPr>
          <a:xfrm>
            <a:off x="9764216" y="2012178"/>
            <a:ext cx="1643869" cy="1058862"/>
          </a:xfrm>
          <a:prstGeom prst="rect">
            <a:avLst/>
          </a:prstGeom>
        </p:spPr>
        <p:txBody>
          <a:bodyPr/>
          <a:lstStyle/>
          <a:p>
            <a:endParaRPr lang="en-US" dirty="0"/>
          </a:p>
        </p:txBody>
      </p:sp>
      <p:sp>
        <p:nvSpPr>
          <p:cNvPr id="49" name="Picture Placeholder 2">
            <a:extLst>
              <a:ext uri="{FF2B5EF4-FFF2-40B4-BE49-F238E27FC236}">
                <a16:creationId xmlns:a16="http://schemas.microsoft.com/office/drawing/2014/main" id="{426D85E2-E3EC-D747-8E19-BC2E5FD68A65}"/>
              </a:ext>
            </a:extLst>
          </p:cNvPr>
          <p:cNvSpPr>
            <a:spLocks noGrp="1"/>
          </p:cNvSpPr>
          <p:nvPr>
            <p:ph type="pic" sz="quarter" idx="49"/>
          </p:nvPr>
        </p:nvSpPr>
        <p:spPr>
          <a:xfrm>
            <a:off x="9764216" y="3942630"/>
            <a:ext cx="1643869" cy="1058862"/>
          </a:xfrm>
          <a:prstGeom prst="rect">
            <a:avLst/>
          </a:prstGeom>
        </p:spPr>
        <p:txBody>
          <a:bodyPr/>
          <a:lstStyle/>
          <a:p>
            <a:endParaRPr lang="en-US" dirty="0"/>
          </a:p>
        </p:txBody>
      </p:sp>
      <p:pic>
        <p:nvPicPr>
          <p:cNvPr id="50" name="Picture 49">
            <a:extLst>
              <a:ext uri="{FF2B5EF4-FFF2-40B4-BE49-F238E27FC236}">
                <a16:creationId xmlns:a16="http://schemas.microsoft.com/office/drawing/2014/main" id="{4FAF91A6-FFE3-3C47-BB4D-3B6CAF6F3511}"/>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4602790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imation Placehol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tit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
        <p:nvSpPr>
          <p:cNvPr id="8" name="Media Placeholder 7">
            <a:extLst>
              <a:ext uri="{FF2B5EF4-FFF2-40B4-BE49-F238E27FC236}">
                <a16:creationId xmlns:a16="http://schemas.microsoft.com/office/drawing/2014/main" id="{79C68202-A54E-6A4D-B1AC-DE71B357A6EC}"/>
              </a:ext>
            </a:extLst>
          </p:cNvPr>
          <p:cNvSpPr>
            <a:spLocks noGrp="1"/>
          </p:cNvSpPr>
          <p:nvPr>
            <p:ph type="media" sz="quarter" idx="13"/>
          </p:nvPr>
        </p:nvSpPr>
        <p:spPr>
          <a:xfrm>
            <a:off x="3657600" y="1143000"/>
            <a:ext cx="7821613" cy="4400550"/>
          </a:xfrm>
          <a:prstGeom prst="rect">
            <a:avLst/>
          </a:prstGeom>
        </p:spPr>
        <p:txBody>
          <a:bodyPr/>
          <a:lstStyle/>
          <a:p>
            <a:endParaRPr lang="en-US" dirty="0"/>
          </a:p>
        </p:txBody>
      </p:sp>
    </p:spTree>
    <p:extLst>
      <p:ext uri="{BB962C8B-B14F-4D97-AF65-F5344CB8AC3E}">
        <p14:creationId xmlns:p14="http://schemas.microsoft.com/office/powerpoint/2010/main" val="39921671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_Copy_Bullet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BE0F4E-7F52-BF43-AF16-31579F5CC45F}"/>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8" name="Title 1">
            <a:extLst>
              <a:ext uri="{FF2B5EF4-FFF2-40B4-BE49-F238E27FC236}">
                <a16:creationId xmlns:a16="http://schemas.microsoft.com/office/drawing/2014/main" id="{5273F311-619C-EE41-937C-5749C9503E0D}"/>
              </a:ext>
            </a:extLst>
          </p:cNvPr>
          <p:cNvSpPr>
            <a:spLocks noGrp="1"/>
          </p:cNvSpPr>
          <p:nvPr>
            <p:ph type="title"/>
          </p:nvPr>
        </p:nvSpPr>
        <p:spPr>
          <a:xfrm>
            <a:off x="627025" y="560117"/>
            <a:ext cx="5043199" cy="1289948"/>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9" name="Text Placeholder 11">
            <a:extLst>
              <a:ext uri="{FF2B5EF4-FFF2-40B4-BE49-F238E27FC236}">
                <a16:creationId xmlns:a16="http://schemas.microsoft.com/office/drawing/2014/main" id="{40614858-C7E0-384B-835C-E29EEB6B5850}"/>
              </a:ext>
            </a:extLst>
          </p:cNvPr>
          <p:cNvSpPr>
            <a:spLocks noGrp="1"/>
          </p:cNvSpPr>
          <p:nvPr>
            <p:ph type="body" sz="quarter" idx="11"/>
          </p:nvPr>
        </p:nvSpPr>
        <p:spPr>
          <a:xfrm>
            <a:off x="627024" y="2410182"/>
            <a:ext cx="5043199" cy="2024936"/>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0" name="Text Placeholder 11">
            <a:extLst>
              <a:ext uri="{FF2B5EF4-FFF2-40B4-BE49-F238E27FC236}">
                <a16:creationId xmlns:a16="http://schemas.microsoft.com/office/drawing/2014/main" id="{09C47B6E-226B-D145-B819-97EEF7D88F7A}"/>
              </a:ext>
            </a:extLst>
          </p:cNvPr>
          <p:cNvSpPr>
            <a:spLocks noGrp="1"/>
          </p:cNvSpPr>
          <p:nvPr>
            <p:ph type="body" sz="quarter" idx="12"/>
          </p:nvPr>
        </p:nvSpPr>
        <p:spPr>
          <a:xfrm>
            <a:off x="627024" y="4595737"/>
            <a:ext cx="5043199" cy="228034"/>
          </a:xfrm>
          <a:prstGeom prst="rect">
            <a:avLst/>
          </a:prstGeom>
          <a:ln>
            <a:noFill/>
          </a:ln>
        </p:spPr>
        <p:txBody>
          <a:bodyPr/>
          <a:lstStyle>
            <a:lvl1pPr marL="0" indent="0">
              <a:buNone/>
              <a:defRPr sz="1200" b="1" i="1">
                <a:solidFill>
                  <a:srgbClr val="E75400"/>
                </a:solidFill>
                <a:latin typeface="Helvetica Neue LT Std 97 Black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60F38ADB-7D45-C04A-9FF2-6847299BBE4E}"/>
              </a:ext>
            </a:extLst>
          </p:cNvPr>
          <p:cNvSpPr>
            <a:spLocks noGrp="1"/>
          </p:cNvSpPr>
          <p:nvPr>
            <p:ph type="body" sz="quarter" idx="13"/>
          </p:nvPr>
        </p:nvSpPr>
        <p:spPr>
          <a:xfrm>
            <a:off x="627023" y="4978510"/>
            <a:ext cx="5043199" cy="867691"/>
          </a:xfrm>
          <a:prstGeom prst="rect">
            <a:avLst/>
          </a:prstGeom>
          <a:ln>
            <a:noFill/>
          </a:ln>
        </p:spPr>
        <p:txBody>
          <a:bodyPr numCol="2"/>
          <a:lstStyle>
            <a:lvl1pPr marL="285750" indent="-2857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20201E"/>
                </a:solidFill>
                <a:latin typeface="Helvetica Neue LT Std 45 Light" panose="020B0403020202020204" pitchFamily="34" charset="0"/>
              </a:defRPr>
            </a:lvl3pPr>
            <a:lvl4pPr marL="1371566" indent="0">
              <a:buFont typeface="Arial" panose="020B0604020202020204" pitchFamily="34" charset="0"/>
              <a:buNone/>
              <a:defRPr sz="1400" b="0" i="0">
                <a:solidFill>
                  <a:srgbClr val="20201E"/>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1" name="Picture 10">
            <a:extLst>
              <a:ext uri="{FF2B5EF4-FFF2-40B4-BE49-F238E27FC236}">
                <a16:creationId xmlns:a16="http://schemas.microsoft.com/office/drawing/2014/main" id="{06368F39-CE94-4F4E-BC80-9950DABBFD3A}"/>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97119866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arge Text _ Bullets">
    <p:spTree>
      <p:nvGrpSpPr>
        <p:cNvPr id="1" name=""/>
        <p:cNvGrpSpPr/>
        <p:nvPr/>
      </p:nvGrpSpPr>
      <p:grpSpPr>
        <a:xfrm>
          <a:off x="0" y="0"/>
          <a:ext cx="0" cy="0"/>
          <a:chOff x="0" y="0"/>
          <a:chExt cx="0" cy="0"/>
        </a:xfrm>
      </p:grpSpPr>
      <p:pic>
        <p:nvPicPr>
          <p:cNvPr id="4" name="Picture 3" descr="A person standing in front of a building&#10;&#10;Description automatically generated">
            <a:extLst>
              <a:ext uri="{FF2B5EF4-FFF2-40B4-BE49-F238E27FC236}">
                <a16:creationId xmlns:a16="http://schemas.microsoft.com/office/drawing/2014/main" id="{918ED66F-0EB9-EB4F-A569-6553307991A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50B05D63-EF16-2143-86ED-6E9D01BA1583}"/>
              </a:ext>
            </a:extLst>
          </p:cNvPr>
          <p:cNvSpPr>
            <a:spLocks noGrp="1"/>
          </p:cNvSpPr>
          <p:nvPr>
            <p:ph type="title" hasCustomPrompt="1"/>
          </p:nvPr>
        </p:nvSpPr>
        <p:spPr>
          <a:xfrm>
            <a:off x="-423332" y="1029439"/>
            <a:ext cx="5466532" cy="4822721"/>
          </a:xfrm>
          <a:prstGeom prst="rect">
            <a:avLst/>
          </a:prstGeom>
        </p:spPr>
        <p:txBody>
          <a:bodyPr anchor="t"/>
          <a:lstStyle>
            <a:lvl1pPr algn="r">
              <a:defRPr sz="8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a:t>
            </a:r>
            <a:endParaRPr lang="en-US"/>
          </a:p>
        </p:txBody>
      </p:sp>
      <p:sp>
        <p:nvSpPr>
          <p:cNvPr id="6" name="Text Placeholder 11">
            <a:extLst>
              <a:ext uri="{FF2B5EF4-FFF2-40B4-BE49-F238E27FC236}">
                <a16:creationId xmlns:a16="http://schemas.microsoft.com/office/drawing/2014/main" id="{7CB0A175-8000-8045-8A36-936A38EAF87E}"/>
              </a:ext>
            </a:extLst>
          </p:cNvPr>
          <p:cNvSpPr>
            <a:spLocks noGrp="1"/>
          </p:cNvSpPr>
          <p:nvPr>
            <p:ph type="body" sz="quarter" idx="12"/>
          </p:nvPr>
        </p:nvSpPr>
        <p:spPr>
          <a:xfrm>
            <a:off x="7603067" y="1363133"/>
            <a:ext cx="4199466" cy="4131734"/>
          </a:xfrm>
          <a:prstGeom prst="rect">
            <a:avLst/>
          </a:prstGeom>
          <a:ln>
            <a:noFill/>
          </a:ln>
        </p:spPr>
        <p:txBody>
          <a:bodyPr anchor="ctr"/>
          <a:lstStyle>
            <a:lvl1pPr marL="171450" indent="-171450">
              <a:buFont typeface="Arial" panose="020B0604020202020204" pitchFamily="34" charset="0"/>
              <a:buChar char="•"/>
              <a:defRPr sz="20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287671259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Large Text _ Bullets">
    <p:spTree>
      <p:nvGrpSpPr>
        <p:cNvPr id="1" name=""/>
        <p:cNvGrpSpPr/>
        <p:nvPr/>
      </p:nvGrpSpPr>
      <p:grpSpPr>
        <a:xfrm>
          <a:off x="0" y="0"/>
          <a:ext cx="0" cy="0"/>
          <a:chOff x="0" y="0"/>
          <a:chExt cx="0" cy="0"/>
        </a:xfrm>
      </p:grpSpPr>
      <p:pic>
        <p:nvPicPr>
          <p:cNvPr id="4" name="Picture 3" descr="A person standing in front of a building&#10;&#10;Description automatically generated">
            <a:extLst>
              <a:ext uri="{FF2B5EF4-FFF2-40B4-BE49-F238E27FC236}">
                <a16:creationId xmlns:a16="http://schemas.microsoft.com/office/drawing/2014/main" id="{918ED66F-0EB9-EB4F-A569-6553307991A4}"/>
              </a:ext>
            </a:extLst>
          </p:cNvPr>
          <p:cNvPicPr>
            <a:picLocks noChangeAspect="1"/>
          </p:cNvPicPr>
          <p:nvPr userDrawn="1"/>
        </p:nvPicPr>
        <p:blipFill>
          <a:blip r:embed="rId2"/>
          <a:stretch>
            <a:fillRect/>
          </a:stretch>
        </p:blipFill>
        <p:spPr>
          <a:xfrm>
            <a:off x="0" y="-315433"/>
            <a:ext cx="12192000" cy="6858000"/>
          </a:xfrm>
          <a:prstGeom prst="rect">
            <a:avLst/>
          </a:prstGeom>
        </p:spPr>
      </p:pic>
      <p:sp>
        <p:nvSpPr>
          <p:cNvPr id="5" name="Title 1">
            <a:extLst>
              <a:ext uri="{FF2B5EF4-FFF2-40B4-BE49-F238E27FC236}">
                <a16:creationId xmlns:a16="http://schemas.microsoft.com/office/drawing/2014/main" id="{50B05D63-EF16-2143-86ED-6E9D01BA1583}"/>
              </a:ext>
            </a:extLst>
          </p:cNvPr>
          <p:cNvSpPr>
            <a:spLocks noGrp="1"/>
          </p:cNvSpPr>
          <p:nvPr>
            <p:ph type="title" hasCustomPrompt="1"/>
          </p:nvPr>
        </p:nvSpPr>
        <p:spPr>
          <a:xfrm>
            <a:off x="-423332" y="714006"/>
            <a:ext cx="5466532" cy="4822721"/>
          </a:xfrm>
          <a:prstGeom prst="rect">
            <a:avLst/>
          </a:prstGeom>
        </p:spPr>
        <p:txBody>
          <a:bodyPr anchor="t"/>
          <a:lstStyle>
            <a:lvl1pPr algn="r">
              <a:defRPr sz="8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a:t>
            </a:r>
            <a:endParaRPr lang="en-US"/>
          </a:p>
        </p:txBody>
      </p:sp>
      <p:sp>
        <p:nvSpPr>
          <p:cNvPr id="6" name="Text Placeholder 11">
            <a:extLst>
              <a:ext uri="{FF2B5EF4-FFF2-40B4-BE49-F238E27FC236}">
                <a16:creationId xmlns:a16="http://schemas.microsoft.com/office/drawing/2014/main" id="{7CB0A175-8000-8045-8A36-936A38EAF87E}"/>
              </a:ext>
            </a:extLst>
          </p:cNvPr>
          <p:cNvSpPr>
            <a:spLocks noGrp="1"/>
          </p:cNvSpPr>
          <p:nvPr>
            <p:ph type="body" sz="quarter" idx="12"/>
          </p:nvPr>
        </p:nvSpPr>
        <p:spPr>
          <a:xfrm>
            <a:off x="7603067" y="1047700"/>
            <a:ext cx="4199466" cy="4131734"/>
          </a:xfrm>
          <a:prstGeom prst="rect">
            <a:avLst/>
          </a:prstGeom>
          <a:ln>
            <a:noFill/>
          </a:ln>
        </p:spPr>
        <p:txBody>
          <a:bodyPr anchor="ctr"/>
          <a:lstStyle>
            <a:lvl1pPr marL="171450" indent="-171450">
              <a:buFont typeface="Arial" panose="020B0604020202020204" pitchFamily="34" charset="0"/>
              <a:buChar char="•"/>
              <a:defRPr sz="20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8" name="Picture 7">
            <a:extLst>
              <a:ext uri="{FF2B5EF4-FFF2-40B4-BE49-F238E27FC236}">
                <a16:creationId xmlns:a16="http://schemas.microsoft.com/office/drawing/2014/main" id="{F79E518E-70F6-8E49-9723-BFE30CE5C2EE}"/>
              </a:ext>
            </a:extLst>
          </p:cNvPr>
          <p:cNvPicPr>
            <a:picLocks noChangeAspect="1"/>
          </p:cNvPicPr>
          <p:nvPr userDrawn="1"/>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18830052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Our Mission">
    <p:spTree>
      <p:nvGrpSpPr>
        <p:cNvPr id="1" name=""/>
        <p:cNvGrpSpPr/>
        <p:nvPr/>
      </p:nvGrpSpPr>
      <p:grpSpPr>
        <a:xfrm>
          <a:off x="0" y="0"/>
          <a:ext cx="0" cy="0"/>
          <a:chOff x="0" y="0"/>
          <a:chExt cx="0" cy="0"/>
        </a:xfrm>
      </p:grpSpPr>
      <p:pic>
        <p:nvPicPr>
          <p:cNvPr id="4" name="Picture 3" descr="A picture containing food&#10;&#10;Description automatically generated">
            <a:extLst>
              <a:ext uri="{FF2B5EF4-FFF2-40B4-BE49-F238E27FC236}">
                <a16:creationId xmlns:a16="http://schemas.microsoft.com/office/drawing/2014/main" id="{8881344E-252E-1646-BC72-BAFC365E04B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603C7099-7BDF-EF49-AD35-BAF172AFBFE7}"/>
              </a:ext>
            </a:extLst>
          </p:cNvPr>
          <p:cNvSpPr>
            <a:spLocks noGrp="1"/>
          </p:cNvSpPr>
          <p:nvPr>
            <p:ph type="title"/>
          </p:nvPr>
        </p:nvSpPr>
        <p:spPr>
          <a:xfrm>
            <a:off x="3910848" y="4353172"/>
            <a:ext cx="4419336" cy="1480071"/>
          </a:xfrm>
          <a:prstGeom prst="rect">
            <a:avLst/>
          </a:prstGeom>
        </p:spPr>
        <p:txBody>
          <a:bodyPr anchor="t"/>
          <a:lstStyle>
            <a:lvl1pPr algn="ctr">
              <a:defRPr sz="1600" b="0" i="0">
                <a:solidFill>
                  <a:schemeClr val="bg1"/>
                </a:solidFill>
                <a:latin typeface="Helvetica Neue LT Std 55 Roman"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7" name="Picture 6">
            <a:extLst>
              <a:ext uri="{FF2B5EF4-FFF2-40B4-BE49-F238E27FC236}">
                <a16:creationId xmlns:a16="http://schemas.microsoft.com/office/drawing/2014/main" id="{11B3CE16-AED8-D449-954F-27C6FCF21077}"/>
              </a:ext>
            </a:extLst>
          </p:cNvPr>
          <p:cNvPicPr>
            <a:picLocks noChangeAspect="1"/>
          </p:cNvPicPr>
          <p:nvPr userDrawn="1"/>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39350944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uccess 202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65DB93-84BA-6F4E-867A-6C9DDF392ED2}"/>
              </a:ext>
            </a:extLst>
          </p:cNvPr>
          <p:cNvPicPr>
            <a:picLocks noChangeAspect="1"/>
          </p:cNvPicPr>
          <p:nvPr userDrawn="1"/>
        </p:nvPicPr>
        <p:blipFill>
          <a:blip r:embed="rId2"/>
          <a:srcRect/>
          <a:stretch/>
        </p:blipFill>
        <p:spPr>
          <a:xfrm>
            <a:off x="0" y="14088"/>
            <a:ext cx="12192000" cy="6843912"/>
          </a:xfrm>
          <a:prstGeom prst="rect">
            <a:avLst/>
          </a:prstGeom>
        </p:spPr>
      </p:pic>
      <p:sp>
        <p:nvSpPr>
          <p:cNvPr id="3" name="Title 1">
            <a:extLst>
              <a:ext uri="{FF2B5EF4-FFF2-40B4-BE49-F238E27FC236}">
                <a16:creationId xmlns:a16="http://schemas.microsoft.com/office/drawing/2014/main" id="{D55661EB-4104-4747-B2EB-2D0E05A2DD4D}"/>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a:t>
            </a:r>
            <a:endParaRPr lang="en-US"/>
          </a:p>
        </p:txBody>
      </p:sp>
      <p:sp>
        <p:nvSpPr>
          <p:cNvPr id="8" name="Text Placeholder 11">
            <a:extLst>
              <a:ext uri="{FF2B5EF4-FFF2-40B4-BE49-F238E27FC236}">
                <a16:creationId xmlns:a16="http://schemas.microsoft.com/office/drawing/2014/main" id="{4CCEDE6E-3C12-1C43-A880-0B6F1300F28C}"/>
              </a:ext>
            </a:extLst>
          </p:cNvPr>
          <p:cNvSpPr>
            <a:spLocks noGrp="1"/>
          </p:cNvSpPr>
          <p:nvPr>
            <p:ph type="body" sz="quarter" idx="11"/>
          </p:nvPr>
        </p:nvSpPr>
        <p:spPr>
          <a:xfrm>
            <a:off x="968440"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3" name="Text Placeholder 12">
            <a:extLst>
              <a:ext uri="{FF2B5EF4-FFF2-40B4-BE49-F238E27FC236}">
                <a16:creationId xmlns:a16="http://schemas.microsoft.com/office/drawing/2014/main" id="{CE6029B3-1496-8845-A0B4-692DF4171963}"/>
              </a:ext>
            </a:extLst>
          </p:cNvPr>
          <p:cNvSpPr>
            <a:spLocks noGrp="1"/>
          </p:cNvSpPr>
          <p:nvPr>
            <p:ph type="body" sz="quarter" idx="15"/>
          </p:nvPr>
        </p:nvSpPr>
        <p:spPr>
          <a:xfrm>
            <a:off x="1573212" y="1198563"/>
            <a:ext cx="3968051" cy="620712"/>
          </a:xfrm>
          <a:prstGeom prst="rect">
            <a:avLst/>
          </a:prstGeom>
        </p:spPr>
        <p:txBody>
          <a:bodyPr/>
          <a:lstStyle>
            <a:lvl1pPr marL="0" indent="0">
              <a:buNone/>
              <a:defRPr sz="2200" b="0" i="0">
                <a:solidFill>
                  <a:srgbClr val="FFBF22"/>
                </a:solidFill>
                <a:latin typeface="Helvetica Neue LT Std 65 Medium" panose="020B0604020202020204" pitchFamily="34" charset="0"/>
              </a:defRPr>
            </a:lvl1pPr>
            <a:lvl2pPr marL="457189" indent="0">
              <a:buNone/>
              <a:defRPr b="0" i="0">
                <a:solidFill>
                  <a:srgbClr val="E8BC28"/>
                </a:solidFill>
                <a:latin typeface="Helvetica Neue LT Std 65 Medium" panose="020B0604020202020204" pitchFamily="34" charset="0"/>
              </a:defRPr>
            </a:lvl2pPr>
            <a:lvl3pPr marL="914377" indent="0">
              <a:buNone/>
              <a:defRPr b="0" i="0">
                <a:solidFill>
                  <a:srgbClr val="E8BC28"/>
                </a:solidFill>
                <a:latin typeface="Helvetica Neue LT Std 65 Medium" panose="020B0604020202020204" pitchFamily="34" charset="0"/>
              </a:defRPr>
            </a:lvl3pPr>
            <a:lvl4pPr marL="1371566" indent="0">
              <a:buNone/>
              <a:defRPr b="0" i="0">
                <a:solidFill>
                  <a:srgbClr val="E8BC28"/>
                </a:solidFill>
                <a:latin typeface="Helvetica Neue LT Std 65 Medium" panose="020B0604020202020204" pitchFamily="34" charset="0"/>
              </a:defRPr>
            </a:lvl4pPr>
            <a:lvl5pPr marL="1828755" indent="0">
              <a:buNone/>
              <a:defRPr b="0" i="0">
                <a:solidFill>
                  <a:srgbClr val="E8BC28"/>
                </a:solidFill>
                <a:latin typeface="Helvetica Neue LT Std 65 Medium" panose="020B0604020202020204" pitchFamily="34" charset="0"/>
              </a:defRPr>
            </a:lvl5pPr>
          </a:lstStyle>
          <a:p>
            <a:pPr lvl="0"/>
            <a:r>
              <a:rPr lang="en-GB"/>
              <a:t>Click to edit Master</a:t>
            </a:r>
            <a:endParaRPr lang="en-US"/>
          </a:p>
        </p:txBody>
      </p:sp>
      <p:pic>
        <p:nvPicPr>
          <p:cNvPr id="12" name="Picture 11">
            <a:extLst>
              <a:ext uri="{FF2B5EF4-FFF2-40B4-BE49-F238E27FC236}">
                <a16:creationId xmlns:a16="http://schemas.microsoft.com/office/drawing/2014/main" id="{F7F9FA82-BB7B-3442-B78C-206C929B4ECB}"/>
              </a:ext>
            </a:extLst>
          </p:cNvPr>
          <p:cNvPicPr>
            <a:picLocks noChangeAspect="1"/>
          </p:cNvPicPr>
          <p:nvPr userDrawn="1"/>
        </p:nvPicPr>
        <p:blipFill>
          <a:blip r:embed="rId3"/>
          <a:stretch>
            <a:fillRect/>
          </a:stretch>
        </p:blipFill>
        <p:spPr>
          <a:xfrm>
            <a:off x="0" y="5816600"/>
            <a:ext cx="12192000" cy="1041400"/>
          </a:xfrm>
          <a:prstGeom prst="rect">
            <a:avLst/>
          </a:prstGeom>
        </p:spPr>
      </p:pic>
      <p:sp>
        <p:nvSpPr>
          <p:cNvPr id="14" name="Text Placeholder 11">
            <a:extLst>
              <a:ext uri="{FF2B5EF4-FFF2-40B4-BE49-F238E27FC236}">
                <a16:creationId xmlns:a16="http://schemas.microsoft.com/office/drawing/2014/main" id="{89013AE0-A7CE-7547-8EEA-81CCF43E43E2}"/>
              </a:ext>
            </a:extLst>
          </p:cNvPr>
          <p:cNvSpPr>
            <a:spLocks noGrp="1"/>
          </p:cNvSpPr>
          <p:nvPr>
            <p:ph type="body" sz="quarter" idx="16"/>
          </p:nvPr>
        </p:nvSpPr>
        <p:spPr>
          <a:xfrm>
            <a:off x="6427195"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5" name="Text Placeholder 11">
            <a:extLst>
              <a:ext uri="{FF2B5EF4-FFF2-40B4-BE49-F238E27FC236}">
                <a16:creationId xmlns:a16="http://schemas.microsoft.com/office/drawing/2014/main" id="{9CD27893-F0D0-1A45-9332-495EA803DFB0}"/>
              </a:ext>
            </a:extLst>
          </p:cNvPr>
          <p:cNvSpPr>
            <a:spLocks noGrp="1"/>
          </p:cNvSpPr>
          <p:nvPr>
            <p:ph type="body" sz="quarter" idx="17"/>
          </p:nvPr>
        </p:nvSpPr>
        <p:spPr>
          <a:xfrm>
            <a:off x="3732860" y="4873750"/>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6" name="Text Placeholder 11">
            <a:extLst>
              <a:ext uri="{FF2B5EF4-FFF2-40B4-BE49-F238E27FC236}">
                <a16:creationId xmlns:a16="http://schemas.microsoft.com/office/drawing/2014/main" id="{993E37F8-8A43-B148-B157-E7E2E1E6C38C}"/>
              </a:ext>
            </a:extLst>
          </p:cNvPr>
          <p:cNvSpPr>
            <a:spLocks noGrp="1"/>
          </p:cNvSpPr>
          <p:nvPr>
            <p:ph type="body" sz="quarter" idx="18"/>
          </p:nvPr>
        </p:nvSpPr>
        <p:spPr>
          <a:xfrm>
            <a:off x="9173817"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34229463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4" name="Picture 3" descr="A picture containing table&#10;&#10;Description automatically generated">
            <a:extLst>
              <a:ext uri="{FF2B5EF4-FFF2-40B4-BE49-F238E27FC236}">
                <a16:creationId xmlns:a16="http://schemas.microsoft.com/office/drawing/2014/main" id="{1234C049-7FBE-5B46-833A-66DEB25DA9CF}"/>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F7F9FA82-BB7B-3442-B78C-206C929B4ECB}"/>
              </a:ext>
            </a:extLst>
          </p:cNvPr>
          <p:cNvPicPr>
            <a:picLocks noChangeAspect="1"/>
          </p:cNvPicPr>
          <p:nvPr userDrawn="1"/>
        </p:nvPicPr>
        <p:blipFill>
          <a:blip r:embed="rId3"/>
          <a:stretch>
            <a:fillRect/>
          </a:stretch>
        </p:blipFill>
        <p:spPr>
          <a:xfrm>
            <a:off x="0" y="5816600"/>
            <a:ext cx="12192000" cy="1041400"/>
          </a:xfrm>
          <a:prstGeom prst="rect">
            <a:avLst/>
          </a:prstGeom>
        </p:spPr>
      </p:pic>
      <p:sp>
        <p:nvSpPr>
          <p:cNvPr id="14" name="Text Placeholder 11">
            <a:extLst>
              <a:ext uri="{FF2B5EF4-FFF2-40B4-BE49-F238E27FC236}">
                <a16:creationId xmlns:a16="http://schemas.microsoft.com/office/drawing/2014/main" id="{E7F5ABC0-2EBF-7E4B-8636-DA45497EE8B7}"/>
              </a:ext>
            </a:extLst>
          </p:cNvPr>
          <p:cNvSpPr>
            <a:spLocks noGrp="1"/>
          </p:cNvSpPr>
          <p:nvPr>
            <p:ph type="body" sz="quarter" idx="11"/>
          </p:nvPr>
        </p:nvSpPr>
        <p:spPr>
          <a:xfrm>
            <a:off x="627025" y="1439107"/>
            <a:ext cx="4754880" cy="1288051"/>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5" name="Title 1">
            <a:extLst>
              <a:ext uri="{FF2B5EF4-FFF2-40B4-BE49-F238E27FC236}">
                <a16:creationId xmlns:a16="http://schemas.microsoft.com/office/drawing/2014/main" id="{4F259E3B-5DA7-3643-B801-D0107A195AB3}"/>
              </a:ext>
            </a:extLst>
          </p:cNvPr>
          <p:cNvSpPr>
            <a:spLocks noGrp="1"/>
          </p:cNvSpPr>
          <p:nvPr>
            <p:ph type="title"/>
          </p:nvPr>
        </p:nvSpPr>
        <p:spPr>
          <a:xfrm>
            <a:off x="627025" y="560117"/>
            <a:ext cx="8292386"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Tree>
    <p:extLst>
      <p:ext uri="{BB962C8B-B14F-4D97-AF65-F5344CB8AC3E}">
        <p14:creationId xmlns:p14="http://schemas.microsoft.com/office/powerpoint/2010/main" val="41535659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con_3Col_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3190240" y="2298492"/>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3190240" y="3141702"/>
            <a:ext cx="8371840" cy="2111018"/>
          </a:xfrm>
          <a:prstGeom prst="rect">
            <a:avLst/>
          </a:prstGeom>
          <a:ln>
            <a:noFill/>
          </a:ln>
        </p:spPr>
        <p:txBody>
          <a:bodyPr numCol="3"/>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dirty="0"/>
          </a:p>
        </p:txBody>
      </p:sp>
      <p:pic>
        <p:nvPicPr>
          <p:cNvPr id="8" name="Picture 7">
            <a:extLst>
              <a:ext uri="{FF2B5EF4-FFF2-40B4-BE49-F238E27FC236}">
                <a16:creationId xmlns:a16="http://schemas.microsoft.com/office/drawing/2014/main" id="{DD96DC6F-FF1C-6F4E-AACA-B51C09D5C5E9}"/>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64686145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_Intro_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6433842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_Intro_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4605965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_Intro_Copyx3">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592143"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59214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userDrawn="1"/>
        </p:nvPicPr>
        <p:blipFill>
          <a:blip r:embed="rId2"/>
          <a:stretch>
            <a:fillRect/>
          </a:stretch>
        </p:blipFill>
        <p:spPr>
          <a:xfrm>
            <a:off x="0" y="5816600"/>
            <a:ext cx="12192000" cy="1041400"/>
          </a:xfrm>
          <a:prstGeom prst="rect">
            <a:avLst/>
          </a:prstGeom>
        </p:spPr>
      </p:pic>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444651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9" name="Text Placeholder 11">
            <a:extLst>
              <a:ext uri="{FF2B5EF4-FFF2-40B4-BE49-F238E27FC236}">
                <a16:creationId xmlns:a16="http://schemas.microsoft.com/office/drawing/2014/main" id="{E16F508C-C8C7-E649-9929-A87F4FD3E22F}"/>
              </a:ext>
            </a:extLst>
          </p:cNvPr>
          <p:cNvSpPr>
            <a:spLocks noGrp="1"/>
          </p:cNvSpPr>
          <p:nvPr>
            <p:ph type="body" sz="quarter" idx="14"/>
          </p:nvPr>
        </p:nvSpPr>
        <p:spPr>
          <a:xfrm>
            <a:off x="8300882"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434938"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3" name="Text Placeholder 11">
            <a:extLst>
              <a:ext uri="{FF2B5EF4-FFF2-40B4-BE49-F238E27FC236}">
                <a16:creationId xmlns:a16="http://schemas.microsoft.com/office/drawing/2014/main" id="{DE8310A5-8F15-B846-BB45-B7B8D709FBE8}"/>
              </a:ext>
            </a:extLst>
          </p:cNvPr>
          <p:cNvSpPr>
            <a:spLocks noGrp="1"/>
          </p:cNvSpPr>
          <p:nvPr>
            <p:ph type="body" sz="quarter" idx="16"/>
          </p:nvPr>
        </p:nvSpPr>
        <p:spPr>
          <a:xfrm>
            <a:off x="8300882"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36802977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imation Placehol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B0CA34-0058-9047-AA94-D2A25CB49EF4}"/>
              </a:ext>
            </a:extLst>
          </p:cNvPr>
          <p:cNvSpPr>
            <a:spLocks noGrp="1"/>
          </p:cNvSpPr>
          <p:nvPr>
            <p:ph type="pic" sz="quarter" idx="14"/>
          </p:nvPr>
        </p:nvSpPr>
        <p:spPr>
          <a:xfrm>
            <a:off x="3657600" y="1143000"/>
            <a:ext cx="7821613" cy="4400550"/>
          </a:xfrm>
          <a:prstGeom prst="rect">
            <a:avLst/>
          </a:prstGeom>
        </p:spPr>
        <p:txBody>
          <a:bodyPr/>
          <a:lstStyle/>
          <a:p>
            <a:endParaRPr lang="en-US" dirty="0"/>
          </a:p>
        </p:txBody>
      </p:sp>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tit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1A4F0A92-2974-664A-A5A9-D7D655F91B0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03686052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tro_Bullet_Pictur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userDrawn="1"/>
        </p:nvPicPr>
        <p:blipFill>
          <a:blip r:embed="rId2"/>
          <a:stretch>
            <a:fillRect/>
          </a:stretch>
        </p:blipFill>
        <p:spPr>
          <a:xfrm>
            <a:off x="0" y="5816600"/>
            <a:ext cx="12192000" cy="1041400"/>
          </a:xfrm>
          <a:prstGeom prst="rect">
            <a:avLst/>
          </a:prstGeom>
        </p:spPr>
      </p:pic>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509098" y="3758494"/>
            <a:ext cx="4743305" cy="1762631"/>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97523" y="3175722"/>
            <a:ext cx="2764515"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14" name="Picture Placeholder 8">
            <a:extLst>
              <a:ext uri="{FF2B5EF4-FFF2-40B4-BE49-F238E27FC236}">
                <a16:creationId xmlns:a16="http://schemas.microsoft.com/office/drawing/2014/main" id="{DD16F5DD-B45A-ED4E-8E7E-33263E4BB0FD}"/>
              </a:ext>
            </a:extLst>
          </p:cNvPr>
          <p:cNvSpPr>
            <a:spLocks noGrp="1"/>
          </p:cNvSpPr>
          <p:nvPr>
            <p:ph type="pic" sz="quarter" idx="16"/>
          </p:nvPr>
        </p:nvSpPr>
        <p:spPr>
          <a:xfrm>
            <a:off x="6287075" y="780175"/>
            <a:ext cx="5395827" cy="4740950"/>
          </a:xfrm>
          <a:prstGeom prst="rect">
            <a:avLst/>
          </a:prstGeom>
        </p:spPr>
        <p:txBody>
          <a:bodyPr/>
          <a:lstStyle/>
          <a:p>
            <a:endParaRPr lang="en-US" dirty="0"/>
          </a:p>
        </p:txBody>
      </p:sp>
      <p:sp>
        <p:nvSpPr>
          <p:cNvPr id="16" name="Text Placeholder 11">
            <a:extLst>
              <a:ext uri="{FF2B5EF4-FFF2-40B4-BE49-F238E27FC236}">
                <a16:creationId xmlns:a16="http://schemas.microsoft.com/office/drawing/2014/main" id="{F13ADBC8-7EAF-6F47-94A8-57843CEAD9D0}"/>
              </a:ext>
            </a:extLst>
          </p:cNvPr>
          <p:cNvSpPr>
            <a:spLocks noGrp="1"/>
          </p:cNvSpPr>
          <p:nvPr>
            <p:ph type="body" sz="quarter" idx="17"/>
          </p:nvPr>
        </p:nvSpPr>
        <p:spPr>
          <a:xfrm>
            <a:off x="497523" y="2298492"/>
            <a:ext cx="5043198"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30432699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userDrawn="1"/>
        </p:nvPicPr>
        <p:blipFill>
          <a:blip r:embed="rId2"/>
          <a:stretch>
            <a:fillRect/>
          </a:stretch>
        </p:blipFill>
        <p:spPr>
          <a:xfrm>
            <a:off x="0" y="5816600"/>
            <a:ext cx="12192000" cy="1041400"/>
          </a:xfrm>
          <a:prstGeom prst="rect">
            <a:avLst/>
          </a:prstGeom>
        </p:spPr>
      </p:pic>
      <p:sp>
        <p:nvSpPr>
          <p:cNvPr id="3" name="Table Placeholder 2">
            <a:extLst>
              <a:ext uri="{FF2B5EF4-FFF2-40B4-BE49-F238E27FC236}">
                <a16:creationId xmlns:a16="http://schemas.microsoft.com/office/drawing/2014/main" id="{2BDEBFE9-838E-194F-A633-0E7ABCE7BD1D}"/>
              </a:ext>
            </a:extLst>
          </p:cNvPr>
          <p:cNvSpPr>
            <a:spLocks noGrp="1"/>
          </p:cNvSpPr>
          <p:nvPr>
            <p:ph type="tbl" sz="quarter" idx="10"/>
          </p:nvPr>
        </p:nvSpPr>
        <p:spPr>
          <a:xfrm>
            <a:off x="496888" y="1555750"/>
            <a:ext cx="11064875" cy="3983038"/>
          </a:xfrm>
          <a:prstGeom prst="rect">
            <a:avLst/>
          </a:prstGeom>
          <a:noFill/>
        </p:spPr>
        <p:txBody>
          <a:bodyPr/>
          <a:lstStyle/>
          <a:p>
            <a:endParaRPr lang="en-US" dirty="0"/>
          </a:p>
        </p:txBody>
      </p:sp>
    </p:spTree>
    <p:extLst>
      <p:ext uri="{BB962C8B-B14F-4D97-AF65-F5344CB8AC3E}">
        <p14:creationId xmlns:p14="http://schemas.microsoft.com/office/powerpoint/2010/main" val="54977242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rgbClr val="20201E"/>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4" name="Picture 3">
            <a:extLst>
              <a:ext uri="{FF2B5EF4-FFF2-40B4-BE49-F238E27FC236}">
                <a16:creationId xmlns:a16="http://schemas.microsoft.com/office/drawing/2014/main" id="{1A4F0A92-2974-664A-A5A9-D7D655F91B0C}"/>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6834492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nimation Placehol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tit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4" name="Picture 3">
            <a:extLst>
              <a:ext uri="{FF2B5EF4-FFF2-40B4-BE49-F238E27FC236}">
                <a16:creationId xmlns:a16="http://schemas.microsoft.com/office/drawing/2014/main" id="{1A4F0A92-2974-664A-A5A9-D7D655F91B0C}"/>
              </a:ext>
            </a:extLst>
          </p:cNvPr>
          <p:cNvPicPr>
            <a:picLocks noChangeAspect="1"/>
          </p:cNvPicPr>
          <p:nvPr userDrawn="1"/>
        </p:nvPicPr>
        <p:blipFill>
          <a:blip r:embed="rId2"/>
          <a:stretch>
            <a:fillRect/>
          </a:stretch>
        </p:blipFill>
        <p:spPr>
          <a:xfrm>
            <a:off x="0" y="5816600"/>
            <a:ext cx="12192000" cy="1041400"/>
          </a:xfrm>
          <a:prstGeom prst="rect">
            <a:avLst/>
          </a:prstGeom>
        </p:spPr>
      </p:pic>
      <p:sp>
        <p:nvSpPr>
          <p:cNvPr id="8" name="Media Placeholder 7">
            <a:extLst>
              <a:ext uri="{FF2B5EF4-FFF2-40B4-BE49-F238E27FC236}">
                <a16:creationId xmlns:a16="http://schemas.microsoft.com/office/drawing/2014/main" id="{79C68202-A54E-6A4D-B1AC-DE71B357A6EC}"/>
              </a:ext>
            </a:extLst>
          </p:cNvPr>
          <p:cNvSpPr>
            <a:spLocks noGrp="1"/>
          </p:cNvSpPr>
          <p:nvPr>
            <p:ph type="media" sz="quarter" idx="13"/>
          </p:nvPr>
        </p:nvSpPr>
        <p:spPr>
          <a:xfrm>
            <a:off x="3657600" y="1143000"/>
            <a:ext cx="7821613" cy="4400550"/>
          </a:xfrm>
          <a:prstGeom prst="rect">
            <a:avLst/>
          </a:prstGeom>
        </p:spPr>
        <p:txBody>
          <a:bodyPr/>
          <a:lstStyle/>
          <a:p>
            <a:endParaRPr lang="en-US" dirty="0"/>
          </a:p>
        </p:txBody>
      </p:sp>
    </p:spTree>
    <p:extLst>
      <p:ext uri="{BB962C8B-B14F-4D97-AF65-F5344CB8AC3E}">
        <p14:creationId xmlns:p14="http://schemas.microsoft.com/office/powerpoint/2010/main" val="12447392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Animation Placeholder">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CB0CA34-0058-9047-AA94-D2A25CB49EF4}"/>
              </a:ext>
            </a:extLst>
          </p:cNvPr>
          <p:cNvSpPr>
            <a:spLocks noGrp="1"/>
          </p:cNvSpPr>
          <p:nvPr>
            <p:ph type="pic" sz="quarter" idx="14"/>
          </p:nvPr>
        </p:nvSpPr>
        <p:spPr>
          <a:xfrm>
            <a:off x="3657600" y="1143000"/>
            <a:ext cx="7821613" cy="4400550"/>
          </a:xfrm>
          <a:prstGeom prst="rect">
            <a:avLst/>
          </a:prstGeom>
        </p:spPr>
        <p:txBody>
          <a:bodyPr/>
          <a:lstStyle/>
          <a:p>
            <a:endParaRPr lang="en-US" dirty="0"/>
          </a:p>
        </p:txBody>
      </p:sp>
      <p:sp>
        <p:nvSpPr>
          <p:cNvPr id="5" name="Title 1">
            <a:extLst>
              <a:ext uri="{FF2B5EF4-FFF2-40B4-BE49-F238E27FC236}">
                <a16:creationId xmlns:a16="http://schemas.microsoft.com/office/drawing/2014/main" id="{A97B6A48-DC40-E440-8A19-26BB129D6623}"/>
              </a:ext>
            </a:extLst>
          </p:cNvPr>
          <p:cNvSpPr>
            <a:spLocks noGrp="1"/>
          </p:cNvSpPr>
          <p:nvPr>
            <p:ph type="title" hasCustomPrompt="1"/>
          </p:nvPr>
        </p:nvSpPr>
        <p:spPr>
          <a:xfrm>
            <a:off x="639066" y="368728"/>
            <a:ext cx="5043199" cy="637747"/>
          </a:xfrm>
          <a:prstGeom prst="rect">
            <a:avLst/>
          </a:prstGeom>
        </p:spPr>
        <p:txBody>
          <a:bodyPr anchor="t"/>
          <a:lstStyle>
            <a:lvl1pPr>
              <a:defRPr sz="20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tit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639066" y="1143000"/>
            <a:ext cx="2553170" cy="4400550"/>
          </a:xfrm>
          <a:prstGeom prst="rect">
            <a:avLst/>
          </a:prstGeom>
          <a:ln>
            <a:noFill/>
          </a:ln>
        </p:spPr>
        <p:txBody>
          <a:bodyPr numCol="1"/>
          <a:lstStyle>
            <a:lvl1pPr marL="0" indent="0">
              <a:buNone/>
              <a:defRPr sz="1200" b="0" i="0">
                <a:solidFill>
                  <a:schemeClr val="tx1">
                    <a:lumMod val="65000"/>
                    <a:lumOff val="35000"/>
                  </a:schemeClr>
                </a:solidFill>
                <a:latin typeface="Helvetica Neue Light" pitchFamily="2"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4" name="Picture 3">
            <a:extLst>
              <a:ext uri="{FF2B5EF4-FFF2-40B4-BE49-F238E27FC236}">
                <a16:creationId xmlns:a16="http://schemas.microsoft.com/office/drawing/2014/main" id="{1A4F0A92-2974-664A-A5A9-D7D655F91B0C}"/>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72332057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Tree>
    <p:extLst>
      <p:ext uri="{BB962C8B-B14F-4D97-AF65-F5344CB8AC3E}">
        <p14:creationId xmlns:p14="http://schemas.microsoft.com/office/powerpoint/2010/main" val="147594858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YellowBG_4Col_Copy">
    <p:bg>
      <p:bgPr>
        <a:solidFill>
          <a:srgbClr val="FFCE2C"/>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44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731520" y="3141703"/>
            <a:ext cx="10769600" cy="424458"/>
          </a:xfrm>
          <a:prstGeom prst="rect">
            <a:avLst/>
          </a:prstGeom>
          <a:ln>
            <a:noFill/>
          </a:ln>
        </p:spPr>
        <p:txBody>
          <a:bodyPr numCol="5" spcCol="180000"/>
          <a:lstStyle>
            <a:lvl1pPr marL="0" indent="0">
              <a:buNone/>
              <a:defRPr sz="12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dirty="0"/>
          </a:p>
        </p:txBody>
      </p:sp>
      <p:sp>
        <p:nvSpPr>
          <p:cNvPr id="8" name="Text Placeholder 11">
            <a:extLst>
              <a:ext uri="{FF2B5EF4-FFF2-40B4-BE49-F238E27FC236}">
                <a16:creationId xmlns:a16="http://schemas.microsoft.com/office/drawing/2014/main" id="{A06DA923-E6F8-0C40-AB87-1C790FDFB57B}"/>
              </a:ext>
            </a:extLst>
          </p:cNvPr>
          <p:cNvSpPr>
            <a:spLocks noGrp="1"/>
          </p:cNvSpPr>
          <p:nvPr>
            <p:ph type="body" sz="quarter" idx="14"/>
          </p:nvPr>
        </p:nvSpPr>
        <p:spPr>
          <a:xfrm>
            <a:off x="731520" y="3613316"/>
            <a:ext cx="10769600" cy="1161287"/>
          </a:xfrm>
          <a:prstGeom prst="rect">
            <a:avLst/>
          </a:prstGeom>
          <a:ln>
            <a:noFill/>
          </a:ln>
        </p:spPr>
        <p:txBody>
          <a:bodyPr numCol="5" spcCol="180000"/>
          <a:lstStyle>
            <a:lvl1pPr marL="0" indent="0">
              <a:buNone/>
              <a:defRPr sz="1200" b="0" i="0">
                <a:solidFill>
                  <a:schemeClr val="bg1"/>
                </a:solidFill>
                <a:latin typeface="Helvetica Neue LT Std 55 Roman"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10" name="Picture 9">
            <a:extLst>
              <a:ext uri="{FF2B5EF4-FFF2-40B4-BE49-F238E27FC236}">
                <a16:creationId xmlns:a16="http://schemas.microsoft.com/office/drawing/2014/main" id="{64A1F1FB-7E9F-194E-B5B6-585CAF3C3674}"/>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43896938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2_colum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5F6C26-F6B7-524C-A2DE-8D5D05800874}"/>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a:t>Click to edit Master title style</a:t>
            </a:r>
            <a:endParaRPr lang="en-US"/>
          </a:p>
        </p:txBody>
      </p:sp>
      <p:sp>
        <p:nvSpPr>
          <p:cNvPr id="5" name="Text Placeholder 11">
            <a:extLst>
              <a:ext uri="{FF2B5EF4-FFF2-40B4-BE49-F238E27FC236}">
                <a16:creationId xmlns:a16="http://schemas.microsoft.com/office/drawing/2014/main" id="{96A35149-E325-934F-831D-58E063CAB1F5}"/>
              </a:ext>
            </a:extLst>
          </p:cNvPr>
          <p:cNvSpPr>
            <a:spLocks noGrp="1"/>
          </p:cNvSpPr>
          <p:nvPr>
            <p:ph type="body" sz="quarter" idx="12"/>
          </p:nvPr>
        </p:nvSpPr>
        <p:spPr>
          <a:xfrm>
            <a:off x="627025" y="2123440"/>
            <a:ext cx="6738975" cy="3454400"/>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a:p>
        </p:txBody>
      </p:sp>
      <p:pic>
        <p:nvPicPr>
          <p:cNvPr id="6" name="Picture 5">
            <a:extLst>
              <a:ext uri="{FF2B5EF4-FFF2-40B4-BE49-F238E27FC236}">
                <a16:creationId xmlns:a16="http://schemas.microsoft.com/office/drawing/2014/main" id="{3D551E60-DCC7-4A4D-A003-7BFB85876EA6}"/>
              </a:ext>
            </a:extLst>
          </p:cNvPr>
          <p:cNvPicPr>
            <a:picLocks noChangeAspect="1"/>
          </p:cNvPicPr>
          <p:nvPr userDrawn="1"/>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5727985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object 6">
            <a:extLst>
              <a:ext uri="{FF2B5EF4-FFF2-40B4-BE49-F238E27FC236}">
                <a16:creationId xmlns:a16="http://schemas.microsoft.com/office/drawing/2014/main" id="{F74AEC0D-EADD-DE4F-AD46-CFF19F8A58D2}"/>
              </a:ext>
            </a:extLst>
          </p:cNvPr>
          <p:cNvSpPr/>
          <p:nvPr userDrawn="1"/>
        </p:nvSpPr>
        <p:spPr>
          <a:xfrm>
            <a:off x="6168836" y="4962021"/>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0079C1"/>
          </a:solidFill>
        </p:spPr>
        <p:txBody>
          <a:bodyPr wrap="square" lIns="0" tIns="0" rIns="0" bIns="0" rtlCol="0"/>
          <a:lstStyle/>
          <a:p>
            <a:pPr defTabSz="368686"/>
            <a:endParaRPr sz="1452" dirty="0">
              <a:solidFill>
                <a:srgbClr val="0079C1"/>
              </a:solidFill>
              <a:latin typeface="Calibri" panose="020F0502020204030204"/>
            </a:endParaRPr>
          </a:p>
        </p:txBody>
      </p:sp>
      <p:sp>
        <p:nvSpPr>
          <p:cNvPr id="4" name="object 7">
            <a:extLst>
              <a:ext uri="{FF2B5EF4-FFF2-40B4-BE49-F238E27FC236}">
                <a16:creationId xmlns:a16="http://schemas.microsoft.com/office/drawing/2014/main" id="{24BA2B66-2CA1-364E-9811-5B7B8DAC180B}"/>
              </a:ext>
            </a:extLst>
          </p:cNvPr>
          <p:cNvSpPr txBox="1"/>
          <p:nvPr userDrawn="1"/>
        </p:nvSpPr>
        <p:spPr>
          <a:xfrm>
            <a:off x="6274715" y="5012580"/>
            <a:ext cx="94781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300  </a:t>
            </a:r>
            <a:r>
              <a:rPr sz="806" b="1" spc="-28" dirty="0">
                <a:solidFill>
                  <a:srgbClr val="FFFFFF"/>
                </a:solidFill>
                <a:latin typeface="HelveticaNeueLTPro-Blk"/>
                <a:cs typeface="HelveticaNeueLTPro-Blk"/>
              </a:rPr>
              <a:t>C</a:t>
            </a:r>
            <a:r>
              <a:rPr sz="806" b="1" spc="-36" dirty="0">
                <a:solidFill>
                  <a:srgbClr val="FFFFFF"/>
                </a:solidFill>
                <a:latin typeface="HelveticaNeueLTPro-Blk"/>
                <a:cs typeface="HelveticaNeueLTPro-Blk"/>
              </a:rPr>
              <a:t>1</a:t>
            </a:r>
            <a:r>
              <a:rPr sz="806" b="1" spc="8" dirty="0">
                <a:solidFill>
                  <a:srgbClr val="FFFFFF"/>
                </a:solidFill>
                <a:latin typeface="HelveticaNeueLTPro-Blk"/>
                <a:cs typeface="HelveticaNeueLTPro-Blk"/>
              </a:rPr>
              <a:t>0</a:t>
            </a:r>
            <a:r>
              <a:rPr sz="806" b="1" spc="-20" dirty="0">
                <a:solidFill>
                  <a:srgbClr val="FFFFFF"/>
                </a:solidFill>
                <a:latin typeface="HelveticaNeueLTPro-Blk"/>
                <a:cs typeface="HelveticaNeueLTPro-Blk"/>
              </a:rPr>
              <a:t>0</a:t>
            </a:r>
            <a:r>
              <a:rPr sz="806" b="1" spc="8" dirty="0">
                <a:solidFill>
                  <a:srgbClr val="FFFFFF"/>
                </a:solidFill>
                <a:latin typeface="HelveticaNeueLTPro-Blk"/>
                <a:cs typeface="HelveticaNeueLTPro-Blk"/>
              </a:rPr>
              <a:t>/</a:t>
            </a:r>
            <a:r>
              <a:rPr sz="806" b="1" spc="4" dirty="0">
                <a:solidFill>
                  <a:srgbClr val="FFFFFF"/>
                </a:solidFill>
                <a:latin typeface="HelveticaNeueLTPro-Blk"/>
                <a:cs typeface="HelveticaNeueLTPro-Blk"/>
              </a:rPr>
              <a:t>M</a:t>
            </a:r>
            <a:r>
              <a:rPr sz="806" b="1" spc="8" dirty="0">
                <a:solidFill>
                  <a:srgbClr val="FFFFFF"/>
                </a:solidFill>
                <a:latin typeface="HelveticaNeueLTPro-Blk"/>
                <a:cs typeface="HelveticaNeueLTPro-Blk"/>
              </a:rPr>
              <a:t>4</a:t>
            </a:r>
            <a:r>
              <a:rPr sz="806" b="1" spc="4" dirty="0">
                <a:solidFill>
                  <a:srgbClr val="FFFFFF"/>
                </a:solidFill>
                <a:latin typeface="HelveticaNeueLTPro-Blk"/>
                <a:cs typeface="HelveticaNeueLTPro-Blk"/>
              </a:rPr>
              <a:t>4</a:t>
            </a:r>
            <a:r>
              <a:rPr sz="806" b="1" spc="44" dirty="0">
                <a:solidFill>
                  <a:srgbClr val="FFFFFF"/>
                </a:solidFill>
                <a:latin typeface="HelveticaNeueLTPro-Blk"/>
                <a:cs typeface="HelveticaNeueLTPro-Blk"/>
              </a:rPr>
              <a:t>/</a:t>
            </a:r>
            <a:r>
              <a:rPr sz="806" b="1" spc="-20" dirty="0">
                <a:solidFill>
                  <a:srgbClr val="FFFFFF"/>
                </a:solidFill>
                <a:latin typeface="HelveticaNeueLTPro-Blk"/>
                <a:cs typeface="HelveticaNeueLTPro-Blk"/>
              </a:rPr>
              <a:t>Y0</a:t>
            </a:r>
            <a:r>
              <a:rPr sz="806" b="1" spc="8" dirty="0">
                <a:solidFill>
                  <a:srgbClr val="FFFFFF"/>
                </a:solidFill>
                <a:latin typeface="HelveticaNeueLTPro-Blk"/>
                <a:cs typeface="HelveticaNeueLTPro-Blk"/>
              </a:rPr>
              <a:t>/</a:t>
            </a:r>
            <a:r>
              <a:rPr sz="806" b="1" spc="-24" dirty="0">
                <a:solidFill>
                  <a:srgbClr val="FFFFFF"/>
                </a:solidFill>
                <a:latin typeface="HelveticaNeueLTPro-Blk"/>
                <a:cs typeface="HelveticaNeueLTPro-Blk"/>
              </a:rPr>
              <a:t>K</a:t>
            </a:r>
            <a:r>
              <a:rPr sz="806" b="1" dirty="0">
                <a:solidFill>
                  <a:srgbClr val="FFFFFF"/>
                </a:solidFill>
                <a:latin typeface="HelveticaNeueLTPro-Blk"/>
                <a:cs typeface="HelveticaNeueLTPro-Blk"/>
              </a:rPr>
              <a:t>0  </a:t>
            </a:r>
            <a:r>
              <a:rPr sz="806" b="1" spc="-20" dirty="0">
                <a:solidFill>
                  <a:srgbClr val="FFFFFF"/>
                </a:solidFill>
                <a:latin typeface="HelveticaNeueLTPro-Blk"/>
                <a:cs typeface="HelveticaNeueLTPro-Blk"/>
              </a:rPr>
              <a:t>R0/G121/B193</a:t>
            </a:r>
            <a:endParaRPr sz="806" dirty="0">
              <a:solidFill>
                <a:prstClr val="black"/>
              </a:solidFill>
              <a:latin typeface="HelveticaNeueLTPro-Blk"/>
              <a:cs typeface="HelveticaNeueLTPro-Blk"/>
            </a:endParaRPr>
          </a:p>
        </p:txBody>
      </p:sp>
      <p:sp>
        <p:nvSpPr>
          <p:cNvPr id="5" name="object 8">
            <a:extLst>
              <a:ext uri="{FF2B5EF4-FFF2-40B4-BE49-F238E27FC236}">
                <a16:creationId xmlns:a16="http://schemas.microsoft.com/office/drawing/2014/main" id="{831F543C-499B-744B-A87D-57D5B1E0767A}"/>
              </a:ext>
            </a:extLst>
          </p:cNvPr>
          <p:cNvSpPr/>
          <p:nvPr userDrawn="1"/>
        </p:nvSpPr>
        <p:spPr>
          <a:xfrm>
            <a:off x="8968399" y="2147082"/>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5BCBF5"/>
          </a:solidFill>
        </p:spPr>
        <p:txBody>
          <a:bodyPr wrap="square" lIns="0" tIns="0" rIns="0" bIns="0" rtlCol="0"/>
          <a:lstStyle/>
          <a:p>
            <a:pPr defTabSz="368686"/>
            <a:endParaRPr sz="1452" dirty="0">
              <a:solidFill>
                <a:srgbClr val="5BCBF5"/>
              </a:solidFill>
              <a:latin typeface="Calibri" panose="020F0502020204030204"/>
            </a:endParaRPr>
          </a:p>
        </p:txBody>
      </p:sp>
      <p:sp>
        <p:nvSpPr>
          <p:cNvPr id="6" name="object 9">
            <a:extLst>
              <a:ext uri="{FF2B5EF4-FFF2-40B4-BE49-F238E27FC236}">
                <a16:creationId xmlns:a16="http://schemas.microsoft.com/office/drawing/2014/main" id="{4DFA57B9-DE2B-6D44-A190-E8E6A11BF5C3}"/>
              </a:ext>
            </a:extLst>
          </p:cNvPr>
          <p:cNvSpPr txBox="1"/>
          <p:nvPr userDrawn="1"/>
        </p:nvSpPr>
        <p:spPr>
          <a:xfrm>
            <a:off x="9074278" y="2223666"/>
            <a:ext cx="885341"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297  C55/M0/Y0/K0  </a:t>
            </a:r>
            <a:r>
              <a:rPr sz="806" b="1" spc="12" dirty="0">
                <a:solidFill>
                  <a:srgbClr val="FFFFFF"/>
                </a:solidFill>
                <a:latin typeface="HelveticaNeueLTPro-Blk"/>
                <a:cs typeface="HelveticaNeueLTPro-Blk"/>
              </a:rPr>
              <a:t>R</a:t>
            </a:r>
            <a:r>
              <a:rPr sz="806" b="1" spc="-28" dirty="0">
                <a:solidFill>
                  <a:srgbClr val="FFFFFF"/>
                </a:solidFill>
                <a:latin typeface="HelveticaNeueLTPro-Blk"/>
                <a:cs typeface="HelveticaNeueLTPro-Blk"/>
              </a:rPr>
              <a:t>9</a:t>
            </a:r>
            <a:r>
              <a:rPr sz="806" b="1" spc="-40" dirty="0">
                <a:solidFill>
                  <a:srgbClr val="FFFFFF"/>
                </a:solidFill>
                <a:latin typeface="HelveticaNeueLTPro-Blk"/>
                <a:cs typeface="HelveticaNeueLTPro-Blk"/>
              </a:rPr>
              <a:t>1</a:t>
            </a:r>
            <a:r>
              <a:rPr sz="806" b="1" spc="-20" dirty="0">
                <a:solidFill>
                  <a:srgbClr val="FFFFFF"/>
                </a:solidFill>
                <a:latin typeface="HelveticaNeueLTPro-Blk"/>
                <a:cs typeface="HelveticaNeueLTPro-Blk"/>
              </a:rPr>
              <a:t>/</a:t>
            </a:r>
            <a:r>
              <a:rPr sz="806" b="1" spc="8" dirty="0">
                <a:solidFill>
                  <a:srgbClr val="FFFFFF"/>
                </a:solidFill>
                <a:latin typeface="HelveticaNeueLTPro-Blk"/>
                <a:cs typeface="HelveticaNeueLTPro-Blk"/>
              </a:rPr>
              <a:t>G2</a:t>
            </a:r>
            <a:r>
              <a:rPr sz="806" b="1" spc="4" dirty="0">
                <a:solidFill>
                  <a:srgbClr val="FFFFFF"/>
                </a:solidFill>
                <a:latin typeface="HelveticaNeueLTPro-Blk"/>
                <a:cs typeface="HelveticaNeueLTPro-Blk"/>
              </a:rPr>
              <a:t>0</a:t>
            </a:r>
            <a:r>
              <a:rPr sz="806" b="1" spc="-4" dirty="0">
                <a:solidFill>
                  <a:srgbClr val="FFFFFF"/>
                </a:solidFill>
                <a:latin typeface="HelveticaNeueLTPro-Blk"/>
                <a:cs typeface="HelveticaNeueLTPro-Blk"/>
              </a:rPr>
              <a:t>3</a:t>
            </a:r>
            <a:r>
              <a:rPr sz="806" b="1" spc="8" dirty="0">
                <a:solidFill>
                  <a:srgbClr val="FFFFFF"/>
                </a:solidFill>
                <a:latin typeface="HelveticaNeueLTPro-Blk"/>
                <a:cs typeface="HelveticaNeueLTPro-Blk"/>
              </a:rPr>
              <a:t>/</a:t>
            </a:r>
            <a:r>
              <a:rPr sz="806" b="1" dirty="0">
                <a:solidFill>
                  <a:srgbClr val="FFFFFF"/>
                </a:solidFill>
                <a:latin typeface="HelveticaNeueLTPro-Blk"/>
                <a:cs typeface="HelveticaNeueLTPro-Blk"/>
              </a:rPr>
              <a:t>B</a:t>
            </a:r>
            <a:r>
              <a:rPr sz="806" b="1" spc="8" dirty="0">
                <a:solidFill>
                  <a:srgbClr val="FFFFFF"/>
                </a:solidFill>
                <a:latin typeface="HelveticaNeueLTPro-Blk"/>
                <a:cs typeface="HelveticaNeueLTPro-Blk"/>
              </a:rPr>
              <a:t>2</a:t>
            </a:r>
            <a:r>
              <a:rPr sz="806" b="1" spc="16" dirty="0">
                <a:solidFill>
                  <a:srgbClr val="FFFFFF"/>
                </a:solidFill>
                <a:latin typeface="HelveticaNeueLTPro-Blk"/>
                <a:cs typeface="HelveticaNeueLTPro-Blk"/>
              </a:rPr>
              <a:t>4</a:t>
            </a:r>
            <a:r>
              <a:rPr sz="806" b="1" dirty="0">
                <a:solidFill>
                  <a:srgbClr val="FFFFFF"/>
                </a:solidFill>
                <a:latin typeface="HelveticaNeueLTPro-Blk"/>
                <a:cs typeface="HelveticaNeueLTPro-Blk"/>
              </a:rPr>
              <a:t>5</a:t>
            </a:r>
            <a:endParaRPr sz="806" dirty="0">
              <a:solidFill>
                <a:prstClr val="black"/>
              </a:solidFill>
              <a:latin typeface="HelveticaNeueLTPro-Blk"/>
              <a:cs typeface="HelveticaNeueLTPro-Blk"/>
            </a:endParaRPr>
          </a:p>
        </p:txBody>
      </p:sp>
      <p:sp>
        <p:nvSpPr>
          <p:cNvPr id="7" name="object 10">
            <a:extLst>
              <a:ext uri="{FF2B5EF4-FFF2-40B4-BE49-F238E27FC236}">
                <a16:creationId xmlns:a16="http://schemas.microsoft.com/office/drawing/2014/main" id="{9401C43E-DFF6-454A-BDF9-568D026B2F28}"/>
              </a:ext>
            </a:extLst>
          </p:cNvPr>
          <p:cNvSpPr/>
          <p:nvPr userDrawn="1"/>
        </p:nvSpPr>
        <p:spPr>
          <a:xfrm>
            <a:off x="8968399" y="3042335"/>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C2CD23"/>
          </a:solidFill>
        </p:spPr>
        <p:txBody>
          <a:bodyPr wrap="square" lIns="0" tIns="0" rIns="0" bIns="0" rtlCol="0"/>
          <a:lstStyle/>
          <a:p>
            <a:pPr defTabSz="368686"/>
            <a:endParaRPr sz="1452" dirty="0">
              <a:solidFill>
                <a:srgbClr val="C2CD23"/>
              </a:solidFill>
              <a:latin typeface="Calibri" panose="020F0502020204030204"/>
            </a:endParaRPr>
          </a:p>
        </p:txBody>
      </p:sp>
      <p:sp>
        <p:nvSpPr>
          <p:cNvPr id="8" name="object 11">
            <a:extLst>
              <a:ext uri="{FF2B5EF4-FFF2-40B4-BE49-F238E27FC236}">
                <a16:creationId xmlns:a16="http://schemas.microsoft.com/office/drawing/2014/main" id="{275BEDB3-E27B-794E-82D5-BF3FF313762E}"/>
              </a:ext>
            </a:extLst>
          </p:cNvPr>
          <p:cNvSpPr txBox="1"/>
          <p:nvPr userDrawn="1"/>
        </p:nvSpPr>
        <p:spPr>
          <a:xfrm>
            <a:off x="9074278" y="3118919"/>
            <a:ext cx="954980"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390  </a:t>
            </a:r>
            <a:r>
              <a:rPr sz="806" b="1" dirty="0">
                <a:solidFill>
                  <a:srgbClr val="FFFFFF"/>
                </a:solidFill>
                <a:latin typeface="HelveticaNeueLTPro-Blk"/>
                <a:cs typeface="HelveticaNeueLTPro-Blk"/>
              </a:rPr>
              <a:t>C</a:t>
            </a:r>
            <a:r>
              <a:rPr sz="806" b="1" spc="12" dirty="0">
                <a:solidFill>
                  <a:srgbClr val="FFFFFF"/>
                </a:solidFill>
                <a:latin typeface="HelveticaNeueLTPro-Blk"/>
                <a:cs typeface="HelveticaNeueLTPro-Blk"/>
              </a:rPr>
              <a:t>2</a:t>
            </a:r>
            <a:r>
              <a:rPr sz="806" b="1" spc="20" dirty="0">
                <a:solidFill>
                  <a:srgbClr val="FFFFFF"/>
                </a:solidFill>
                <a:latin typeface="HelveticaNeueLTPro-Blk"/>
                <a:cs typeface="HelveticaNeueLTPro-Blk"/>
              </a:rPr>
              <a:t>2</a:t>
            </a:r>
            <a:r>
              <a:rPr sz="806" b="1" spc="8" dirty="0">
                <a:solidFill>
                  <a:srgbClr val="FFFFFF"/>
                </a:solidFill>
                <a:latin typeface="HelveticaNeueLTPro-Blk"/>
                <a:cs typeface="HelveticaNeueLTPro-Blk"/>
              </a:rPr>
              <a:t>/</a:t>
            </a:r>
            <a:r>
              <a:rPr sz="806" b="1" spc="12" dirty="0">
                <a:solidFill>
                  <a:srgbClr val="FFFFFF"/>
                </a:solidFill>
                <a:latin typeface="HelveticaNeueLTPro-Blk"/>
                <a:cs typeface="HelveticaNeueLTPro-Blk"/>
              </a:rPr>
              <a:t>M</a:t>
            </a:r>
            <a:r>
              <a:rPr sz="806" b="1" spc="-20" dirty="0">
                <a:solidFill>
                  <a:srgbClr val="FFFFFF"/>
                </a:solidFill>
                <a:latin typeface="HelveticaNeueLTPro-Blk"/>
                <a:cs typeface="HelveticaNeueLTPro-Blk"/>
              </a:rPr>
              <a:t>0</a:t>
            </a:r>
            <a:r>
              <a:rPr sz="806" b="1" spc="44" dirty="0">
                <a:solidFill>
                  <a:srgbClr val="FFFFFF"/>
                </a:solidFill>
                <a:latin typeface="HelveticaNeueLTPro-Blk"/>
                <a:cs typeface="HelveticaNeueLTPro-Blk"/>
              </a:rPr>
              <a:t>/</a:t>
            </a:r>
            <a:r>
              <a:rPr sz="806" b="1" spc="-36" dirty="0">
                <a:solidFill>
                  <a:srgbClr val="FFFFFF"/>
                </a:solidFill>
                <a:latin typeface="HelveticaNeueLTPro-Blk"/>
                <a:cs typeface="HelveticaNeueLTPro-Blk"/>
              </a:rPr>
              <a:t>Y1</a:t>
            </a:r>
            <a:r>
              <a:rPr sz="806" b="1" spc="8" dirty="0">
                <a:solidFill>
                  <a:srgbClr val="FFFFFF"/>
                </a:solidFill>
                <a:latin typeface="HelveticaNeueLTPro-Blk"/>
                <a:cs typeface="HelveticaNeueLTPro-Blk"/>
              </a:rPr>
              <a:t>0</a:t>
            </a:r>
            <a:r>
              <a:rPr sz="806" b="1" spc="-20" dirty="0">
                <a:solidFill>
                  <a:srgbClr val="FFFFFF"/>
                </a:solidFill>
                <a:latin typeface="HelveticaNeueLTPro-Blk"/>
                <a:cs typeface="HelveticaNeueLTPro-Blk"/>
              </a:rPr>
              <a:t>0</a:t>
            </a:r>
            <a:r>
              <a:rPr sz="806" b="1" spc="8" dirty="0">
                <a:solidFill>
                  <a:srgbClr val="FFFFFF"/>
                </a:solidFill>
                <a:latin typeface="HelveticaNeueLTPro-Blk"/>
                <a:cs typeface="HelveticaNeueLTPro-Blk"/>
              </a:rPr>
              <a:t>/</a:t>
            </a:r>
            <a:r>
              <a:rPr sz="806" b="1" spc="-4" dirty="0">
                <a:solidFill>
                  <a:srgbClr val="FFFFFF"/>
                </a:solidFill>
                <a:latin typeface="HelveticaNeueLTPro-Blk"/>
                <a:cs typeface="HelveticaNeueLTPro-Blk"/>
              </a:rPr>
              <a:t>K</a:t>
            </a:r>
            <a:r>
              <a:rPr sz="806" b="1" dirty="0">
                <a:solidFill>
                  <a:srgbClr val="FFFFFF"/>
                </a:solidFill>
                <a:latin typeface="HelveticaNeueLTPro-Blk"/>
                <a:cs typeface="HelveticaNeueLTPro-Blk"/>
              </a:rPr>
              <a:t>8  </a:t>
            </a:r>
            <a:r>
              <a:rPr sz="806" b="1" spc="-4" dirty="0">
                <a:solidFill>
                  <a:srgbClr val="FFFFFF"/>
                </a:solidFill>
                <a:latin typeface="HelveticaNeueLTPro-Blk"/>
                <a:cs typeface="HelveticaNeueLTPro-Blk"/>
              </a:rPr>
              <a:t>R194/G205/B35</a:t>
            </a:r>
            <a:endParaRPr sz="806" dirty="0">
              <a:solidFill>
                <a:prstClr val="black"/>
              </a:solidFill>
              <a:latin typeface="HelveticaNeueLTPro-Blk"/>
              <a:cs typeface="HelveticaNeueLTPro-Blk"/>
            </a:endParaRPr>
          </a:p>
        </p:txBody>
      </p:sp>
      <p:sp>
        <p:nvSpPr>
          <p:cNvPr id="9" name="object 12">
            <a:extLst>
              <a:ext uri="{FF2B5EF4-FFF2-40B4-BE49-F238E27FC236}">
                <a16:creationId xmlns:a16="http://schemas.microsoft.com/office/drawing/2014/main" id="{55755B21-7CF9-3A4D-BCF8-CD464741CC86}"/>
              </a:ext>
            </a:extLst>
          </p:cNvPr>
          <p:cNvSpPr/>
          <p:nvPr userDrawn="1"/>
        </p:nvSpPr>
        <p:spPr>
          <a:xfrm>
            <a:off x="8968399" y="3954466"/>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6A2C91"/>
          </a:solidFill>
        </p:spPr>
        <p:txBody>
          <a:bodyPr wrap="square" lIns="0" tIns="0" rIns="0" bIns="0" rtlCol="0"/>
          <a:lstStyle/>
          <a:p>
            <a:pPr defTabSz="368686"/>
            <a:endParaRPr sz="1452" dirty="0">
              <a:solidFill>
                <a:srgbClr val="6A2C91"/>
              </a:solidFill>
              <a:latin typeface="Calibri" panose="020F0502020204030204"/>
            </a:endParaRPr>
          </a:p>
        </p:txBody>
      </p:sp>
      <p:sp>
        <p:nvSpPr>
          <p:cNvPr id="10" name="object 13">
            <a:extLst>
              <a:ext uri="{FF2B5EF4-FFF2-40B4-BE49-F238E27FC236}">
                <a16:creationId xmlns:a16="http://schemas.microsoft.com/office/drawing/2014/main" id="{DF4D1B1C-4C72-3A45-AAF0-F0752AD88B2D}"/>
              </a:ext>
            </a:extLst>
          </p:cNvPr>
          <p:cNvSpPr txBox="1"/>
          <p:nvPr userDrawn="1"/>
        </p:nvSpPr>
        <p:spPr>
          <a:xfrm>
            <a:off x="9074277" y="4031050"/>
            <a:ext cx="941155"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527  </a:t>
            </a:r>
            <a:r>
              <a:rPr sz="806" b="1" spc="-12" dirty="0">
                <a:solidFill>
                  <a:srgbClr val="FFFFFF"/>
                </a:solidFill>
                <a:latin typeface="HelveticaNeueLTPro-Blk"/>
                <a:cs typeface="HelveticaNeueLTPro-Blk"/>
              </a:rPr>
              <a:t>C</a:t>
            </a:r>
            <a:r>
              <a:rPr sz="806" b="1" spc="-16" dirty="0">
                <a:solidFill>
                  <a:srgbClr val="FFFFFF"/>
                </a:solidFill>
                <a:latin typeface="HelveticaNeueLTPro-Blk"/>
                <a:cs typeface="HelveticaNeueLTPro-Blk"/>
              </a:rPr>
              <a:t>7</a:t>
            </a:r>
            <a:r>
              <a:rPr sz="806" b="1" spc="-4" dirty="0">
                <a:solidFill>
                  <a:srgbClr val="FFFFFF"/>
                </a:solidFill>
                <a:latin typeface="HelveticaNeueLTPro-Blk"/>
                <a:cs typeface="HelveticaNeueLTPro-Blk"/>
              </a:rPr>
              <a:t>3</a:t>
            </a:r>
            <a:r>
              <a:rPr sz="806" b="1" spc="8" dirty="0">
                <a:solidFill>
                  <a:srgbClr val="FFFFFF"/>
                </a:solidFill>
                <a:latin typeface="HelveticaNeueLTPro-Blk"/>
                <a:cs typeface="HelveticaNeueLTPro-Blk"/>
              </a:rPr>
              <a:t>/</a:t>
            </a:r>
            <a:r>
              <a:rPr sz="806" b="1" spc="-32" dirty="0">
                <a:solidFill>
                  <a:srgbClr val="FFFFFF"/>
                </a:solidFill>
                <a:latin typeface="HelveticaNeueLTPro-Blk"/>
                <a:cs typeface="HelveticaNeueLTPro-Blk"/>
              </a:rPr>
              <a:t>M</a:t>
            </a:r>
            <a:r>
              <a:rPr sz="806" b="1" spc="-36" dirty="0">
                <a:solidFill>
                  <a:srgbClr val="FFFFFF"/>
                </a:solidFill>
                <a:latin typeface="HelveticaNeueLTPro-Blk"/>
                <a:cs typeface="HelveticaNeueLTPro-Blk"/>
              </a:rPr>
              <a:t>1</a:t>
            </a:r>
            <a:r>
              <a:rPr sz="806" b="1" spc="8" dirty="0">
                <a:solidFill>
                  <a:srgbClr val="FFFFFF"/>
                </a:solidFill>
                <a:latin typeface="HelveticaNeueLTPro-Blk"/>
                <a:cs typeface="HelveticaNeueLTPro-Blk"/>
              </a:rPr>
              <a:t>0</a:t>
            </a:r>
            <a:r>
              <a:rPr sz="806" b="1" spc="-20" dirty="0">
                <a:solidFill>
                  <a:srgbClr val="FFFFFF"/>
                </a:solidFill>
                <a:latin typeface="HelveticaNeueLTPro-Blk"/>
                <a:cs typeface="HelveticaNeueLTPro-Blk"/>
              </a:rPr>
              <a:t>0</a:t>
            </a:r>
            <a:r>
              <a:rPr sz="806" b="1" spc="44" dirty="0">
                <a:solidFill>
                  <a:srgbClr val="FFFFFF"/>
                </a:solidFill>
                <a:latin typeface="HelveticaNeueLTPro-Blk"/>
                <a:cs typeface="HelveticaNeueLTPro-Blk"/>
              </a:rPr>
              <a:t>/</a:t>
            </a:r>
            <a:r>
              <a:rPr sz="806" b="1" spc="-20" dirty="0">
                <a:solidFill>
                  <a:srgbClr val="FFFFFF"/>
                </a:solidFill>
                <a:latin typeface="HelveticaNeueLTPro-Blk"/>
                <a:cs typeface="HelveticaNeueLTPro-Blk"/>
              </a:rPr>
              <a:t>Y0</a:t>
            </a:r>
            <a:r>
              <a:rPr sz="806" b="1" spc="8" dirty="0">
                <a:solidFill>
                  <a:srgbClr val="FFFFFF"/>
                </a:solidFill>
                <a:latin typeface="HelveticaNeueLTPro-Blk"/>
                <a:cs typeface="HelveticaNeueLTPro-Blk"/>
              </a:rPr>
              <a:t>/</a:t>
            </a:r>
            <a:r>
              <a:rPr sz="806" b="1" spc="-24" dirty="0">
                <a:solidFill>
                  <a:srgbClr val="FFFFFF"/>
                </a:solidFill>
                <a:latin typeface="HelveticaNeueLTPro-Blk"/>
                <a:cs typeface="HelveticaNeueLTPro-Blk"/>
              </a:rPr>
              <a:t>K</a:t>
            </a:r>
            <a:r>
              <a:rPr sz="806" b="1" dirty="0">
                <a:solidFill>
                  <a:srgbClr val="FFFFFF"/>
                </a:solidFill>
                <a:latin typeface="HelveticaNeueLTPro-Blk"/>
                <a:cs typeface="HelveticaNeueLTPro-Blk"/>
              </a:rPr>
              <a:t>0  </a:t>
            </a:r>
            <a:r>
              <a:rPr sz="806" b="1" spc="-12" dirty="0">
                <a:solidFill>
                  <a:srgbClr val="FFFFFF"/>
                </a:solidFill>
                <a:latin typeface="HelveticaNeueLTPro-Blk"/>
                <a:cs typeface="HelveticaNeueLTPro-Blk"/>
              </a:rPr>
              <a:t>R106/G44/B145</a:t>
            </a:r>
            <a:endParaRPr sz="806" dirty="0">
              <a:solidFill>
                <a:prstClr val="black"/>
              </a:solidFill>
              <a:latin typeface="HelveticaNeueLTPro-Blk"/>
              <a:cs typeface="HelveticaNeueLTPro-Blk"/>
            </a:endParaRPr>
          </a:p>
        </p:txBody>
      </p:sp>
      <p:sp>
        <p:nvSpPr>
          <p:cNvPr id="11" name="object 14">
            <a:extLst>
              <a:ext uri="{FF2B5EF4-FFF2-40B4-BE49-F238E27FC236}">
                <a16:creationId xmlns:a16="http://schemas.microsoft.com/office/drawing/2014/main" id="{066B0DD8-7104-6F47-81C6-F16C668E5FB2}"/>
              </a:ext>
            </a:extLst>
          </p:cNvPr>
          <p:cNvSpPr/>
          <p:nvPr userDrawn="1"/>
        </p:nvSpPr>
        <p:spPr>
          <a:xfrm>
            <a:off x="8968399" y="4935996"/>
            <a:ext cx="2643733" cy="799827"/>
          </a:xfrm>
          <a:custGeom>
            <a:avLst/>
            <a:gdLst/>
            <a:ahLst/>
            <a:cxnLst/>
            <a:rect l="l" t="t" r="r" b="b"/>
            <a:pathLst>
              <a:path w="3278505"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454546"/>
          </a:solidFill>
        </p:spPr>
        <p:txBody>
          <a:bodyPr wrap="square" lIns="0" tIns="0" rIns="0" bIns="0" rtlCol="0"/>
          <a:lstStyle/>
          <a:p>
            <a:pPr defTabSz="368686"/>
            <a:endParaRPr sz="1452" dirty="0">
              <a:solidFill>
                <a:srgbClr val="454546"/>
              </a:solidFill>
              <a:latin typeface="Calibri" panose="020F0502020204030204"/>
            </a:endParaRPr>
          </a:p>
        </p:txBody>
      </p:sp>
      <p:sp>
        <p:nvSpPr>
          <p:cNvPr id="12" name="object 15">
            <a:extLst>
              <a:ext uri="{FF2B5EF4-FFF2-40B4-BE49-F238E27FC236}">
                <a16:creationId xmlns:a16="http://schemas.microsoft.com/office/drawing/2014/main" id="{2CB91BC2-4E5C-104F-89D0-8746DC661FD6}"/>
              </a:ext>
            </a:extLst>
          </p:cNvPr>
          <p:cNvSpPr txBox="1"/>
          <p:nvPr userDrawn="1"/>
        </p:nvSpPr>
        <p:spPr>
          <a:xfrm>
            <a:off x="9074277" y="5012580"/>
            <a:ext cx="1025132"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4" dirty="0">
                <a:solidFill>
                  <a:srgbClr val="FFFFFF"/>
                </a:solidFill>
                <a:latin typeface="HelveticaNeueLTPro-Blk"/>
                <a:cs typeface="HelveticaNeueLTPro-Blk"/>
              </a:rPr>
              <a:t>425  </a:t>
            </a:r>
            <a:r>
              <a:rPr sz="806" b="1" spc="-4" dirty="0">
                <a:solidFill>
                  <a:srgbClr val="FFFFFF"/>
                </a:solidFill>
                <a:latin typeface="HelveticaNeueLTPro-Blk"/>
                <a:cs typeface="HelveticaNeueLTPro-Blk"/>
              </a:rPr>
              <a:t>C67/M60/Y58/K43  </a:t>
            </a:r>
            <a:r>
              <a:rPr sz="806" b="1" spc="-8" dirty="0">
                <a:solidFill>
                  <a:srgbClr val="FFFFFF"/>
                </a:solidFill>
                <a:latin typeface="HelveticaNeueLTPro-Blk"/>
                <a:cs typeface="HelveticaNeueLTPro-Blk"/>
              </a:rPr>
              <a:t>R69/G69/B70</a:t>
            </a:r>
            <a:endParaRPr sz="806" dirty="0">
              <a:solidFill>
                <a:prstClr val="black"/>
              </a:solidFill>
              <a:latin typeface="HelveticaNeueLTPro-Blk"/>
              <a:cs typeface="HelveticaNeueLTPro-Blk"/>
            </a:endParaRPr>
          </a:p>
        </p:txBody>
      </p:sp>
      <p:sp>
        <p:nvSpPr>
          <p:cNvPr id="13" name="object 16">
            <a:extLst>
              <a:ext uri="{FF2B5EF4-FFF2-40B4-BE49-F238E27FC236}">
                <a16:creationId xmlns:a16="http://schemas.microsoft.com/office/drawing/2014/main" id="{3389566B-8668-B543-B8C2-A6C3E321DB7F}"/>
              </a:ext>
            </a:extLst>
          </p:cNvPr>
          <p:cNvSpPr/>
          <p:nvPr userDrawn="1"/>
        </p:nvSpPr>
        <p:spPr>
          <a:xfrm>
            <a:off x="6163393" y="3050863"/>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BF22"/>
          </a:solidFill>
        </p:spPr>
        <p:txBody>
          <a:bodyPr wrap="square" lIns="0" tIns="0" rIns="0" bIns="0" rtlCol="0"/>
          <a:lstStyle/>
          <a:p>
            <a:pPr defTabSz="368686"/>
            <a:endParaRPr sz="1452" dirty="0">
              <a:solidFill>
                <a:prstClr val="black"/>
              </a:solidFill>
              <a:latin typeface="Calibri" panose="020F0502020204030204"/>
            </a:endParaRPr>
          </a:p>
        </p:txBody>
      </p:sp>
      <p:sp>
        <p:nvSpPr>
          <p:cNvPr id="14" name="object 17">
            <a:extLst>
              <a:ext uri="{FF2B5EF4-FFF2-40B4-BE49-F238E27FC236}">
                <a16:creationId xmlns:a16="http://schemas.microsoft.com/office/drawing/2014/main" id="{67D5F6A2-CDE4-6D4F-870A-4298B994B815}"/>
              </a:ext>
            </a:extLst>
          </p:cNvPr>
          <p:cNvSpPr txBox="1"/>
          <p:nvPr userDrawn="1"/>
        </p:nvSpPr>
        <p:spPr>
          <a:xfrm>
            <a:off x="6269273" y="3127447"/>
            <a:ext cx="889437"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FFFFFF"/>
                </a:solidFill>
                <a:latin typeface="HelveticaNeueLTPro-Blk"/>
                <a:cs typeface="HelveticaNeueLTPro-Blk"/>
              </a:rPr>
              <a:t>PANTONE </a:t>
            </a:r>
            <a:r>
              <a:rPr sz="806" b="1" spc="-12" dirty="0">
                <a:solidFill>
                  <a:srgbClr val="FFFFFF"/>
                </a:solidFill>
                <a:latin typeface="HelveticaNeueLTPro-Blk"/>
                <a:cs typeface="HelveticaNeueLTPro-Blk"/>
              </a:rPr>
              <a:t>7408  </a:t>
            </a:r>
            <a:r>
              <a:rPr sz="806" b="1" spc="4" dirty="0">
                <a:solidFill>
                  <a:srgbClr val="FFFFFF"/>
                </a:solidFill>
                <a:latin typeface="HelveticaNeueLTPro-Blk"/>
                <a:cs typeface="HelveticaNeueLTPro-Blk"/>
              </a:rPr>
              <a:t>C</a:t>
            </a:r>
            <a:r>
              <a:rPr sz="806" b="1" spc="-20" dirty="0">
                <a:solidFill>
                  <a:srgbClr val="FFFFFF"/>
                </a:solidFill>
                <a:latin typeface="HelveticaNeueLTPro-Blk"/>
                <a:cs typeface="HelveticaNeueLTPro-Blk"/>
              </a:rPr>
              <a:t>0</a:t>
            </a:r>
            <a:r>
              <a:rPr sz="806" b="1" spc="8" dirty="0">
                <a:solidFill>
                  <a:srgbClr val="FFFFFF"/>
                </a:solidFill>
                <a:latin typeface="HelveticaNeueLTPro-Blk"/>
                <a:cs typeface="HelveticaNeueLTPro-Blk"/>
              </a:rPr>
              <a:t>/</a:t>
            </a:r>
            <a:r>
              <a:rPr sz="806" b="1" spc="12" dirty="0">
                <a:solidFill>
                  <a:srgbClr val="FFFFFF"/>
                </a:solidFill>
                <a:latin typeface="HelveticaNeueLTPro-Blk"/>
                <a:cs typeface="HelveticaNeueLTPro-Blk"/>
              </a:rPr>
              <a:t>M2</a:t>
            </a:r>
            <a:r>
              <a:rPr sz="806" b="1" spc="-12" dirty="0">
                <a:solidFill>
                  <a:srgbClr val="FFFFFF"/>
                </a:solidFill>
                <a:latin typeface="HelveticaNeueLTPro-Blk"/>
                <a:cs typeface="HelveticaNeueLTPro-Blk"/>
              </a:rPr>
              <a:t>5</a:t>
            </a:r>
            <a:r>
              <a:rPr sz="806" b="1" spc="44" dirty="0">
                <a:solidFill>
                  <a:srgbClr val="FFFFFF"/>
                </a:solidFill>
                <a:latin typeface="HelveticaNeueLTPro-Blk"/>
                <a:cs typeface="HelveticaNeueLTPro-Blk"/>
              </a:rPr>
              <a:t>/</a:t>
            </a:r>
            <a:r>
              <a:rPr sz="806" b="1" spc="-12" dirty="0">
                <a:solidFill>
                  <a:srgbClr val="FFFFFF"/>
                </a:solidFill>
                <a:latin typeface="HelveticaNeueLTPro-Blk"/>
                <a:cs typeface="HelveticaNeueLTPro-Blk"/>
              </a:rPr>
              <a:t>Y</a:t>
            </a:r>
            <a:r>
              <a:rPr sz="806" b="1" spc="4" dirty="0">
                <a:solidFill>
                  <a:srgbClr val="FFFFFF"/>
                </a:solidFill>
                <a:latin typeface="HelveticaNeueLTPro-Blk"/>
                <a:cs typeface="HelveticaNeueLTPro-Blk"/>
              </a:rPr>
              <a:t>9</a:t>
            </a:r>
            <a:r>
              <a:rPr sz="806" b="1" spc="-12" dirty="0">
                <a:solidFill>
                  <a:srgbClr val="FFFFFF"/>
                </a:solidFill>
                <a:latin typeface="HelveticaNeueLTPro-Blk"/>
                <a:cs typeface="HelveticaNeueLTPro-Blk"/>
              </a:rPr>
              <a:t>5</a:t>
            </a:r>
            <a:r>
              <a:rPr sz="806" b="1" spc="8" dirty="0">
                <a:solidFill>
                  <a:srgbClr val="FFFFFF"/>
                </a:solidFill>
                <a:latin typeface="HelveticaNeueLTPro-Blk"/>
                <a:cs typeface="HelveticaNeueLTPro-Blk"/>
              </a:rPr>
              <a:t>/</a:t>
            </a:r>
            <a:r>
              <a:rPr sz="806" b="1" spc="-24" dirty="0">
                <a:solidFill>
                  <a:srgbClr val="FFFFFF"/>
                </a:solidFill>
                <a:latin typeface="HelveticaNeueLTPro-Blk"/>
                <a:cs typeface="HelveticaNeueLTPro-Blk"/>
              </a:rPr>
              <a:t>K</a:t>
            </a:r>
            <a:r>
              <a:rPr sz="806" b="1" dirty="0">
                <a:solidFill>
                  <a:srgbClr val="FFFFFF"/>
                </a:solidFill>
                <a:latin typeface="HelveticaNeueLTPro-Blk"/>
                <a:cs typeface="HelveticaNeueLTPro-Blk"/>
              </a:rPr>
              <a:t>0  </a:t>
            </a:r>
            <a:r>
              <a:rPr sz="806" b="1" spc="-12" dirty="0">
                <a:solidFill>
                  <a:srgbClr val="FFFFFF"/>
                </a:solidFill>
                <a:latin typeface="HelveticaNeueLTPro-Blk"/>
                <a:cs typeface="HelveticaNeueLTPro-Blk"/>
              </a:rPr>
              <a:t>R255/G191/B34</a:t>
            </a:r>
            <a:endParaRPr sz="806" dirty="0">
              <a:solidFill>
                <a:prstClr val="black"/>
              </a:solidFill>
              <a:latin typeface="HelveticaNeueLTPro-Blk"/>
              <a:cs typeface="HelveticaNeueLTPro-Blk"/>
            </a:endParaRPr>
          </a:p>
        </p:txBody>
      </p:sp>
      <p:sp>
        <p:nvSpPr>
          <p:cNvPr id="15" name="object 18">
            <a:extLst>
              <a:ext uri="{FF2B5EF4-FFF2-40B4-BE49-F238E27FC236}">
                <a16:creationId xmlns:a16="http://schemas.microsoft.com/office/drawing/2014/main" id="{94062D12-7027-7540-B2D0-91D1F654F299}"/>
              </a:ext>
            </a:extLst>
          </p:cNvPr>
          <p:cNvSpPr/>
          <p:nvPr userDrawn="1"/>
        </p:nvSpPr>
        <p:spPr>
          <a:xfrm>
            <a:off x="6168836" y="3950454"/>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26522"/>
          </a:solidFill>
        </p:spPr>
        <p:txBody>
          <a:bodyPr wrap="square" lIns="0" tIns="0" rIns="0" bIns="0" rtlCol="0"/>
          <a:lstStyle/>
          <a:p>
            <a:pPr defTabSz="368686"/>
            <a:endParaRPr sz="1452" dirty="0">
              <a:solidFill>
                <a:srgbClr val="F26522"/>
              </a:solidFill>
              <a:latin typeface="Calibri" panose="020F0502020204030204"/>
            </a:endParaRPr>
          </a:p>
        </p:txBody>
      </p:sp>
      <p:sp>
        <p:nvSpPr>
          <p:cNvPr id="16" name="object 19">
            <a:extLst>
              <a:ext uri="{FF2B5EF4-FFF2-40B4-BE49-F238E27FC236}">
                <a16:creationId xmlns:a16="http://schemas.microsoft.com/office/drawing/2014/main" id="{7E4B378D-CF56-5E41-9003-17C347983F94}"/>
              </a:ext>
            </a:extLst>
          </p:cNvPr>
          <p:cNvSpPr txBox="1"/>
          <p:nvPr userDrawn="1"/>
        </p:nvSpPr>
        <p:spPr>
          <a:xfrm>
            <a:off x="6274714" y="4027039"/>
            <a:ext cx="1053807" cy="369414"/>
          </a:xfrm>
          <a:prstGeom prst="rect">
            <a:avLst/>
          </a:prstGeom>
        </p:spPr>
        <p:txBody>
          <a:bodyPr vert="horz" wrap="square" lIns="0" tIns="10241" rIns="0" bIns="0" rtlCol="0">
            <a:spAutoFit/>
          </a:bodyPr>
          <a:lstStyle/>
          <a:p>
            <a:pPr marL="10241" defTabSz="368686">
              <a:lnSpc>
                <a:spcPts val="927"/>
              </a:lnSpc>
              <a:spcBef>
                <a:spcPts val="81"/>
              </a:spcBef>
            </a:pPr>
            <a:r>
              <a:rPr sz="806" b="1" dirty="0">
                <a:solidFill>
                  <a:srgbClr val="FFFFFF"/>
                </a:solidFill>
                <a:latin typeface="HelveticaNeueLTPro-Blk"/>
                <a:cs typeface="HelveticaNeueLTPro-Blk"/>
              </a:rPr>
              <a:t>PANTONE</a:t>
            </a:r>
            <a:r>
              <a:rPr sz="806" b="1" spc="-8" dirty="0">
                <a:solidFill>
                  <a:srgbClr val="FFFFFF"/>
                </a:solidFill>
                <a:latin typeface="HelveticaNeueLTPro-Blk"/>
                <a:cs typeface="HelveticaNeueLTPro-Blk"/>
              </a:rPr>
              <a:t> </a:t>
            </a:r>
            <a:r>
              <a:rPr sz="806" b="1" spc="-16" dirty="0">
                <a:solidFill>
                  <a:srgbClr val="FFFFFF"/>
                </a:solidFill>
                <a:latin typeface="HelveticaNeueLTPro-Blk"/>
                <a:cs typeface="HelveticaNeueLTPro-Blk"/>
              </a:rPr>
              <a:t>166</a:t>
            </a:r>
            <a:endParaRPr sz="806" dirty="0">
              <a:solidFill>
                <a:prstClr val="black"/>
              </a:solidFill>
              <a:latin typeface="HelveticaNeueLTPro-Blk"/>
              <a:cs typeface="HelveticaNeueLTPro-Blk"/>
            </a:endParaRPr>
          </a:p>
          <a:p>
            <a:pPr marL="10241" marR="4097" defTabSz="368686">
              <a:lnSpc>
                <a:spcPts val="887"/>
              </a:lnSpc>
              <a:spcBef>
                <a:spcPts val="56"/>
              </a:spcBef>
            </a:pPr>
            <a:r>
              <a:rPr sz="806" b="1" spc="4" dirty="0">
                <a:solidFill>
                  <a:srgbClr val="FFFFFF"/>
                </a:solidFill>
                <a:latin typeface="HelveticaNeueLTPro-Blk"/>
                <a:cs typeface="HelveticaNeueLTPro-Blk"/>
              </a:rPr>
              <a:t>C:0 </a:t>
            </a:r>
            <a:r>
              <a:rPr sz="806" b="1" spc="-8" dirty="0">
                <a:solidFill>
                  <a:srgbClr val="FFFFFF"/>
                </a:solidFill>
                <a:latin typeface="HelveticaNeueLTPro-Blk"/>
                <a:cs typeface="HelveticaNeueLTPro-Blk"/>
              </a:rPr>
              <a:t>M:75 </a:t>
            </a:r>
            <a:r>
              <a:rPr sz="806" b="1" spc="-20" dirty="0">
                <a:solidFill>
                  <a:srgbClr val="FFFFFF"/>
                </a:solidFill>
                <a:latin typeface="HelveticaNeueLTPro-Blk"/>
                <a:cs typeface="HelveticaNeueLTPro-Blk"/>
              </a:rPr>
              <a:t>Y:100</a:t>
            </a:r>
            <a:r>
              <a:rPr sz="806" b="1" spc="-48" dirty="0">
                <a:solidFill>
                  <a:srgbClr val="FFFFFF"/>
                </a:solidFill>
                <a:latin typeface="HelveticaNeueLTPro-Blk"/>
                <a:cs typeface="HelveticaNeueLTPro-Blk"/>
              </a:rPr>
              <a:t> </a:t>
            </a:r>
            <a:r>
              <a:rPr sz="806" b="1" spc="4" dirty="0">
                <a:solidFill>
                  <a:srgbClr val="FFFFFF"/>
                </a:solidFill>
                <a:latin typeface="HelveticaNeueLTPro-Blk"/>
                <a:cs typeface="HelveticaNeueLTPro-Blk"/>
              </a:rPr>
              <a:t>K:0  R:242 </a:t>
            </a:r>
            <a:r>
              <a:rPr sz="806" b="1" spc="-20" dirty="0">
                <a:solidFill>
                  <a:srgbClr val="FFFFFF"/>
                </a:solidFill>
                <a:latin typeface="HelveticaNeueLTPro-Blk"/>
                <a:cs typeface="HelveticaNeueLTPro-Blk"/>
              </a:rPr>
              <a:t>G:101</a:t>
            </a:r>
            <a:r>
              <a:rPr sz="806" b="1" spc="-28" dirty="0">
                <a:solidFill>
                  <a:srgbClr val="FFFFFF"/>
                </a:solidFill>
                <a:latin typeface="HelveticaNeueLTPro-Blk"/>
                <a:cs typeface="HelveticaNeueLTPro-Blk"/>
              </a:rPr>
              <a:t> </a:t>
            </a:r>
            <a:r>
              <a:rPr sz="806" b="1" spc="4" dirty="0">
                <a:solidFill>
                  <a:srgbClr val="FFFFFF"/>
                </a:solidFill>
                <a:latin typeface="HelveticaNeueLTPro-Blk"/>
                <a:cs typeface="HelveticaNeueLTPro-Blk"/>
              </a:rPr>
              <a:t>B:34</a:t>
            </a:r>
            <a:endParaRPr sz="806" dirty="0">
              <a:solidFill>
                <a:prstClr val="black"/>
              </a:solidFill>
              <a:latin typeface="HelveticaNeueLTPro-Blk"/>
              <a:cs typeface="HelveticaNeueLTPro-Blk"/>
            </a:endParaRPr>
          </a:p>
        </p:txBody>
      </p:sp>
      <p:sp>
        <p:nvSpPr>
          <p:cNvPr id="17" name="object 20">
            <a:extLst>
              <a:ext uri="{FF2B5EF4-FFF2-40B4-BE49-F238E27FC236}">
                <a16:creationId xmlns:a16="http://schemas.microsoft.com/office/drawing/2014/main" id="{A84E9A33-66B1-8D43-AAFE-E75634F30D0B}"/>
              </a:ext>
            </a:extLst>
          </p:cNvPr>
          <p:cNvSpPr/>
          <p:nvPr userDrawn="1"/>
        </p:nvSpPr>
        <p:spPr>
          <a:xfrm>
            <a:off x="6168836" y="2147082"/>
            <a:ext cx="2643733" cy="799827"/>
          </a:xfrm>
          <a:custGeom>
            <a:avLst/>
            <a:gdLst/>
            <a:ahLst/>
            <a:cxnLst/>
            <a:rect l="l" t="t" r="r" b="b"/>
            <a:pathLst>
              <a:path w="3278504" h="991870">
                <a:moveTo>
                  <a:pt x="3278251" y="0"/>
                </a:moveTo>
                <a:lnTo>
                  <a:pt x="0" y="0"/>
                </a:lnTo>
                <a:lnTo>
                  <a:pt x="0" y="991704"/>
                </a:lnTo>
                <a:lnTo>
                  <a:pt x="1759381" y="991704"/>
                </a:lnTo>
                <a:lnTo>
                  <a:pt x="1809072" y="988883"/>
                </a:lnTo>
                <a:lnTo>
                  <a:pt x="1857740" y="980540"/>
                </a:lnTo>
                <a:lnTo>
                  <a:pt x="1904950" y="966856"/>
                </a:lnTo>
                <a:lnTo>
                  <a:pt x="1950268" y="948010"/>
                </a:lnTo>
                <a:lnTo>
                  <a:pt x="1993260" y="924185"/>
                </a:lnTo>
                <a:lnTo>
                  <a:pt x="2033493" y="895560"/>
                </a:lnTo>
                <a:lnTo>
                  <a:pt x="2070531" y="862317"/>
                </a:lnTo>
                <a:lnTo>
                  <a:pt x="2379459" y="551700"/>
                </a:lnTo>
                <a:lnTo>
                  <a:pt x="2416501" y="518457"/>
                </a:lnTo>
                <a:lnTo>
                  <a:pt x="2456736" y="489834"/>
                </a:lnTo>
                <a:lnTo>
                  <a:pt x="2499728" y="466012"/>
                </a:lnTo>
                <a:lnTo>
                  <a:pt x="2545045" y="447169"/>
                </a:lnTo>
                <a:lnTo>
                  <a:pt x="2592253" y="433487"/>
                </a:lnTo>
                <a:lnTo>
                  <a:pt x="2640919" y="425146"/>
                </a:lnTo>
                <a:lnTo>
                  <a:pt x="2690609" y="422325"/>
                </a:lnTo>
                <a:lnTo>
                  <a:pt x="3278251" y="422325"/>
                </a:lnTo>
                <a:lnTo>
                  <a:pt x="3278251" y="0"/>
                </a:lnTo>
                <a:close/>
              </a:path>
            </a:pathLst>
          </a:custGeom>
          <a:solidFill>
            <a:srgbClr val="FFE600"/>
          </a:solidFill>
          <a:ln>
            <a:noFill/>
          </a:ln>
        </p:spPr>
        <p:txBody>
          <a:bodyPr wrap="square" lIns="0" tIns="0" rIns="0" bIns="0" rtlCol="0"/>
          <a:lstStyle/>
          <a:p>
            <a:pPr defTabSz="368686"/>
            <a:endParaRPr sz="1452" dirty="0">
              <a:solidFill>
                <a:srgbClr val="FFBF22"/>
              </a:solidFill>
              <a:latin typeface="Calibri" panose="020F0502020204030204"/>
            </a:endParaRPr>
          </a:p>
        </p:txBody>
      </p:sp>
      <p:sp>
        <p:nvSpPr>
          <p:cNvPr id="18" name="object 21">
            <a:extLst>
              <a:ext uri="{FF2B5EF4-FFF2-40B4-BE49-F238E27FC236}">
                <a16:creationId xmlns:a16="http://schemas.microsoft.com/office/drawing/2014/main" id="{2EDC15B3-02D3-E144-849D-495D1E925D32}"/>
              </a:ext>
            </a:extLst>
          </p:cNvPr>
          <p:cNvSpPr txBox="1"/>
          <p:nvPr userDrawn="1"/>
        </p:nvSpPr>
        <p:spPr>
          <a:xfrm>
            <a:off x="6274714" y="2223666"/>
            <a:ext cx="991848" cy="368999"/>
          </a:xfrm>
          <a:prstGeom prst="rect">
            <a:avLst/>
          </a:prstGeom>
        </p:spPr>
        <p:txBody>
          <a:bodyPr vert="horz" wrap="square" lIns="0" tIns="22530" rIns="0" bIns="0" rtlCol="0">
            <a:spAutoFit/>
          </a:bodyPr>
          <a:lstStyle/>
          <a:p>
            <a:pPr marL="10241" marR="4097" defTabSz="368686">
              <a:lnSpc>
                <a:spcPts val="887"/>
              </a:lnSpc>
              <a:spcBef>
                <a:spcPts val="177"/>
              </a:spcBef>
            </a:pPr>
            <a:r>
              <a:rPr sz="806" b="1" dirty="0">
                <a:solidFill>
                  <a:srgbClr val="6D6E71"/>
                </a:solidFill>
                <a:latin typeface="HelveticaNeueLTPro-Blk"/>
                <a:cs typeface="HelveticaNeueLTPro-Blk"/>
              </a:rPr>
              <a:t>PANTONE </a:t>
            </a:r>
            <a:r>
              <a:rPr sz="806" b="1" spc="-12" dirty="0">
                <a:solidFill>
                  <a:srgbClr val="6D6E71"/>
                </a:solidFill>
                <a:latin typeface="HelveticaNeueLTPro-Blk"/>
                <a:cs typeface="HelveticaNeueLTPro-Blk"/>
              </a:rPr>
              <a:t>108  </a:t>
            </a:r>
            <a:r>
              <a:rPr sz="806" b="1" spc="4" dirty="0">
                <a:solidFill>
                  <a:srgbClr val="6D6E71"/>
                </a:solidFill>
                <a:latin typeface="HelveticaNeueLTPro-Blk"/>
                <a:cs typeface="HelveticaNeueLTPro-Blk"/>
              </a:rPr>
              <a:t>C:0 </a:t>
            </a:r>
            <a:r>
              <a:rPr sz="806" b="1" spc="8" dirty="0">
                <a:solidFill>
                  <a:srgbClr val="6D6E71"/>
                </a:solidFill>
                <a:latin typeface="HelveticaNeueLTPro-Blk"/>
                <a:cs typeface="HelveticaNeueLTPro-Blk"/>
              </a:rPr>
              <a:t>M:0 </a:t>
            </a:r>
            <a:r>
              <a:rPr sz="806" b="1" spc="-20" dirty="0">
                <a:solidFill>
                  <a:srgbClr val="6D6E71"/>
                </a:solidFill>
                <a:latin typeface="HelveticaNeueLTPro-Blk"/>
                <a:cs typeface="HelveticaNeueLTPro-Blk"/>
              </a:rPr>
              <a:t>Y:100</a:t>
            </a:r>
            <a:r>
              <a:rPr sz="806" b="1" spc="-69" dirty="0">
                <a:solidFill>
                  <a:srgbClr val="6D6E71"/>
                </a:solidFill>
                <a:latin typeface="HelveticaNeueLTPro-Blk"/>
                <a:cs typeface="HelveticaNeueLTPro-Blk"/>
              </a:rPr>
              <a:t> </a:t>
            </a:r>
            <a:r>
              <a:rPr sz="806" b="1" spc="4" dirty="0">
                <a:solidFill>
                  <a:srgbClr val="6D6E71"/>
                </a:solidFill>
                <a:latin typeface="HelveticaNeueLTPro-Blk"/>
                <a:cs typeface="HelveticaNeueLTPro-Blk"/>
              </a:rPr>
              <a:t>K:0  </a:t>
            </a:r>
            <a:r>
              <a:rPr sz="806" b="1" spc="8" dirty="0">
                <a:solidFill>
                  <a:srgbClr val="6D6E71"/>
                </a:solidFill>
                <a:latin typeface="HelveticaNeueLTPro-Blk"/>
                <a:cs typeface="HelveticaNeueLTPro-Blk"/>
              </a:rPr>
              <a:t>R:255 </a:t>
            </a:r>
            <a:r>
              <a:rPr sz="806" b="1" spc="4" dirty="0">
                <a:solidFill>
                  <a:srgbClr val="6D6E71"/>
                </a:solidFill>
                <a:latin typeface="HelveticaNeueLTPro-Blk"/>
                <a:cs typeface="HelveticaNeueLTPro-Blk"/>
              </a:rPr>
              <a:t>G:230</a:t>
            </a:r>
            <a:r>
              <a:rPr sz="806" b="1" spc="-40" dirty="0">
                <a:solidFill>
                  <a:srgbClr val="6D6E71"/>
                </a:solidFill>
                <a:latin typeface="HelveticaNeueLTPro-Blk"/>
                <a:cs typeface="HelveticaNeueLTPro-Blk"/>
              </a:rPr>
              <a:t> </a:t>
            </a:r>
            <a:r>
              <a:rPr sz="806" b="1" spc="8" dirty="0">
                <a:solidFill>
                  <a:srgbClr val="6D6E71"/>
                </a:solidFill>
                <a:latin typeface="HelveticaNeueLTPro-Blk"/>
                <a:cs typeface="HelveticaNeueLTPro-Blk"/>
              </a:rPr>
              <a:t>B:0</a:t>
            </a:r>
            <a:endParaRPr sz="806" dirty="0">
              <a:solidFill>
                <a:prstClr val="black"/>
              </a:solidFill>
              <a:latin typeface="HelveticaNeueLTPro-Blk"/>
              <a:cs typeface="HelveticaNeueLTPro-Blk"/>
            </a:endParaRPr>
          </a:p>
        </p:txBody>
      </p:sp>
      <p:sp>
        <p:nvSpPr>
          <p:cNvPr id="19" name="object 2">
            <a:extLst>
              <a:ext uri="{FF2B5EF4-FFF2-40B4-BE49-F238E27FC236}">
                <a16:creationId xmlns:a16="http://schemas.microsoft.com/office/drawing/2014/main" id="{D65B0A28-BEED-464F-B891-E16761BDB641}"/>
              </a:ext>
            </a:extLst>
          </p:cNvPr>
          <p:cNvSpPr txBox="1"/>
          <p:nvPr userDrawn="1"/>
        </p:nvSpPr>
        <p:spPr>
          <a:xfrm>
            <a:off x="6159910" y="285729"/>
            <a:ext cx="5443296" cy="1513253"/>
          </a:xfrm>
          <a:prstGeom prst="rect">
            <a:avLst/>
          </a:prstGeom>
        </p:spPr>
        <p:txBody>
          <a:bodyPr vert="horz" wrap="square" lIns="0" tIns="10241" rIns="0" bIns="0" rtlCol="0">
            <a:spAutoFit/>
          </a:bodyPr>
          <a:lstStyle/>
          <a:p>
            <a:pPr marL="10241" defTabSz="737372">
              <a:spcBef>
                <a:spcPts val="81"/>
              </a:spcBef>
            </a:pPr>
            <a:r>
              <a:rPr sz="968" b="1" dirty="0">
                <a:solidFill>
                  <a:srgbClr val="FFBF22"/>
                </a:solidFill>
                <a:latin typeface="HelveticaNeueLTPro-Hv"/>
                <a:cs typeface="HelveticaNeueLTPro-Hv"/>
              </a:rPr>
              <a:t>Primary</a:t>
            </a:r>
            <a:endParaRPr sz="968" dirty="0">
              <a:solidFill>
                <a:srgbClr val="FFBF22"/>
              </a:solidFill>
              <a:latin typeface="HelveticaNeueLTPro-Hv"/>
              <a:cs typeface="HelveticaNeueLTPro-Hv"/>
            </a:endParaRPr>
          </a:p>
          <a:p>
            <a:pPr marL="10241" marR="4097" defTabSz="737372">
              <a:lnSpc>
                <a:spcPct val="125000"/>
              </a:lnSpc>
              <a:spcAft>
                <a:spcPts val="484"/>
              </a:spcAft>
            </a:pPr>
            <a:r>
              <a:rPr sz="806" spc="-4" dirty="0">
                <a:solidFill>
                  <a:srgbClr val="6D6E71"/>
                </a:solidFill>
                <a:latin typeface="HelveticaNeueLTPro-Roman"/>
                <a:cs typeface="HelveticaNeueLTPro-Roman"/>
              </a:rPr>
              <a:t>This </a:t>
            </a:r>
            <a:r>
              <a:rPr sz="806" spc="-8" dirty="0">
                <a:solidFill>
                  <a:srgbClr val="6D6E71"/>
                </a:solidFill>
                <a:latin typeface="HelveticaNeueLTPro-Roman"/>
                <a:cs typeface="HelveticaNeueLTPro-Roman"/>
              </a:rPr>
              <a:t>palette </a:t>
            </a:r>
            <a:r>
              <a:rPr sz="806" spc="-4" dirty="0">
                <a:solidFill>
                  <a:srgbClr val="6D6E71"/>
                </a:solidFill>
                <a:latin typeface="HelveticaNeueLTPro-Roman"/>
                <a:cs typeface="HelveticaNeueLTPro-Roman"/>
              </a:rPr>
              <a:t>consists </a:t>
            </a:r>
            <a:r>
              <a:rPr sz="806" spc="-8" dirty="0">
                <a:solidFill>
                  <a:srgbClr val="6D6E71"/>
                </a:solidFill>
                <a:latin typeface="HelveticaNeueLTPro-Roman"/>
                <a:cs typeface="HelveticaNeueLTPro-Roman"/>
              </a:rPr>
              <a:t>of </a:t>
            </a:r>
            <a:r>
              <a:rPr sz="806" spc="-12" dirty="0">
                <a:solidFill>
                  <a:srgbClr val="6D6E71"/>
                </a:solidFill>
                <a:latin typeface="HelveticaNeueLTPro-Roman"/>
                <a:cs typeface="HelveticaNeueLTPro-Roman"/>
              </a:rPr>
              <a:t>yellows </a:t>
            </a:r>
            <a:r>
              <a:rPr sz="806" spc="-4" dirty="0">
                <a:solidFill>
                  <a:srgbClr val="6D6E71"/>
                </a:solidFill>
                <a:latin typeface="HelveticaNeueLTPro-Roman"/>
                <a:cs typeface="HelveticaNeueLTPro-Roman"/>
              </a:rPr>
              <a:t>and oranges, which </a:t>
            </a:r>
            <a:r>
              <a:rPr sz="806" spc="-12" dirty="0">
                <a:solidFill>
                  <a:srgbClr val="6D6E71"/>
                </a:solidFill>
                <a:latin typeface="HelveticaNeueLTPro-Roman"/>
                <a:cs typeface="HelveticaNeueLTPro-Roman"/>
              </a:rPr>
              <a:t>radiate </a:t>
            </a:r>
            <a:r>
              <a:rPr sz="806" spc="-8" dirty="0">
                <a:solidFill>
                  <a:srgbClr val="6D6E71"/>
                </a:solidFill>
                <a:latin typeface="HelveticaNeueLTPro-Roman"/>
                <a:cs typeface="HelveticaNeueLTPro-Roman"/>
              </a:rPr>
              <a:t>ambition, </a:t>
            </a:r>
            <a:r>
              <a:rPr sz="806" spc="-12" dirty="0">
                <a:solidFill>
                  <a:srgbClr val="6D6E71"/>
                </a:solidFill>
                <a:latin typeface="HelveticaNeueLTPro-Roman"/>
                <a:cs typeface="HelveticaNeueLTPro-Roman"/>
              </a:rPr>
              <a:t>energy, </a:t>
            </a:r>
            <a:r>
              <a:rPr sz="806" spc="-8" dirty="0">
                <a:solidFill>
                  <a:srgbClr val="6D6E71"/>
                </a:solidFill>
                <a:latin typeface="HelveticaNeueLTPro-Roman"/>
                <a:cs typeface="HelveticaNeueLTPro-Roman"/>
              </a:rPr>
              <a:t>warmth, </a:t>
            </a:r>
            <a:r>
              <a:rPr sz="806" spc="-4" dirty="0">
                <a:solidFill>
                  <a:srgbClr val="6D6E71"/>
                </a:solidFill>
                <a:latin typeface="HelveticaNeueLTPro-Roman"/>
                <a:cs typeface="HelveticaNeueLTPro-Roman"/>
              </a:rPr>
              <a:t>passion and </a:t>
            </a:r>
            <a:r>
              <a:rPr sz="806" spc="-12" dirty="0">
                <a:solidFill>
                  <a:srgbClr val="6D6E71"/>
                </a:solidFill>
                <a:latin typeface="HelveticaNeueLTPro-Roman"/>
                <a:cs typeface="HelveticaNeueLTPro-Roman"/>
              </a:rPr>
              <a:t>originality. </a:t>
            </a:r>
            <a:br>
              <a:rPr lang="en-GB" sz="806" spc="-12" dirty="0">
                <a:solidFill>
                  <a:srgbClr val="6D6E71"/>
                </a:solidFill>
                <a:latin typeface="HelveticaNeueLTPro-Roman"/>
                <a:cs typeface="HelveticaNeueLTPro-Roman"/>
              </a:rPr>
            </a:br>
            <a:r>
              <a:rPr sz="806" spc="-32" dirty="0">
                <a:solidFill>
                  <a:srgbClr val="6D6E71"/>
                </a:solidFill>
                <a:latin typeface="HelveticaNeueLTPro-Roman"/>
                <a:cs typeface="HelveticaNeueLTPro-Roman"/>
              </a:rPr>
              <a:t>You </a:t>
            </a:r>
            <a:r>
              <a:rPr sz="806" dirty="0">
                <a:solidFill>
                  <a:srgbClr val="6D6E71"/>
                </a:solidFill>
                <a:latin typeface="HelveticaNeueLTPro-Roman"/>
                <a:cs typeface="HelveticaNeueLTPro-Roman"/>
              </a:rPr>
              <a:t>can </a:t>
            </a:r>
            <a:r>
              <a:rPr sz="806" spc="-4" dirty="0">
                <a:solidFill>
                  <a:srgbClr val="6D6E71"/>
                </a:solidFill>
                <a:latin typeface="HelveticaNeueLTPro-Roman"/>
                <a:cs typeface="HelveticaNeueLTPro-Roman"/>
              </a:rPr>
              <a:t>use </a:t>
            </a:r>
            <a:r>
              <a:rPr sz="806" dirty="0">
                <a:solidFill>
                  <a:srgbClr val="6D6E71"/>
                </a:solidFill>
                <a:latin typeface="HelveticaNeueLTPro-Roman"/>
                <a:cs typeface="HelveticaNeueLTPro-Roman"/>
              </a:rPr>
              <a:t>a </a:t>
            </a:r>
            <a:r>
              <a:rPr sz="806" spc="-8" dirty="0">
                <a:solidFill>
                  <a:srgbClr val="6D6E71"/>
                </a:solidFill>
                <a:latin typeface="HelveticaNeueLTPro-Roman"/>
                <a:cs typeface="HelveticaNeueLTPro-Roman"/>
              </a:rPr>
              <a:t>gradient of </a:t>
            </a:r>
            <a:r>
              <a:rPr sz="806" spc="-4" dirty="0">
                <a:solidFill>
                  <a:srgbClr val="6D6E71"/>
                </a:solidFill>
                <a:latin typeface="HelveticaNeueLTPro-Roman"/>
                <a:cs typeface="HelveticaNeueLTPro-Roman"/>
              </a:rPr>
              <a:t>these </a:t>
            </a:r>
            <a:r>
              <a:rPr sz="806" spc="-4" dirty="0" err="1">
                <a:solidFill>
                  <a:srgbClr val="6D6E71"/>
                </a:solidFill>
                <a:latin typeface="HelveticaNeueLTPro-Roman"/>
                <a:cs typeface="HelveticaNeueLTPro-Roman"/>
              </a:rPr>
              <a:t>colours</a:t>
            </a:r>
            <a:r>
              <a:rPr sz="806" spc="-4" dirty="0">
                <a:solidFill>
                  <a:srgbClr val="6D6E71"/>
                </a:solidFill>
                <a:latin typeface="HelveticaNeueLTPro-Roman"/>
                <a:cs typeface="HelveticaNeueLTPro-Roman"/>
              </a:rPr>
              <a:t> </a:t>
            </a:r>
            <a:r>
              <a:rPr sz="806" dirty="0">
                <a:solidFill>
                  <a:srgbClr val="6D6E71"/>
                </a:solidFill>
                <a:latin typeface="HelveticaNeueLTPro-Roman"/>
                <a:cs typeface="HelveticaNeueLTPro-Roman"/>
              </a:rPr>
              <a:t>as a</a:t>
            </a:r>
            <a:r>
              <a:rPr sz="806" spc="20" dirty="0">
                <a:solidFill>
                  <a:srgbClr val="6D6E71"/>
                </a:solidFill>
                <a:latin typeface="HelveticaNeueLTPro-Roman"/>
                <a:cs typeface="HelveticaNeueLTPro-Roman"/>
              </a:rPr>
              <a:t> </a:t>
            </a:r>
            <a:r>
              <a:rPr sz="806" spc="-8" dirty="0">
                <a:solidFill>
                  <a:srgbClr val="6D6E71"/>
                </a:solidFill>
                <a:latin typeface="HelveticaNeueLTPro-Roman"/>
                <a:cs typeface="HelveticaNeueLTPro-Roman"/>
              </a:rPr>
              <a:t>background.</a:t>
            </a:r>
            <a:endParaRPr lang="en-GB" sz="806" spc="-8" dirty="0">
              <a:solidFill>
                <a:srgbClr val="6D6E71"/>
              </a:solidFill>
              <a:latin typeface="HelveticaNeueLTPro-Roman"/>
              <a:cs typeface="HelveticaNeueLTPro-Roman"/>
            </a:endParaRPr>
          </a:p>
          <a:p>
            <a:pPr marL="10241" defTabSz="737372"/>
            <a:r>
              <a:rPr lang="en-GB" sz="968" b="1" dirty="0">
                <a:solidFill>
                  <a:srgbClr val="FFBF22"/>
                </a:solidFill>
                <a:latin typeface="HelveticaNeueLTPro-Hv"/>
                <a:cs typeface="HelveticaNeueLTPro-Hv"/>
              </a:rPr>
              <a:t>Complementary</a:t>
            </a:r>
            <a:endParaRPr lang="en-GB" sz="968" dirty="0">
              <a:solidFill>
                <a:srgbClr val="FFBF22"/>
              </a:solidFill>
              <a:latin typeface="HelveticaNeueLTPro-Hv"/>
              <a:cs typeface="HelveticaNeueLTPro-Hv"/>
            </a:endParaRPr>
          </a:p>
          <a:p>
            <a:pPr marL="10241" marR="4097" defTabSz="737372">
              <a:lnSpc>
                <a:spcPct val="125000"/>
              </a:lnSpc>
              <a:spcAft>
                <a:spcPts val="484"/>
              </a:spcAft>
            </a:pPr>
            <a:r>
              <a:rPr lang="en-GB" sz="806" spc="-8" dirty="0">
                <a:solidFill>
                  <a:srgbClr val="6D6E71"/>
                </a:solidFill>
                <a:latin typeface="HelveticaNeueLTPro-Roman"/>
                <a:cs typeface="HelveticaNeueLTPro-Roman"/>
              </a:rPr>
              <a:t>Consisting of </a:t>
            </a:r>
            <a:r>
              <a:rPr lang="en-GB" sz="806" dirty="0">
                <a:solidFill>
                  <a:srgbClr val="6D6E71"/>
                </a:solidFill>
                <a:latin typeface="HelveticaNeueLTPro-Roman"/>
                <a:cs typeface="HelveticaNeueLTPro-Roman"/>
              </a:rPr>
              <a:t>a secondary </a:t>
            </a:r>
            <a:r>
              <a:rPr lang="en-GB" sz="806" spc="-4" dirty="0">
                <a:solidFill>
                  <a:srgbClr val="6D6E71"/>
                </a:solidFill>
                <a:latin typeface="HelveticaNeueLTPro-Roman"/>
                <a:cs typeface="HelveticaNeueLTPro-Roman"/>
              </a:rPr>
              <a:t>and </a:t>
            </a:r>
            <a:r>
              <a:rPr lang="en-GB" sz="806" dirty="0">
                <a:solidFill>
                  <a:srgbClr val="6D6E71"/>
                </a:solidFill>
                <a:latin typeface="HelveticaNeueLTPro-Roman"/>
                <a:cs typeface="HelveticaNeueLTPro-Roman"/>
              </a:rPr>
              <a:t>tertiary </a:t>
            </a:r>
            <a:r>
              <a:rPr lang="en-GB" sz="806" spc="-8" dirty="0">
                <a:solidFill>
                  <a:srgbClr val="6D6E71"/>
                </a:solidFill>
                <a:latin typeface="HelveticaNeueLTPro-Roman"/>
                <a:cs typeface="HelveticaNeueLTPro-Roman"/>
              </a:rPr>
              <a:t>palette. </a:t>
            </a:r>
            <a:r>
              <a:rPr lang="en-GB" sz="806" spc="-4" dirty="0">
                <a:solidFill>
                  <a:srgbClr val="6D6E71"/>
                </a:solidFill>
                <a:latin typeface="HelveticaNeueLTPro-Roman"/>
                <a:cs typeface="HelveticaNeueLTPro-Roman"/>
              </a:rPr>
              <a:t>This </a:t>
            </a:r>
            <a:r>
              <a:rPr lang="en-GB" sz="806" spc="-8" dirty="0">
                <a:solidFill>
                  <a:srgbClr val="6D6E71"/>
                </a:solidFill>
                <a:latin typeface="HelveticaNeueLTPro-Roman"/>
                <a:cs typeface="HelveticaNeueLTPro-Roman"/>
              </a:rPr>
              <a:t>palette </a:t>
            </a:r>
            <a:r>
              <a:rPr lang="en-GB" sz="806" spc="-4" dirty="0">
                <a:solidFill>
                  <a:srgbClr val="6D6E71"/>
                </a:solidFill>
                <a:latin typeface="HelveticaNeueLTPro-Roman"/>
                <a:cs typeface="HelveticaNeueLTPro-Roman"/>
              </a:rPr>
              <a:t>is  designed </a:t>
            </a:r>
            <a:r>
              <a:rPr lang="en-GB" sz="806" spc="-12" dirty="0">
                <a:solidFill>
                  <a:srgbClr val="6D6E71"/>
                </a:solidFill>
                <a:latin typeface="HelveticaNeueLTPro-Roman"/>
                <a:cs typeface="HelveticaNeueLTPro-Roman"/>
              </a:rPr>
              <a:t>to </a:t>
            </a:r>
            <a:r>
              <a:rPr lang="en-GB" sz="806" dirty="0">
                <a:solidFill>
                  <a:srgbClr val="6D6E71"/>
                </a:solidFill>
                <a:latin typeface="HelveticaNeueLTPro-Roman"/>
                <a:cs typeface="HelveticaNeueLTPro-Roman"/>
              </a:rPr>
              <a:t>support </a:t>
            </a:r>
            <a:r>
              <a:rPr lang="en-GB" sz="806" spc="-8" dirty="0">
                <a:solidFill>
                  <a:srgbClr val="6D6E71"/>
                </a:solidFill>
                <a:latin typeface="HelveticaNeueLTPro-Roman"/>
                <a:cs typeface="HelveticaNeueLTPro-Roman"/>
              </a:rPr>
              <a:t>the </a:t>
            </a:r>
            <a:r>
              <a:rPr lang="en-GB" sz="806" dirty="0">
                <a:solidFill>
                  <a:srgbClr val="6D6E71"/>
                </a:solidFill>
                <a:latin typeface="HelveticaNeueLTPro-Roman"/>
                <a:cs typeface="HelveticaNeueLTPro-Roman"/>
              </a:rPr>
              <a:t>primary </a:t>
            </a:r>
            <a:r>
              <a:rPr lang="en-GB" sz="806" spc="-4" dirty="0">
                <a:solidFill>
                  <a:srgbClr val="6D6E71"/>
                </a:solidFill>
                <a:latin typeface="HelveticaNeueLTPro-Roman"/>
                <a:cs typeface="HelveticaNeueLTPro-Roman"/>
              </a:rPr>
              <a:t>colours. Ideal if </a:t>
            </a:r>
            <a:r>
              <a:rPr lang="en-GB" sz="806" spc="-8" dirty="0">
                <a:solidFill>
                  <a:srgbClr val="6D6E71"/>
                </a:solidFill>
                <a:latin typeface="HelveticaNeueLTPro-Roman"/>
                <a:cs typeface="HelveticaNeueLTPro-Roman"/>
              </a:rPr>
              <a:t>communication </a:t>
            </a:r>
            <a:r>
              <a:rPr lang="en-GB" sz="806" dirty="0">
                <a:solidFill>
                  <a:srgbClr val="6D6E71"/>
                </a:solidFill>
                <a:latin typeface="HelveticaNeueLTPro-Roman"/>
                <a:cs typeface="HelveticaNeueLTPro-Roman"/>
              </a:rPr>
              <a:t>needs further </a:t>
            </a:r>
            <a:r>
              <a:rPr lang="en-GB" sz="806" spc="-4" dirty="0">
                <a:solidFill>
                  <a:srgbClr val="6D6E71"/>
                </a:solidFill>
                <a:latin typeface="HelveticaNeueLTPro-Roman"/>
                <a:cs typeface="HelveticaNeueLTPro-Roman"/>
              </a:rPr>
              <a:t>stand out. </a:t>
            </a:r>
            <a:r>
              <a:rPr lang="en-GB" sz="806" dirty="0">
                <a:solidFill>
                  <a:srgbClr val="6D6E71"/>
                </a:solidFill>
                <a:latin typeface="HelveticaNeueLTPro-Roman"/>
                <a:cs typeface="HelveticaNeueLTPro-Roman"/>
              </a:rPr>
              <a:t>These </a:t>
            </a:r>
            <a:r>
              <a:rPr lang="en-GB" sz="806" spc="-4" dirty="0">
                <a:solidFill>
                  <a:srgbClr val="6D6E71"/>
                </a:solidFill>
                <a:latin typeface="HelveticaNeueLTPro-Roman"/>
                <a:cs typeface="HelveticaNeueLTPro-Roman"/>
              </a:rPr>
              <a:t>colours are also designed </a:t>
            </a:r>
            <a:r>
              <a:rPr lang="en-GB" sz="806" spc="-8" dirty="0">
                <a:solidFill>
                  <a:srgbClr val="6D6E71"/>
                </a:solidFill>
                <a:latin typeface="HelveticaNeueLTPro-Roman"/>
                <a:cs typeface="HelveticaNeueLTPro-Roman"/>
              </a:rPr>
              <a:t>with </a:t>
            </a:r>
            <a:r>
              <a:rPr lang="en-GB" sz="806" dirty="0">
                <a:solidFill>
                  <a:srgbClr val="6D6E71"/>
                </a:solidFill>
                <a:latin typeface="HelveticaNeueLTPro-Roman"/>
                <a:cs typeface="HelveticaNeueLTPro-Roman"/>
              </a:rPr>
              <a:t>charts </a:t>
            </a:r>
            <a:r>
              <a:rPr lang="en-GB" sz="806" spc="-4" dirty="0">
                <a:solidFill>
                  <a:srgbClr val="6D6E71"/>
                </a:solidFill>
                <a:latin typeface="HelveticaNeueLTPro-Roman"/>
                <a:cs typeface="HelveticaNeueLTPro-Roman"/>
              </a:rPr>
              <a:t>and colour </a:t>
            </a:r>
            <a:r>
              <a:rPr lang="en-GB" sz="806" spc="-8" dirty="0">
                <a:solidFill>
                  <a:srgbClr val="6D6E71"/>
                </a:solidFill>
                <a:latin typeface="HelveticaNeueLTPro-Roman"/>
                <a:cs typeface="HelveticaNeueLTPro-Roman"/>
              </a:rPr>
              <a:t>coordinating </a:t>
            </a:r>
            <a:r>
              <a:rPr lang="en-GB" sz="806" spc="-4" dirty="0">
                <a:solidFill>
                  <a:srgbClr val="6D6E71"/>
                </a:solidFill>
                <a:latin typeface="HelveticaNeueLTPro-Roman"/>
                <a:cs typeface="HelveticaNeueLTPro-Roman"/>
              </a:rPr>
              <a:t>in</a:t>
            </a:r>
            <a:r>
              <a:rPr lang="en-GB" sz="806" spc="8" dirty="0">
                <a:solidFill>
                  <a:srgbClr val="6D6E71"/>
                </a:solidFill>
                <a:latin typeface="HelveticaNeueLTPro-Roman"/>
                <a:cs typeface="HelveticaNeueLTPro-Roman"/>
              </a:rPr>
              <a:t> </a:t>
            </a:r>
            <a:r>
              <a:rPr lang="en-GB" sz="806" spc="-8" dirty="0">
                <a:solidFill>
                  <a:srgbClr val="6D6E71"/>
                </a:solidFill>
                <a:latin typeface="HelveticaNeueLTPro-Roman"/>
                <a:cs typeface="HelveticaNeueLTPro-Roman"/>
              </a:rPr>
              <a:t>mind.</a:t>
            </a:r>
          </a:p>
          <a:p>
            <a:pPr marL="10241" defTabSz="737372">
              <a:spcBef>
                <a:spcPts val="81"/>
              </a:spcBef>
            </a:pPr>
            <a:r>
              <a:rPr lang="en-GB" sz="968" b="1" spc="-4" dirty="0">
                <a:solidFill>
                  <a:srgbClr val="FFBF22"/>
                </a:solidFill>
                <a:latin typeface="HelveticaNeueLTPro-Hv"/>
                <a:cs typeface="HelveticaNeueLTPro-Hv"/>
              </a:rPr>
              <a:t>Note</a:t>
            </a:r>
            <a:endParaRPr lang="en-GB" sz="968" dirty="0">
              <a:solidFill>
                <a:srgbClr val="FFBF22"/>
              </a:solidFill>
              <a:latin typeface="HelveticaNeueLTPro-Hv"/>
              <a:cs typeface="HelveticaNeueLTPro-Hv"/>
            </a:endParaRPr>
          </a:p>
          <a:p>
            <a:pPr marL="10241" marR="4097" defTabSz="737372">
              <a:lnSpc>
                <a:spcPct val="125000"/>
              </a:lnSpc>
            </a:pPr>
            <a:r>
              <a:rPr lang="en-GB" sz="806" spc="-4" dirty="0">
                <a:solidFill>
                  <a:srgbClr val="6D6E71"/>
                </a:solidFill>
                <a:latin typeface="HelveticaNeueLTPro-Roman"/>
                <a:cs typeface="HelveticaNeueLTPro-Roman"/>
              </a:rPr>
              <a:t>When using </a:t>
            </a:r>
            <a:r>
              <a:rPr lang="en-GB" sz="806" spc="-8" dirty="0">
                <a:solidFill>
                  <a:srgbClr val="6D6E71"/>
                </a:solidFill>
                <a:latin typeface="HelveticaNeueLTPro-Roman"/>
                <a:cs typeface="HelveticaNeueLTPro-Roman"/>
              </a:rPr>
              <a:t>the </a:t>
            </a:r>
            <a:r>
              <a:rPr lang="en-GB" sz="806" spc="-4" dirty="0">
                <a:solidFill>
                  <a:srgbClr val="6D6E71"/>
                </a:solidFill>
                <a:latin typeface="HelveticaNeueLTPro-Roman"/>
                <a:cs typeface="HelveticaNeueLTPro-Roman"/>
              </a:rPr>
              <a:t>colour </a:t>
            </a:r>
            <a:r>
              <a:rPr lang="en-GB" sz="806" spc="-8" dirty="0">
                <a:solidFill>
                  <a:srgbClr val="6D6E71"/>
                </a:solidFill>
                <a:latin typeface="HelveticaNeueLTPro-Roman"/>
                <a:cs typeface="HelveticaNeueLTPro-Roman"/>
              </a:rPr>
              <a:t>palette, refer </a:t>
            </a:r>
            <a:r>
              <a:rPr lang="en-GB" sz="806" spc="-12" dirty="0">
                <a:solidFill>
                  <a:srgbClr val="6D6E71"/>
                </a:solidFill>
                <a:latin typeface="HelveticaNeueLTPro-Roman"/>
                <a:cs typeface="HelveticaNeueLTPro-Roman"/>
              </a:rPr>
              <a:t>to </a:t>
            </a:r>
            <a:r>
              <a:rPr lang="en-GB" sz="806" spc="-8" dirty="0">
                <a:solidFill>
                  <a:srgbClr val="6D6E71"/>
                </a:solidFill>
                <a:latin typeface="HelveticaNeueLTPro-Roman"/>
                <a:cs typeface="HelveticaNeueLTPro-Roman"/>
              </a:rPr>
              <a:t>the templates provided  </a:t>
            </a:r>
            <a:r>
              <a:rPr lang="en-GB" sz="806" spc="-4" dirty="0">
                <a:solidFill>
                  <a:srgbClr val="6D6E71"/>
                </a:solidFill>
                <a:latin typeface="HelveticaNeueLTPro-Roman"/>
                <a:cs typeface="HelveticaNeueLTPro-Roman"/>
              </a:rPr>
              <a:t>and </a:t>
            </a:r>
            <a:r>
              <a:rPr lang="en-GB" sz="806" dirty="0">
                <a:solidFill>
                  <a:srgbClr val="6D6E71"/>
                </a:solidFill>
                <a:latin typeface="HelveticaNeueLTPro-Roman"/>
                <a:cs typeface="HelveticaNeueLTPro-Roman"/>
              </a:rPr>
              <a:t>be </a:t>
            </a:r>
            <a:r>
              <a:rPr lang="en-GB" sz="806" spc="-8" dirty="0">
                <a:solidFill>
                  <a:srgbClr val="6D6E71"/>
                </a:solidFill>
                <a:latin typeface="HelveticaNeueLTPro-Roman"/>
                <a:cs typeface="HelveticaNeueLTPro-Roman"/>
              </a:rPr>
              <a:t>mindful of </a:t>
            </a:r>
            <a:r>
              <a:rPr lang="en-GB" sz="806" spc="-4" dirty="0">
                <a:solidFill>
                  <a:srgbClr val="6D6E71"/>
                </a:solidFill>
                <a:latin typeface="HelveticaNeueLTPro-Roman"/>
                <a:cs typeface="HelveticaNeueLTPro-Roman"/>
              </a:rPr>
              <a:t>using </a:t>
            </a:r>
            <a:r>
              <a:rPr lang="en-GB" sz="806" spc="-8" dirty="0">
                <a:solidFill>
                  <a:srgbClr val="6D6E71"/>
                </a:solidFill>
                <a:latin typeface="HelveticaNeueLTPro-Roman"/>
                <a:cs typeface="HelveticaNeueLTPro-Roman"/>
              </a:rPr>
              <a:t>too many </a:t>
            </a:r>
            <a:r>
              <a:rPr lang="en-GB" sz="806" spc="-4" dirty="0">
                <a:solidFill>
                  <a:srgbClr val="6D6E71"/>
                </a:solidFill>
                <a:latin typeface="HelveticaNeueLTPro-Roman"/>
                <a:cs typeface="HelveticaNeueLTPro-Roman"/>
              </a:rPr>
              <a:t>colours on one </a:t>
            </a:r>
            <a:br>
              <a:rPr lang="en-GB" sz="806" spc="-4" dirty="0">
                <a:solidFill>
                  <a:srgbClr val="6D6E71"/>
                </a:solidFill>
                <a:latin typeface="HelveticaNeueLTPro-Roman"/>
                <a:cs typeface="HelveticaNeueLTPro-Roman"/>
              </a:rPr>
            </a:br>
            <a:r>
              <a:rPr lang="en-GB" sz="806" spc="-4" dirty="0">
                <a:solidFill>
                  <a:srgbClr val="6D6E71"/>
                </a:solidFill>
                <a:latin typeface="HelveticaNeueLTPro-Roman"/>
                <a:cs typeface="HelveticaNeueLTPro-Roman"/>
              </a:rPr>
              <a:t>piece </a:t>
            </a:r>
            <a:r>
              <a:rPr lang="en-GB" sz="806" spc="-8" dirty="0">
                <a:solidFill>
                  <a:srgbClr val="6D6E71"/>
                </a:solidFill>
                <a:latin typeface="HelveticaNeueLTPro-Roman"/>
                <a:cs typeface="HelveticaNeueLTPro-Roman"/>
              </a:rPr>
              <a:t>of communication. </a:t>
            </a:r>
            <a:r>
              <a:rPr lang="en-GB" sz="806" spc="-12" dirty="0">
                <a:solidFill>
                  <a:srgbClr val="6D6E71"/>
                </a:solidFill>
                <a:latin typeface="HelveticaNeueLTPro-Roman"/>
                <a:cs typeface="HelveticaNeueLTPro-Roman"/>
              </a:rPr>
              <a:t>Make </a:t>
            </a:r>
            <a:r>
              <a:rPr lang="en-GB" sz="806" spc="-4" dirty="0">
                <a:solidFill>
                  <a:srgbClr val="6D6E71"/>
                </a:solidFill>
                <a:latin typeface="HelveticaNeueLTPro-Roman"/>
                <a:cs typeface="HelveticaNeueLTPro-Roman"/>
              </a:rPr>
              <a:t>sure </a:t>
            </a:r>
            <a:r>
              <a:rPr lang="en-GB" sz="806" spc="-8" dirty="0">
                <a:solidFill>
                  <a:srgbClr val="6D6E71"/>
                </a:solidFill>
                <a:latin typeface="HelveticaNeueLTPro-Roman"/>
                <a:cs typeface="HelveticaNeueLTPro-Roman"/>
              </a:rPr>
              <a:t>the copy </a:t>
            </a:r>
            <a:r>
              <a:rPr lang="en-GB" sz="806" spc="-4" dirty="0">
                <a:solidFill>
                  <a:srgbClr val="6D6E71"/>
                </a:solidFill>
                <a:latin typeface="HelveticaNeueLTPro-Roman"/>
                <a:cs typeface="HelveticaNeueLTPro-Roman"/>
              </a:rPr>
              <a:t>and </a:t>
            </a:r>
            <a:r>
              <a:rPr lang="en-GB" sz="806" dirty="0">
                <a:solidFill>
                  <a:srgbClr val="6D6E71"/>
                </a:solidFill>
                <a:latin typeface="HelveticaNeueLTPro-Roman"/>
                <a:cs typeface="HelveticaNeueLTPro-Roman"/>
              </a:rPr>
              <a:t>imagery </a:t>
            </a:r>
            <a:r>
              <a:rPr lang="en-GB" sz="806" spc="-4" dirty="0">
                <a:solidFill>
                  <a:srgbClr val="6D6E71"/>
                </a:solidFill>
                <a:latin typeface="HelveticaNeueLTPro-Roman"/>
                <a:cs typeface="HelveticaNeueLTPro-Roman"/>
              </a:rPr>
              <a:t>are </a:t>
            </a:r>
            <a:r>
              <a:rPr lang="en-GB" sz="806" spc="-8" dirty="0">
                <a:solidFill>
                  <a:srgbClr val="6D6E71"/>
                </a:solidFill>
                <a:latin typeface="HelveticaNeueLTPro-Roman"/>
                <a:cs typeface="HelveticaNeueLTPro-Roman"/>
              </a:rPr>
              <a:t>legible </a:t>
            </a:r>
            <a:r>
              <a:rPr lang="en-GB" sz="806" spc="-4" dirty="0">
                <a:solidFill>
                  <a:srgbClr val="6D6E71"/>
                </a:solidFill>
                <a:latin typeface="HelveticaNeueLTPro-Roman"/>
                <a:cs typeface="HelveticaNeueLTPro-Roman"/>
              </a:rPr>
              <a:t>and </a:t>
            </a:r>
            <a:r>
              <a:rPr lang="en-GB" sz="806" spc="-8" dirty="0">
                <a:solidFill>
                  <a:srgbClr val="6D6E71"/>
                </a:solidFill>
                <a:latin typeface="HelveticaNeueLTPro-Roman"/>
                <a:cs typeface="HelveticaNeueLTPro-Roman"/>
              </a:rPr>
              <a:t>that </a:t>
            </a:r>
            <a:r>
              <a:rPr lang="en-GB" sz="806" spc="-4" dirty="0">
                <a:solidFill>
                  <a:srgbClr val="6D6E71"/>
                </a:solidFill>
                <a:latin typeface="HelveticaNeueLTPro-Roman"/>
                <a:cs typeface="HelveticaNeueLTPro-Roman"/>
              </a:rPr>
              <a:t>colours are used</a:t>
            </a:r>
            <a:r>
              <a:rPr lang="en-GB" sz="806" spc="16" dirty="0">
                <a:solidFill>
                  <a:srgbClr val="6D6E71"/>
                </a:solidFill>
                <a:latin typeface="HelveticaNeueLTPro-Roman"/>
                <a:cs typeface="HelveticaNeueLTPro-Roman"/>
              </a:rPr>
              <a:t> </a:t>
            </a:r>
            <a:r>
              <a:rPr lang="en-GB" sz="806" spc="-12" dirty="0">
                <a:solidFill>
                  <a:srgbClr val="6D6E71"/>
                </a:solidFill>
                <a:latin typeface="HelveticaNeueLTPro-Roman"/>
                <a:cs typeface="HelveticaNeueLTPro-Roman"/>
              </a:rPr>
              <a:t>sparingly.</a:t>
            </a:r>
            <a:endParaRPr lang="en-GB" sz="806" dirty="0">
              <a:solidFill>
                <a:prstClr val="black"/>
              </a:solidFill>
              <a:latin typeface="HelveticaNeueLTPro-Roman"/>
              <a:cs typeface="HelveticaNeueLTPro-Roman"/>
            </a:endParaRPr>
          </a:p>
        </p:txBody>
      </p:sp>
      <p:sp>
        <p:nvSpPr>
          <p:cNvPr id="20" name="Rectangle 19">
            <a:extLst>
              <a:ext uri="{FF2B5EF4-FFF2-40B4-BE49-F238E27FC236}">
                <a16:creationId xmlns:a16="http://schemas.microsoft.com/office/drawing/2014/main" id="{1A785225-9A48-D846-BA65-07C0DF0D6E51}"/>
              </a:ext>
            </a:extLst>
          </p:cNvPr>
          <p:cNvSpPr/>
          <p:nvPr userDrawn="1"/>
        </p:nvSpPr>
        <p:spPr>
          <a:xfrm>
            <a:off x="6096000" y="1980046"/>
            <a:ext cx="579646" cy="216341"/>
          </a:xfrm>
          <a:prstGeom prst="rect">
            <a:avLst/>
          </a:prstGeom>
        </p:spPr>
        <p:txBody>
          <a:bodyPr wrap="none">
            <a:spAutoFit/>
          </a:bodyPr>
          <a:lstStyle/>
          <a:p>
            <a:pPr marL="10241" defTabSz="737372">
              <a:spcBef>
                <a:spcPts val="81"/>
              </a:spcBef>
            </a:pPr>
            <a:r>
              <a:rPr lang="en-GB" sz="806" b="1" dirty="0">
                <a:solidFill>
                  <a:srgbClr val="FFBF22"/>
                </a:solidFill>
                <a:latin typeface="HelveticaNeueLTPro-Hv"/>
                <a:cs typeface="HelveticaNeueLTPro-Hv"/>
              </a:rPr>
              <a:t>Primary</a:t>
            </a:r>
            <a:endParaRPr lang="en-GB" sz="806" dirty="0">
              <a:solidFill>
                <a:srgbClr val="FFBF22"/>
              </a:solidFill>
              <a:latin typeface="HelveticaNeueLTPro-Hv"/>
              <a:cs typeface="HelveticaNeueLTPro-Hv"/>
            </a:endParaRPr>
          </a:p>
        </p:txBody>
      </p:sp>
      <p:sp>
        <p:nvSpPr>
          <p:cNvPr id="21" name="Rectangle 20">
            <a:extLst>
              <a:ext uri="{FF2B5EF4-FFF2-40B4-BE49-F238E27FC236}">
                <a16:creationId xmlns:a16="http://schemas.microsoft.com/office/drawing/2014/main" id="{2D20D11B-5369-8A4D-B36F-6DC0DC12C1CF}"/>
              </a:ext>
            </a:extLst>
          </p:cNvPr>
          <p:cNvSpPr/>
          <p:nvPr userDrawn="1"/>
        </p:nvSpPr>
        <p:spPr>
          <a:xfrm>
            <a:off x="6105333" y="4801764"/>
            <a:ext cx="973985" cy="216341"/>
          </a:xfrm>
          <a:prstGeom prst="rect">
            <a:avLst/>
          </a:prstGeom>
        </p:spPr>
        <p:txBody>
          <a:bodyPr wrap="none">
            <a:spAutoFit/>
          </a:bodyPr>
          <a:lstStyle/>
          <a:p>
            <a:pPr marL="10241" defTabSz="737372">
              <a:spcBef>
                <a:spcPts val="81"/>
              </a:spcBef>
            </a:pPr>
            <a:r>
              <a:rPr lang="en-GB" sz="806" b="1" dirty="0">
                <a:solidFill>
                  <a:srgbClr val="FFBF22"/>
                </a:solidFill>
                <a:latin typeface="HelveticaNeueLTPro-Hv"/>
                <a:cs typeface="HelveticaNeueLTPro-Hv"/>
              </a:rPr>
              <a:t>Complementary</a:t>
            </a:r>
            <a:endParaRPr lang="en-GB" sz="806" dirty="0">
              <a:solidFill>
                <a:srgbClr val="FFBF22"/>
              </a:solidFill>
              <a:latin typeface="HelveticaNeueLTPro-Hv"/>
              <a:cs typeface="HelveticaNeueLTPro-Hv"/>
            </a:endParaRPr>
          </a:p>
        </p:txBody>
      </p:sp>
      <p:sp>
        <p:nvSpPr>
          <p:cNvPr id="22" name="Rectangle 21">
            <a:extLst>
              <a:ext uri="{FF2B5EF4-FFF2-40B4-BE49-F238E27FC236}">
                <a16:creationId xmlns:a16="http://schemas.microsoft.com/office/drawing/2014/main" id="{80EBBE67-735C-BC45-9397-22C2FACEDCE8}"/>
              </a:ext>
            </a:extLst>
          </p:cNvPr>
          <p:cNvSpPr/>
          <p:nvPr userDrawn="1"/>
        </p:nvSpPr>
        <p:spPr>
          <a:xfrm>
            <a:off x="8885405" y="1974306"/>
            <a:ext cx="973985" cy="216341"/>
          </a:xfrm>
          <a:prstGeom prst="rect">
            <a:avLst/>
          </a:prstGeom>
        </p:spPr>
        <p:txBody>
          <a:bodyPr wrap="none">
            <a:spAutoFit/>
          </a:bodyPr>
          <a:lstStyle/>
          <a:p>
            <a:pPr marL="10241" defTabSz="737372">
              <a:spcBef>
                <a:spcPts val="81"/>
              </a:spcBef>
            </a:pPr>
            <a:r>
              <a:rPr lang="en-GB" sz="806" b="1" dirty="0">
                <a:solidFill>
                  <a:srgbClr val="FFBF22"/>
                </a:solidFill>
                <a:latin typeface="HelveticaNeueLTPro-Hv"/>
                <a:cs typeface="HelveticaNeueLTPro-Hv"/>
              </a:rPr>
              <a:t>Complementary</a:t>
            </a:r>
            <a:endParaRPr lang="en-GB" sz="806" dirty="0">
              <a:solidFill>
                <a:srgbClr val="FFBF22"/>
              </a:solidFill>
              <a:latin typeface="HelveticaNeueLTPro-Hv"/>
              <a:cs typeface="HelveticaNeueLTPro-Hv"/>
            </a:endParaRPr>
          </a:p>
        </p:txBody>
      </p:sp>
      <p:sp>
        <p:nvSpPr>
          <p:cNvPr id="23" name="Title 2">
            <a:extLst>
              <a:ext uri="{FF2B5EF4-FFF2-40B4-BE49-F238E27FC236}">
                <a16:creationId xmlns:a16="http://schemas.microsoft.com/office/drawing/2014/main" id="{705249DA-C75A-454C-80D2-291C9ADA6187}"/>
              </a:ext>
            </a:extLst>
          </p:cNvPr>
          <p:cNvSpPr txBox="1">
            <a:spLocks/>
          </p:cNvSpPr>
          <p:nvPr userDrawn="1"/>
        </p:nvSpPr>
        <p:spPr>
          <a:xfrm>
            <a:off x="505619" y="1096912"/>
            <a:ext cx="3961895" cy="824764"/>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pPr defTabSz="737354"/>
            <a:r>
              <a:rPr lang="en-GB" sz="3548" dirty="0">
                <a:latin typeface="Helvetica Neue LT Pro 55 Roman" panose="020B0604020202020204" pitchFamily="34" charset="77"/>
              </a:rPr>
              <a:t>Title Slide Header</a:t>
            </a:r>
          </a:p>
          <a:p>
            <a:pPr defTabSz="737354"/>
            <a:r>
              <a:rPr lang="en-US" sz="1129" dirty="0">
                <a:solidFill>
                  <a:prstClr val="black">
                    <a:lumMod val="65000"/>
                    <a:lumOff val="35000"/>
                  </a:prstClr>
                </a:solidFill>
                <a:latin typeface="Helvetica Neue LT Pro 55 Roman" panose="020B0604020202020204" pitchFamily="34" charset="77"/>
              </a:rPr>
              <a:t>Helvetica Neue Lt Pro – 44pt</a:t>
            </a:r>
          </a:p>
        </p:txBody>
      </p:sp>
      <p:sp>
        <p:nvSpPr>
          <p:cNvPr id="24" name="Text Placeholder 3">
            <a:extLst>
              <a:ext uri="{FF2B5EF4-FFF2-40B4-BE49-F238E27FC236}">
                <a16:creationId xmlns:a16="http://schemas.microsoft.com/office/drawing/2014/main" id="{897AA2E2-E1CF-3541-A4BF-B5E6E7D34363}"/>
              </a:ext>
            </a:extLst>
          </p:cNvPr>
          <p:cNvSpPr txBox="1">
            <a:spLocks/>
          </p:cNvSpPr>
          <p:nvPr userDrawn="1"/>
        </p:nvSpPr>
        <p:spPr>
          <a:xfrm>
            <a:off x="505620" y="2199132"/>
            <a:ext cx="4399855" cy="1827906"/>
          </a:xfrm>
          <a:prstGeom prst="rect">
            <a:avLst/>
          </a:prstGeom>
          <a:ln>
            <a:noFill/>
          </a:ln>
        </p:spPr>
        <p:txBody>
          <a:bodyPr/>
          <a:lstStyle>
            <a:lvl1pPr marL="0" indent="0" algn="l" defTabSz="914377" rtl="0" eaLnBrk="1" latinLnBrk="0" hangingPunct="1">
              <a:lnSpc>
                <a:spcPct val="90000"/>
              </a:lnSpc>
              <a:spcBef>
                <a:spcPts val="1000"/>
              </a:spcBef>
              <a:buFont typeface="Arial" panose="020B0604020202020204" pitchFamily="34" charset="0"/>
              <a:buNone/>
              <a:defRPr sz="1400" b="0" i="0" kern="1200">
                <a:solidFill>
                  <a:srgbClr val="FFBF22"/>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T Std 35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354">
              <a:spcBef>
                <a:spcPts val="806"/>
              </a:spcBef>
              <a:defRPr/>
            </a:pPr>
            <a:r>
              <a:rPr lang="en-GB" sz="1290" dirty="0">
                <a:solidFill>
                  <a:srgbClr val="000000">
                    <a:lumMod val="65000"/>
                    <a:lumOff val="35000"/>
                  </a:srgbClr>
                </a:solidFill>
                <a:latin typeface="Helvetica Neue LT Pro 65 Medium" panose="020B0604020202020204" pitchFamily="34" charset="77"/>
                <a:ea typeface="Helvetica Neue Medium" panose="02000503000000020004" pitchFamily="2" charset="0"/>
                <a:cs typeface="Helvetica Neue Medium" panose="02000503000000020004" pitchFamily="2" charset="0"/>
              </a:rPr>
              <a:t>Lorem ipsum dolor sit amet, consectetuer adipiscing elit. Maecenas porttitor congue massa. Fusce posuere, magna sed pulvinar ultricies, purus lectus malesuada libero, sit amet commodo magna eros quis urna.</a:t>
            </a:r>
          </a:p>
          <a:p>
            <a:pPr defTabSz="737354">
              <a:spcBef>
                <a:spcPts val="806"/>
              </a:spcBef>
              <a:defRPr/>
            </a:pPr>
            <a:r>
              <a:rPr lang="en-GB" sz="1290" dirty="0">
                <a:solidFill>
                  <a:srgbClr val="000000">
                    <a:lumMod val="65000"/>
                    <a:lumOff val="35000"/>
                  </a:srgbClr>
                </a:solidFill>
                <a:latin typeface="Helvetica Neue LT Pro 55 Roman" panose="020B0604020202020204" pitchFamily="34" charset="77"/>
              </a:rPr>
              <a:t>Lorem ipsum dolor sit amet, consectetuer adipiscing elit. Maecenas porttitor congue massa. Fusce posuere, magna sed pulvinar ultricies, purus lectus malesuada libero, sit amet commodo magna eros quis urna.</a:t>
            </a:r>
          </a:p>
          <a:p>
            <a:pPr defTabSz="737354">
              <a:spcBef>
                <a:spcPts val="806"/>
              </a:spcBef>
              <a:defRPr/>
            </a:pPr>
            <a:r>
              <a:rPr lang="en-GB" sz="1290" dirty="0">
                <a:latin typeface="Helvetica Neue LT Pro 55 Roman" panose="020B0604020202020204" pitchFamily="34" charset="77"/>
              </a:rPr>
              <a:t>Intro copy – Helvetica Neue LT Pro – 16pt </a:t>
            </a:r>
          </a:p>
          <a:p>
            <a:pPr defTabSz="737354">
              <a:spcBef>
                <a:spcPts val="806"/>
              </a:spcBef>
              <a:defRPr/>
            </a:pPr>
            <a:endParaRPr lang="en-GB" sz="1290" dirty="0">
              <a:solidFill>
                <a:srgbClr val="000000">
                  <a:lumMod val="65000"/>
                  <a:lumOff val="35000"/>
                </a:srgbClr>
              </a:solidFill>
              <a:latin typeface="Helvetica Neue LT Pro 55 Roman" panose="020B0604020202020204" pitchFamily="34" charset="77"/>
            </a:endParaRPr>
          </a:p>
        </p:txBody>
      </p:sp>
      <p:sp>
        <p:nvSpPr>
          <p:cNvPr id="25" name="Text Placeholder 4">
            <a:extLst>
              <a:ext uri="{FF2B5EF4-FFF2-40B4-BE49-F238E27FC236}">
                <a16:creationId xmlns:a16="http://schemas.microsoft.com/office/drawing/2014/main" id="{8E220FFE-5FDA-3849-836D-ACB2EF7024F9}"/>
              </a:ext>
            </a:extLst>
          </p:cNvPr>
          <p:cNvSpPr txBox="1">
            <a:spLocks/>
          </p:cNvSpPr>
          <p:nvPr userDrawn="1"/>
        </p:nvSpPr>
        <p:spPr>
          <a:xfrm>
            <a:off x="505620" y="4392704"/>
            <a:ext cx="4179168" cy="216972"/>
          </a:xfrm>
          <a:prstGeom prst="rect">
            <a:avLst/>
          </a:prstGeom>
          <a:ln>
            <a:noFill/>
          </a:ln>
        </p:spPr>
        <p:txBody>
          <a:bodyPr/>
          <a:lstStyle>
            <a:lvl1pPr marL="0" indent="0" algn="l" defTabSz="914377" rtl="0" eaLnBrk="1" latinLnBrk="0" hangingPunct="1">
              <a:lnSpc>
                <a:spcPct val="90000"/>
              </a:lnSpc>
              <a:spcBef>
                <a:spcPts val="1000"/>
              </a:spcBef>
              <a:buFont typeface="Arial" panose="020B0604020202020204" pitchFamily="34" charset="0"/>
              <a:buNone/>
              <a:defRPr sz="1200" b="1" i="1" kern="1200">
                <a:solidFill>
                  <a:srgbClr val="E75400"/>
                </a:solidFill>
                <a:latin typeface="Helvetica Neue LT Std 97 Black " panose="020B0604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E8BC28"/>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T Std 35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354">
              <a:spcBef>
                <a:spcPts val="806"/>
              </a:spcBef>
            </a:pPr>
            <a:r>
              <a:rPr lang="en-GB" sz="1290" b="0" i="0" dirty="0">
                <a:solidFill>
                  <a:srgbClr val="F26522"/>
                </a:solidFill>
                <a:latin typeface="Helvetica Neue LT Pro 55 Roman" panose="020B0604020202020204" pitchFamily="34" charset="77"/>
              </a:rPr>
              <a:t>Sub Header Copy Here – Helvetica Neue Lt Pro – 16pt</a:t>
            </a:r>
          </a:p>
          <a:p>
            <a:pPr defTabSz="737354">
              <a:spcBef>
                <a:spcPts val="806"/>
              </a:spcBef>
            </a:pPr>
            <a:endParaRPr lang="en-US" sz="1290" b="0" i="0" dirty="0">
              <a:latin typeface="Helvetica Neue LT Std 65 Medium" panose="020B0604020202020204" pitchFamily="34" charset="0"/>
            </a:endParaRPr>
          </a:p>
        </p:txBody>
      </p:sp>
      <p:sp>
        <p:nvSpPr>
          <p:cNvPr id="26" name="Text Placeholder 5">
            <a:extLst>
              <a:ext uri="{FF2B5EF4-FFF2-40B4-BE49-F238E27FC236}">
                <a16:creationId xmlns:a16="http://schemas.microsoft.com/office/drawing/2014/main" id="{7E28C139-CAD0-5C49-9F98-ED8F66B34D0B}"/>
              </a:ext>
            </a:extLst>
          </p:cNvPr>
          <p:cNvSpPr txBox="1">
            <a:spLocks/>
          </p:cNvSpPr>
          <p:nvPr userDrawn="1"/>
        </p:nvSpPr>
        <p:spPr>
          <a:xfrm>
            <a:off x="505619" y="4787365"/>
            <a:ext cx="4256373" cy="948457"/>
          </a:xfrm>
          <a:prstGeom prst="rect">
            <a:avLst/>
          </a:prstGeom>
          <a:ln>
            <a:noFill/>
          </a:ln>
        </p:spPr>
        <p:txBody>
          <a:bodyPr numCol="2"/>
          <a:lstStyle>
            <a:lvl1pPr marL="285750" indent="-285750" algn="l" defTabSz="914377" rtl="0" eaLnBrk="1" latinLnBrk="0" hangingPunct="1">
              <a:lnSpc>
                <a:spcPct val="90000"/>
              </a:lnSpc>
              <a:spcBef>
                <a:spcPts val="1000"/>
              </a:spcBef>
              <a:buFont typeface="Arial" panose="020B0604020202020204" pitchFamily="34" charset="0"/>
              <a:buChar char="•"/>
              <a:defRPr sz="1200" b="0" i="0" kern="1200">
                <a:solidFill>
                  <a:schemeClr val="tx1">
                    <a:lumMod val="65000"/>
                    <a:lumOff val="35000"/>
                  </a:schemeClr>
                </a:solidFill>
                <a:latin typeface="Helvetica Neue LT Std 45 Light" panose="020B0403020202020204" pitchFamily="34" charset="0"/>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1400" b="0" i="0" kern="1200">
                <a:ln>
                  <a:noFill/>
                </a:ln>
                <a:solidFill>
                  <a:srgbClr val="E8BC28"/>
                </a:solidFill>
                <a:latin typeface="Helvetica Neue LT Std 45 Light" panose="020B0403020202020204" pitchFamily="34" charset="0"/>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1400" b="0" i="0" kern="1200">
                <a:solidFill>
                  <a:srgbClr val="20201E"/>
                </a:solidFill>
                <a:latin typeface="Helvetica Neue LT Std 45 Light" panose="020B0403020202020204" pitchFamily="34" charset="0"/>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400" b="0" i="0" kern="1200">
                <a:solidFill>
                  <a:srgbClr val="20201E"/>
                </a:solidFill>
                <a:latin typeface="Helvetica Neue LT Std 45 Light" panose="020B0403020202020204" pitchFamily="34" charset="0"/>
                <a:ea typeface="+mn-ea"/>
                <a:cs typeface="+mn-cs"/>
              </a:defRPr>
            </a:lvl4pPr>
            <a:lvl5pPr marL="1828755" indent="0" algn="l" defTabSz="914377" rtl="0" eaLnBrk="1" latinLnBrk="0" hangingPunct="1">
              <a:lnSpc>
                <a:spcPct val="90000"/>
              </a:lnSpc>
              <a:spcBef>
                <a:spcPts val="500"/>
              </a:spcBef>
              <a:buFont typeface="Arial" panose="020B0604020202020204" pitchFamily="34" charset="0"/>
              <a:buNone/>
              <a:defRPr sz="1800" b="0" i="0" kern="1200">
                <a:solidFill>
                  <a:schemeClr val="tx1"/>
                </a:solidFill>
                <a:latin typeface="Helvetica Neue LT Std 35 Thin" panose="020B0403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0429" indent="-230429" defTabSz="737354">
              <a:spcBef>
                <a:spcPts val="806"/>
              </a:spcBef>
            </a:pPr>
            <a:r>
              <a:rPr lang="en-US" sz="887" dirty="0">
                <a:solidFill>
                  <a:prstClr val="black">
                    <a:lumMod val="65000"/>
                    <a:lumOff val="35000"/>
                  </a:prstClr>
                </a:solidFill>
                <a:latin typeface="Helvetica Neue LT Pro 45 Light" panose="020B0403020202020204" pitchFamily="34" charset="77"/>
              </a:rPr>
              <a:t>Ab inis est aut voloriae. Genesseria ipicatur ad quia dit eatur repudae doluptat</a:t>
            </a:r>
            <a:br>
              <a:rPr lang="en-GB" sz="887" dirty="0">
                <a:solidFill>
                  <a:srgbClr val="000000">
                    <a:lumMod val="65000"/>
                    <a:lumOff val="35000"/>
                  </a:srgbClr>
                </a:solidFill>
                <a:latin typeface="Helvetica Neue LT Pro 45 Light" panose="020B0403020202020204" pitchFamily="34" charset="77"/>
              </a:rPr>
            </a:br>
            <a:br>
              <a:rPr lang="en-GB" sz="887" dirty="0">
                <a:solidFill>
                  <a:srgbClr val="000000">
                    <a:lumMod val="65000"/>
                    <a:lumOff val="35000"/>
                  </a:srgbClr>
                </a:solidFill>
                <a:latin typeface="Helvetica Neue LT Pro 45 Light" panose="020B0403020202020204" pitchFamily="34" charset="77"/>
              </a:rPr>
            </a:br>
            <a:r>
              <a:rPr lang="en-US" sz="887" dirty="0">
                <a:solidFill>
                  <a:prstClr val="black">
                    <a:lumMod val="65000"/>
                    <a:lumOff val="35000"/>
                  </a:prstClr>
                </a:solidFill>
                <a:latin typeface="Helvetica Neue LT Pro 45 Light" panose="020B0403020202020204" pitchFamily="34" charset="77"/>
              </a:rPr>
              <a:t>Quid est, sunti officiist, to volut </a:t>
            </a:r>
            <a:br>
              <a:rPr lang="en-US" sz="887" dirty="0">
                <a:solidFill>
                  <a:prstClr val="black">
                    <a:lumMod val="65000"/>
                    <a:lumOff val="35000"/>
                  </a:prstClr>
                </a:solidFill>
                <a:latin typeface="Helvetica Neue LT Pro 45 Light" panose="020B0403020202020204" pitchFamily="34" charset="77"/>
              </a:rPr>
            </a:br>
            <a:r>
              <a:rPr lang="en-US" sz="887" dirty="0">
                <a:solidFill>
                  <a:prstClr val="black">
                    <a:lumMod val="65000"/>
                    <a:lumOff val="35000"/>
                  </a:prstClr>
                </a:solidFill>
                <a:latin typeface="Helvetica Neue LT Pro 45 Light" panose="020B0403020202020204" pitchFamily="34" charset="77"/>
              </a:rPr>
              <a:t>aut et qui </a:t>
            </a:r>
          </a:p>
          <a:p>
            <a:pPr marL="230429" indent="-230429" defTabSz="737354">
              <a:spcBef>
                <a:spcPts val="806"/>
              </a:spcBef>
            </a:pPr>
            <a:r>
              <a:rPr lang="en-US" sz="887" dirty="0">
                <a:solidFill>
                  <a:prstClr val="black">
                    <a:lumMod val="65000"/>
                    <a:lumOff val="35000"/>
                  </a:prstClr>
                </a:solidFill>
                <a:latin typeface="Helvetica Neue LT Pro 45 Light" panose="020B0403020202020204" pitchFamily="34" charset="77"/>
              </a:rPr>
              <a:t>Quid est, sunti officiist, to volut aut et qui dolupta cus velecti berios se laborporitio</a:t>
            </a:r>
          </a:p>
          <a:p>
            <a:pPr marL="230429" indent="-230429" defTabSz="737354">
              <a:spcBef>
                <a:spcPts val="806"/>
              </a:spcBef>
            </a:pPr>
            <a:r>
              <a:rPr lang="en-US" sz="1129" dirty="0">
                <a:solidFill>
                  <a:srgbClr val="000000">
                    <a:lumMod val="65000"/>
                    <a:lumOff val="35000"/>
                  </a:srgbClr>
                </a:solidFill>
                <a:latin typeface="Helvetica Neue LT Pro 45 Light" panose="020B0403020202020204" pitchFamily="34" charset="77"/>
              </a:rPr>
              <a:t>Body Copy – </a:t>
            </a:r>
            <a:br>
              <a:rPr lang="en-US" sz="1129" dirty="0">
                <a:solidFill>
                  <a:srgbClr val="000000">
                    <a:lumMod val="65000"/>
                    <a:lumOff val="35000"/>
                  </a:srgbClr>
                </a:solidFill>
                <a:latin typeface="Helvetica Neue LT Pro 45 Light" panose="020B0403020202020204" pitchFamily="34" charset="77"/>
              </a:rPr>
            </a:br>
            <a:r>
              <a:rPr lang="en-US" sz="1129" dirty="0">
                <a:solidFill>
                  <a:srgbClr val="000000">
                    <a:lumMod val="65000"/>
                    <a:lumOff val="35000"/>
                  </a:srgbClr>
                </a:solidFill>
                <a:latin typeface="Helvetica Neue LT Pro 45 Light" panose="020B0403020202020204" pitchFamily="34" charset="77"/>
              </a:rPr>
              <a:t>Hevetica Neue Lt Pro – 14pt</a:t>
            </a:r>
          </a:p>
        </p:txBody>
      </p:sp>
      <p:sp>
        <p:nvSpPr>
          <p:cNvPr id="27" name="Title 1">
            <a:extLst>
              <a:ext uri="{FF2B5EF4-FFF2-40B4-BE49-F238E27FC236}">
                <a16:creationId xmlns:a16="http://schemas.microsoft.com/office/drawing/2014/main" id="{D4A9DA12-082B-A34C-8468-11587E48967B}"/>
              </a:ext>
            </a:extLst>
          </p:cNvPr>
          <p:cNvSpPr txBox="1">
            <a:spLocks/>
          </p:cNvSpPr>
          <p:nvPr userDrawn="1"/>
        </p:nvSpPr>
        <p:spPr>
          <a:xfrm>
            <a:off x="464341" y="282971"/>
            <a:ext cx="3914022" cy="390715"/>
          </a:xfrm>
          <a:prstGeom prst="rect">
            <a:avLst/>
          </a:prstGeom>
        </p:spPr>
        <p:txBody>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737354"/>
            <a:r>
              <a:rPr lang="en-US" sz="1613" dirty="0">
                <a:solidFill>
                  <a:prstClr val="black">
                    <a:lumMod val="65000"/>
                    <a:lumOff val="35000"/>
                  </a:prstClr>
                </a:solidFill>
                <a:latin typeface="Helvetica Neue LT Std 65 Medium" panose="020B0604020202020204" pitchFamily="34" charset="0"/>
              </a:rPr>
              <a:t>PowerPoint Template Guide</a:t>
            </a:r>
          </a:p>
        </p:txBody>
      </p:sp>
    </p:spTree>
    <p:extLst>
      <p:ext uri="{BB962C8B-B14F-4D97-AF65-F5344CB8AC3E}">
        <p14:creationId xmlns:p14="http://schemas.microsoft.com/office/powerpoint/2010/main" val="420751989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Placeholder 4" descr="A body of water with a mountain in the background&#10;&#10;Description automatically generated">
            <a:extLst>
              <a:ext uri="{FF2B5EF4-FFF2-40B4-BE49-F238E27FC236}">
                <a16:creationId xmlns:a16="http://schemas.microsoft.com/office/drawing/2014/main" id="{FFACF0BA-FCB8-2D4A-9836-FD816C771AFC}"/>
              </a:ext>
            </a:extLst>
          </p:cNvPr>
          <p:cNvPicPr>
            <a:picLocks noChangeAspect="1"/>
          </p:cNvPicPr>
          <p:nvPr userDrawn="1"/>
        </p:nvPicPr>
        <p:blipFill>
          <a:blip r:embed="rId2"/>
          <a:srcRect/>
          <a:stretch>
            <a:fillRect/>
          </a:stretch>
        </p:blipFill>
        <p:spPr>
          <a:xfrm>
            <a:off x="0" y="-1"/>
            <a:ext cx="12192000" cy="6864728"/>
          </a:xfrm>
          <a:prstGeom prst="rect">
            <a:avLst/>
          </a:prstGeom>
        </p:spPr>
      </p:pic>
      <p:pic>
        <p:nvPicPr>
          <p:cNvPr id="9" name="Picture 8">
            <a:extLst>
              <a:ext uri="{FF2B5EF4-FFF2-40B4-BE49-F238E27FC236}">
                <a16:creationId xmlns:a16="http://schemas.microsoft.com/office/drawing/2014/main" id="{13F45D94-6534-A84E-8312-1FE16DCEEA5E}"/>
              </a:ext>
            </a:extLst>
          </p:cNvPr>
          <p:cNvPicPr>
            <a:picLocks noChangeAspect="1"/>
          </p:cNvPicPr>
          <p:nvPr userDrawn="1"/>
        </p:nvPicPr>
        <p:blipFill rotWithShape="1">
          <a:blip r:embed="rId3"/>
          <a:srcRect l="-1" t="289" r="-1"/>
          <a:stretch/>
        </p:blipFill>
        <p:spPr>
          <a:xfrm>
            <a:off x="0" y="5818596"/>
            <a:ext cx="12192000" cy="1039405"/>
          </a:xfrm>
          <a:prstGeom prst="rect">
            <a:avLst/>
          </a:prstGeom>
        </p:spPr>
      </p:pic>
    </p:spTree>
    <p:extLst>
      <p:ext uri="{BB962C8B-B14F-4D97-AF65-F5344CB8AC3E}">
        <p14:creationId xmlns:p14="http://schemas.microsoft.com/office/powerpoint/2010/main" val="830121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_2ColCopy">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497523" y="2292248"/>
            <a:ext cx="8371840" cy="2954228"/>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4" name="Picture 3">
            <a:extLst>
              <a:ext uri="{FF2B5EF4-FFF2-40B4-BE49-F238E27FC236}">
                <a16:creationId xmlns:a16="http://schemas.microsoft.com/office/drawing/2014/main" id="{3CEFC9FD-4988-3545-94AD-E0B828F13E63}"/>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37459675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a:p>
        </p:txBody>
      </p:sp>
      <p:grpSp>
        <p:nvGrpSpPr>
          <p:cNvPr id="10" name="Guidance note">
            <a:extLst>
              <a:ext uri="{FF2B5EF4-FFF2-40B4-BE49-F238E27FC236}">
                <a16:creationId xmlns:a16="http://schemas.microsoft.com/office/drawing/2014/main" id="{632E5E5C-A081-4838-96EC-2018DFBEF9DF}"/>
              </a:ext>
            </a:extLst>
          </p:cNvPr>
          <p:cNvGrpSpPr/>
          <p:nvPr/>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5" name="Picture 14">
            <a:extLst>
              <a:ext uri="{FF2B5EF4-FFF2-40B4-BE49-F238E27FC236}">
                <a16:creationId xmlns:a16="http://schemas.microsoft.com/office/drawing/2014/main" id="{F71F1E83-4FFA-C548-AFA3-4B29E7AD98EA}"/>
              </a:ext>
            </a:extLst>
          </p:cNvPr>
          <p:cNvPicPr>
            <a:picLocks noChangeAspect="1"/>
          </p:cNvPicPr>
          <p:nvPr/>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2618325781"/>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0822B-4360-F14B-B55B-2D0306F62B4A}"/>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CD06DA2E-B613-4946-ADEE-C88A4A240F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7431F407-3692-3745-BFFA-A0BF309C9C1C}"/>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5" name="Footer Placeholder 4">
            <a:extLst>
              <a:ext uri="{FF2B5EF4-FFF2-40B4-BE49-F238E27FC236}">
                <a16:creationId xmlns:a16="http://schemas.microsoft.com/office/drawing/2014/main" id="{7315F847-ADB5-6242-B858-2FB18E6065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47029A-908F-FD48-9A26-2DE4D38498AD}"/>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149250954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3CEAEB-6DC3-3542-9480-B6D3E028BCD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AA20E8A-16DD-B942-B4A4-42DF145A754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3768B85-CFA2-384C-B493-44E757675127}"/>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5" name="Footer Placeholder 4">
            <a:extLst>
              <a:ext uri="{FF2B5EF4-FFF2-40B4-BE49-F238E27FC236}">
                <a16:creationId xmlns:a16="http://schemas.microsoft.com/office/drawing/2014/main" id="{B6C3BF09-8F93-1441-A4DA-0CAFF7D8CC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E40BCF-D7D4-0F4A-A492-E4FA90DCEE67}"/>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258658418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0C8A5-F65E-DB42-AA4F-1D0FA9B325B0}"/>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2E8CEEA-864C-CF46-B568-86ABD54077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6CA0C6BB-6CC7-9048-9741-E20EF239D118}"/>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5" name="Footer Placeholder 4">
            <a:extLst>
              <a:ext uri="{FF2B5EF4-FFF2-40B4-BE49-F238E27FC236}">
                <a16:creationId xmlns:a16="http://schemas.microsoft.com/office/drawing/2014/main" id="{2C8C480C-600F-D74C-B673-D61A2D3C7A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39D67A-57DD-9C4B-ACEE-DEEAD6200D5F}"/>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294465409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82C0E-7772-7840-8715-15C603BDB88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90037C7-F4FE-6346-983D-09CC0D415990}"/>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4D5AAE32-7479-E448-AFD0-A75A2F74808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96F9F98B-6A4B-1544-8AA2-C075F8DFFD95}"/>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6" name="Footer Placeholder 5">
            <a:extLst>
              <a:ext uri="{FF2B5EF4-FFF2-40B4-BE49-F238E27FC236}">
                <a16:creationId xmlns:a16="http://schemas.microsoft.com/office/drawing/2014/main" id="{2B520516-477D-B940-A1CD-B3AEFEBB70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BA7A84-2D64-7443-9C2F-BB8E196060A5}"/>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19216910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F4FCD-8ED2-EE43-8B96-25DF5698E5F4}"/>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7A5A689-234B-CA4D-AF41-C76E3E2AAFF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B40161BA-430C-DB44-A614-166457B5641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0214A8B2-628C-584F-8A5D-F69C8DFEA9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10C80BA-3DFA-5D44-8157-F51D5F1B8A1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0BFB669-2DB0-4846-BDF7-FE3D6DB74C83}"/>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8" name="Footer Placeholder 7">
            <a:extLst>
              <a:ext uri="{FF2B5EF4-FFF2-40B4-BE49-F238E27FC236}">
                <a16:creationId xmlns:a16="http://schemas.microsoft.com/office/drawing/2014/main" id="{F719D54D-A01A-524A-8699-0728230EC2A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123A1B0-937F-2E46-9073-ABA171708159}"/>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12813312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142469-AB4F-5040-A62D-B6A7ADD5D1C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B5E4B596-FAD7-3F4C-94F2-C2E0B638A406}"/>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4" name="Footer Placeholder 3">
            <a:extLst>
              <a:ext uri="{FF2B5EF4-FFF2-40B4-BE49-F238E27FC236}">
                <a16:creationId xmlns:a16="http://schemas.microsoft.com/office/drawing/2014/main" id="{A1329402-4C9A-5B42-9B07-C38D7EC558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71FAB7D-7B39-AA46-802F-A8FEFB2F8E02}"/>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5411767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44B70A-30C2-1348-96BB-863B3D372E10}"/>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3" name="Footer Placeholder 2">
            <a:extLst>
              <a:ext uri="{FF2B5EF4-FFF2-40B4-BE49-F238E27FC236}">
                <a16:creationId xmlns:a16="http://schemas.microsoft.com/office/drawing/2014/main" id="{6965E792-344D-FB40-AA10-F108370936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5BB02C-5BDE-2641-BC0A-064C1189FB92}"/>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183317606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6A75B7-71BF-A047-88E3-53EF41413FC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B2DC888-7134-E04C-95D8-F7FE8D4B8C7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762F1A79-7F33-7C40-94F3-09EC39CC14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5A330F9-358A-9544-9DD2-740AC39154A9}"/>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6" name="Footer Placeholder 5">
            <a:extLst>
              <a:ext uri="{FF2B5EF4-FFF2-40B4-BE49-F238E27FC236}">
                <a16:creationId xmlns:a16="http://schemas.microsoft.com/office/drawing/2014/main" id="{7B716174-A682-9948-88FA-A447212340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A9BEB07-9D65-DD41-A545-E3BD82C0219D}"/>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181272879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BEB07-60EE-1545-9020-3C211B5C5C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214CF85A-D1BF-A84D-8797-6F90A48A9B1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A1066FB-FABF-3B46-8DF2-BE34AD793C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C8F1162-73FB-FC49-A3B6-D9672735DE34}"/>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6" name="Footer Placeholder 5">
            <a:extLst>
              <a:ext uri="{FF2B5EF4-FFF2-40B4-BE49-F238E27FC236}">
                <a16:creationId xmlns:a16="http://schemas.microsoft.com/office/drawing/2014/main" id="{1446DE8D-3BD1-8641-9D9E-4FA15B1A60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AB4883-85B4-9445-A223-9624A6A070E3}"/>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25149204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YellowBG_4Col_Copy">
    <p:bg>
      <p:bgPr>
        <a:solidFill>
          <a:srgbClr val="FFCE2C"/>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97B6A48-DC40-E440-8A19-26BB129D6623}"/>
              </a:ext>
            </a:extLst>
          </p:cNvPr>
          <p:cNvSpPr>
            <a:spLocks noGrp="1"/>
          </p:cNvSpPr>
          <p:nvPr>
            <p:ph type="title"/>
          </p:nvPr>
        </p:nvSpPr>
        <p:spPr>
          <a:xfrm>
            <a:off x="1805585" y="780175"/>
            <a:ext cx="5043199" cy="637747"/>
          </a:xfrm>
          <a:prstGeom prst="rect">
            <a:avLst/>
          </a:prstGeom>
        </p:spPr>
        <p:txBody>
          <a:bodyPr anchor="t"/>
          <a:lstStyle>
            <a:lvl1pPr>
              <a:defRPr sz="44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7" name="Text Placeholder 11">
            <a:extLst>
              <a:ext uri="{FF2B5EF4-FFF2-40B4-BE49-F238E27FC236}">
                <a16:creationId xmlns:a16="http://schemas.microsoft.com/office/drawing/2014/main" id="{CF042509-A226-C344-A6BB-C999500CA23C}"/>
              </a:ext>
            </a:extLst>
          </p:cNvPr>
          <p:cNvSpPr>
            <a:spLocks noGrp="1"/>
          </p:cNvSpPr>
          <p:nvPr>
            <p:ph type="body" sz="quarter" idx="12"/>
          </p:nvPr>
        </p:nvSpPr>
        <p:spPr>
          <a:xfrm>
            <a:off x="731520" y="3141703"/>
            <a:ext cx="10769600" cy="424458"/>
          </a:xfrm>
          <a:prstGeom prst="rect">
            <a:avLst/>
          </a:prstGeom>
          <a:ln>
            <a:noFill/>
          </a:ln>
        </p:spPr>
        <p:txBody>
          <a:bodyPr numCol="5" spcCol="180000"/>
          <a:lstStyle>
            <a:lvl1pPr marL="0" indent="0">
              <a:buNone/>
              <a:defRPr sz="1200" b="0" i="0">
                <a:solidFill>
                  <a:schemeClr val="bg1"/>
                </a:solidFill>
                <a:latin typeface="Helvetica Neue LT Std 65 Medium"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9" name="Picture Placeholder 8">
            <a:extLst>
              <a:ext uri="{FF2B5EF4-FFF2-40B4-BE49-F238E27FC236}">
                <a16:creationId xmlns:a16="http://schemas.microsoft.com/office/drawing/2014/main" id="{54BF29C9-0436-134E-A264-725F95AE9671}"/>
              </a:ext>
            </a:extLst>
          </p:cNvPr>
          <p:cNvSpPr>
            <a:spLocks noGrp="1"/>
          </p:cNvSpPr>
          <p:nvPr>
            <p:ph type="pic" sz="quarter" idx="13"/>
          </p:nvPr>
        </p:nvSpPr>
        <p:spPr>
          <a:xfrm>
            <a:off x="497523" y="779780"/>
            <a:ext cx="1147762" cy="1147763"/>
          </a:xfrm>
          <a:prstGeom prst="rect">
            <a:avLst/>
          </a:prstGeom>
        </p:spPr>
        <p:txBody>
          <a:bodyPr/>
          <a:lstStyle/>
          <a:p>
            <a:endParaRPr lang="en-US" dirty="0"/>
          </a:p>
        </p:txBody>
      </p:sp>
      <p:sp>
        <p:nvSpPr>
          <p:cNvPr id="8" name="Text Placeholder 11">
            <a:extLst>
              <a:ext uri="{FF2B5EF4-FFF2-40B4-BE49-F238E27FC236}">
                <a16:creationId xmlns:a16="http://schemas.microsoft.com/office/drawing/2014/main" id="{A06DA923-E6F8-0C40-AB87-1C790FDFB57B}"/>
              </a:ext>
            </a:extLst>
          </p:cNvPr>
          <p:cNvSpPr>
            <a:spLocks noGrp="1"/>
          </p:cNvSpPr>
          <p:nvPr>
            <p:ph type="body" sz="quarter" idx="14"/>
          </p:nvPr>
        </p:nvSpPr>
        <p:spPr>
          <a:xfrm>
            <a:off x="731520" y="3613316"/>
            <a:ext cx="10769600" cy="1161287"/>
          </a:xfrm>
          <a:prstGeom prst="rect">
            <a:avLst/>
          </a:prstGeom>
          <a:ln>
            <a:noFill/>
          </a:ln>
        </p:spPr>
        <p:txBody>
          <a:bodyPr numCol="5" spcCol="180000"/>
          <a:lstStyle>
            <a:lvl1pPr marL="0" indent="0">
              <a:buNone/>
              <a:defRPr sz="1200" b="0" i="0">
                <a:solidFill>
                  <a:schemeClr val="bg1"/>
                </a:solidFill>
                <a:latin typeface="Helvetica Neue LT Std 55 Roman"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0" name="Picture 9">
            <a:extLst>
              <a:ext uri="{FF2B5EF4-FFF2-40B4-BE49-F238E27FC236}">
                <a16:creationId xmlns:a16="http://schemas.microsoft.com/office/drawing/2014/main" id="{64A1F1FB-7E9F-194E-B5B6-585CAF3C3674}"/>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21582182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2EF98-FC58-2140-9AFE-27D5E2AA4993}"/>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69D57C3-1C63-9447-AFB0-4AB83FDFC4C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5DC114E-F9EE-3940-8DF8-20EC57F93C4F}"/>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5" name="Footer Placeholder 4">
            <a:extLst>
              <a:ext uri="{FF2B5EF4-FFF2-40B4-BE49-F238E27FC236}">
                <a16:creationId xmlns:a16="http://schemas.microsoft.com/office/drawing/2014/main" id="{43F214CF-79D0-2546-B254-317E3104E2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D56B3B-34C1-FC4B-A93E-9B15B28F251A}"/>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97954149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B45026-8D98-D04B-ABDA-CE46E277283C}"/>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CB3F92F-1294-DB48-BF93-2EA171920B4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1EF0D70-67B3-4245-A4E8-A27D0DDECB95}"/>
              </a:ext>
            </a:extLst>
          </p:cNvPr>
          <p:cNvSpPr>
            <a:spLocks noGrp="1"/>
          </p:cNvSpPr>
          <p:nvPr>
            <p:ph type="dt" sz="half" idx="10"/>
          </p:nvPr>
        </p:nvSpPr>
        <p:spPr/>
        <p:txBody>
          <a:bodyPr/>
          <a:lstStyle/>
          <a:p>
            <a:fld id="{1D16A791-F316-2046-87D5-FE464BA318EF}" type="datetimeFigureOut">
              <a:rPr lang="en-US" smtClean="0"/>
              <a:t>10/29/2020</a:t>
            </a:fld>
            <a:endParaRPr lang="en-US"/>
          </a:p>
        </p:txBody>
      </p:sp>
      <p:sp>
        <p:nvSpPr>
          <p:cNvPr id="5" name="Footer Placeholder 4">
            <a:extLst>
              <a:ext uri="{FF2B5EF4-FFF2-40B4-BE49-F238E27FC236}">
                <a16:creationId xmlns:a16="http://schemas.microsoft.com/office/drawing/2014/main" id="{958A4D30-C83E-CE44-A367-8BBFB3D4BA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BAC2FB-76FD-4B49-B0ED-EB805ECECC8B}"/>
              </a:ext>
            </a:extLst>
          </p:cNvPr>
          <p:cNvSpPr>
            <a:spLocks noGrp="1"/>
          </p:cNvSpPr>
          <p:nvPr>
            <p:ph type="sldNum" sz="quarter" idx="12"/>
          </p:nvPr>
        </p:nvSpPr>
        <p:spPr/>
        <p:txBody>
          <a:bodyPr/>
          <a:lstStyle/>
          <a:p>
            <a:fld id="{15227484-AE73-8842-A104-636AE1E6D574}" type="slidenum">
              <a:rPr lang="en-US" smtClean="0"/>
              <a:t>‹#›</a:t>
            </a:fld>
            <a:endParaRPr lang="en-US"/>
          </a:p>
        </p:txBody>
      </p:sp>
    </p:spTree>
    <p:extLst>
      <p:ext uri="{BB962C8B-B14F-4D97-AF65-F5344CB8AC3E}">
        <p14:creationId xmlns:p14="http://schemas.microsoft.com/office/powerpoint/2010/main" val="389123511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CE18BB-8A9A-4230-868D-0996713794E9}"/>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3" name="Text Placeholder 2">
            <a:extLst>
              <a:ext uri="{FF2B5EF4-FFF2-40B4-BE49-F238E27FC236}">
                <a16:creationId xmlns:a16="http://schemas.microsoft.com/office/drawing/2014/main" id="{3A043140-9E20-47E5-ADE6-D31C09457807}"/>
              </a:ext>
            </a:extLst>
          </p:cNvPr>
          <p:cNvSpPr>
            <a:spLocks noGrp="1"/>
          </p:cNvSpPr>
          <p:nvPr>
            <p:ph type="body" sz="quarter" idx="15"/>
          </p:nvPr>
        </p:nvSpPr>
        <p:spPr>
          <a:xfrm>
            <a:off x="431800" y="1416001"/>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Click to edit Master text styles</a:t>
            </a:r>
          </a:p>
        </p:txBody>
      </p:sp>
      <p:sp>
        <p:nvSpPr>
          <p:cNvPr id="6" name="Text Placeholder 2">
            <a:extLst>
              <a:ext uri="{FF2B5EF4-FFF2-40B4-BE49-F238E27FC236}">
                <a16:creationId xmlns:a16="http://schemas.microsoft.com/office/drawing/2014/main" id="{1825EDD5-C8D0-479D-8200-3E2F103CDD2A}"/>
              </a:ext>
            </a:extLst>
          </p:cNvPr>
          <p:cNvSpPr>
            <a:spLocks noGrp="1"/>
          </p:cNvSpPr>
          <p:nvPr>
            <p:ph type="body" sz="quarter" idx="16"/>
          </p:nvPr>
        </p:nvSpPr>
        <p:spPr>
          <a:xfrm>
            <a:off x="431800" y="1791735"/>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Click to edit Master text styles</a:t>
            </a:r>
          </a:p>
        </p:txBody>
      </p:sp>
      <p:sp>
        <p:nvSpPr>
          <p:cNvPr id="9" name="Round Diagonal Corner Rectangle 4">
            <a:extLst>
              <a:ext uri="{FF2B5EF4-FFF2-40B4-BE49-F238E27FC236}">
                <a16:creationId xmlns:a16="http://schemas.microsoft.com/office/drawing/2014/main" id="{98FBF951-2FE8-4B4E-8C56-DDECA1E6F8E1}"/>
              </a:ext>
            </a:extLst>
          </p:cNvPr>
          <p:cNvSpPr/>
          <p:nvPr userDrawn="1"/>
        </p:nvSpPr>
        <p:spPr>
          <a:xfrm>
            <a:off x="12514257" y="-2970"/>
            <a:ext cx="2576459" cy="413022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a:p>
            <a:pPr>
              <a:spcAft>
                <a:spcPts val="136"/>
              </a:spcAft>
            </a:pPr>
            <a:r>
              <a:rPr lang="en-GB" sz="849" kern="1200" noProof="0" dirty="0">
                <a:solidFill>
                  <a:schemeClr val="bg1">
                    <a:lumMod val="50000"/>
                  </a:schemeClr>
                </a:solidFill>
                <a:latin typeface="+mn-lt"/>
                <a:ea typeface="+mn-ea"/>
                <a:cs typeface="+mn-cs"/>
              </a:rPr>
              <a:t>When you have placed your image you may need to change the colour of the text so it can be seen against the image. This can be changed to dark grey or white.</a:t>
            </a:r>
          </a:p>
        </p:txBody>
      </p:sp>
      <p:sp>
        <p:nvSpPr>
          <p:cNvPr id="7" name="Rectangle 6">
            <a:hlinkClick r:id="rId2"/>
            <a:extLst>
              <a:ext uri="{FF2B5EF4-FFF2-40B4-BE49-F238E27FC236}">
                <a16:creationId xmlns:a16="http://schemas.microsoft.com/office/drawing/2014/main" id="{0A0E5D64-357E-499F-BEC7-89044AF1284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3" name="Picture 12">
            <a:extLst>
              <a:ext uri="{FF2B5EF4-FFF2-40B4-BE49-F238E27FC236}">
                <a16:creationId xmlns:a16="http://schemas.microsoft.com/office/drawing/2014/main" id="{DC0E0B6B-9082-4BDB-A555-BA6DEB512DD5}"/>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4" name="Title 3">
            <a:extLst>
              <a:ext uri="{FF2B5EF4-FFF2-40B4-BE49-F238E27FC236}">
                <a16:creationId xmlns:a16="http://schemas.microsoft.com/office/drawing/2014/main" id="{85FE02F7-EA91-42A2-AC0B-ADF0B456DEC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Tree>
    <p:extLst>
      <p:ext uri="{BB962C8B-B14F-4D97-AF65-F5344CB8AC3E}">
        <p14:creationId xmlns:p14="http://schemas.microsoft.com/office/powerpoint/2010/main" val="964055681"/>
      </p:ext>
    </p:extLst>
  </p:cSld>
  <p:clrMapOvr>
    <a:masterClrMapping/>
  </p:clrMapOvr>
  <p:extLst mod="1">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Key message lef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D4D86A5-6CC8-471F-8BD3-04C9F0CDCDD9}"/>
              </a:ext>
            </a:extLst>
          </p:cNvPr>
          <p:cNvSpPr>
            <a:spLocks noGrp="1"/>
          </p:cNvSpPr>
          <p:nvPr>
            <p:ph type="pic" sz="quarter" idx="16" hasCustomPrompt="1"/>
          </p:nvPr>
        </p:nvSpPr>
        <p:spPr>
          <a:xfrm>
            <a:off x="2706879" y="0"/>
            <a:ext cx="9485121" cy="6857037"/>
          </a:xfrm>
          <a:custGeom>
            <a:avLst/>
            <a:gdLst>
              <a:gd name="connsiteX0" fmla="*/ 925004 w 7113841"/>
              <a:gd name="connsiteY0" fmla="*/ 0 h 5142778"/>
              <a:gd name="connsiteX1" fmla="*/ 7113841 w 7113841"/>
              <a:gd name="connsiteY1" fmla="*/ 0 h 5142778"/>
              <a:gd name="connsiteX2" fmla="*/ 7113841 w 7113841"/>
              <a:gd name="connsiteY2" fmla="*/ 4345781 h 5142778"/>
              <a:gd name="connsiteX3" fmla="*/ 7113839 w 7113841"/>
              <a:gd name="connsiteY3" fmla="*/ 4345781 h 5142778"/>
              <a:gd name="connsiteX4" fmla="*/ 7113839 w 7113841"/>
              <a:gd name="connsiteY4" fmla="*/ 4344165 h 5142778"/>
              <a:gd name="connsiteX5" fmla="*/ 7065051 w 7113841"/>
              <a:gd name="connsiteY5" fmla="*/ 4326824 h 5142778"/>
              <a:gd name="connsiteX6" fmla="*/ 7016980 w 7113841"/>
              <a:gd name="connsiteY6" fmla="*/ 4310591 h 5142778"/>
              <a:gd name="connsiteX7" fmla="*/ 6969613 w 7113841"/>
              <a:gd name="connsiteY7" fmla="*/ 4295447 h 5142778"/>
              <a:gd name="connsiteX8" fmla="*/ 6922939 w 7113841"/>
              <a:gd name="connsiteY8" fmla="*/ 4281374 h 5142778"/>
              <a:gd name="connsiteX9" fmla="*/ 6876941 w 7113841"/>
              <a:gd name="connsiteY9" fmla="*/ 4268353 h 5142778"/>
              <a:gd name="connsiteX10" fmla="*/ 6831609 w 7113841"/>
              <a:gd name="connsiteY10" fmla="*/ 4256365 h 5142778"/>
              <a:gd name="connsiteX11" fmla="*/ 6786928 w 7113841"/>
              <a:gd name="connsiteY11" fmla="*/ 4245394 h 5142778"/>
              <a:gd name="connsiteX12" fmla="*/ 6742887 w 7113841"/>
              <a:gd name="connsiteY12" fmla="*/ 4235421 h 5142778"/>
              <a:gd name="connsiteX13" fmla="*/ 6699472 w 7113841"/>
              <a:gd name="connsiteY13" fmla="*/ 4226427 h 5142778"/>
              <a:gd name="connsiteX14" fmla="*/ 6656669 w 7113841"/>
              <a:gd name="connsiteY14" fmla="*/ 4218394 h 5142778"/>
              <a:gd name="connsiteX15" fmla="*/ 6614465 w 7113841"/>
              <a:gd name="connsiteY15" fmla="*/ 4211304 h 5142778"/>
              <a:gd name="connsiteX16" fmla="*/ 6572851 w 7113841"/>
              <a:gd name="connsiteY16" fmla="*/ 4205138 h 5142778"/>
              <a:gd name="connsiteX17" fmla="*/ 6552259 w 7113841"/>
              <a:gd name="connsiteY17" fmla="*/ 4202397 h 5142778"/>
              <a:gd name="connsiteX18" fmla="*/ 6531808 w 7113841"/>
              <a:gd name="connsiteY18" fmla="*/ 4199880 h 5142778"/>
              <a:gd name="connsiteX19" fmla="*/ 6511499 w 7113841"/>
              <a:gd name="connsiteY19" fmla="*/ 4197584 h 5142778"/>
              <a:gd name="connsiteX20" fmla="*/ 6491327 w 7113841"/>
              <a:gd name="connsiteY20" fmla="*/ 4195509 h 5142778"/>
              <a:gd name="connsiteX21" fmla="*/ 6471293 w 7113841"/>
              <a:gd name="connsiteY21" fmla="*/ 4193650 h 5142778"/>
              <a:gd name="connsiteX22" fmla="*/ 6451393 w 7113841"/>
              <a:gd name="connsiteY22" fmla="*/ 4192007 h 5142778"/>
              <a:gd name="connsiteX23" fmla="*/ 6431629 w 7113841"/>
              <a:gd name="connsiteY23" fmla="*/ 4190577 h 5142778"/>
              <a:gd name="connsiteX24" fmla="*/ 6411994 w 7113841"/>
              <a:gd name="connsiteY24" fmla="*/ 4189358 h 5142778"/>
              <a:gd name="connsiteX25" fmla="*/ 6392492 w 7113841"/>
              <a:gd name="connsiteY25" fmla="*/ 4188346 h 5142778"/>
              <a:gd name="connsiteX26" fmla="*/ 6373117 w 7113841"/>
              <a:gd name="connsiteY26" fmla="*/ 4187541 h 5142778"/>
              <a:gd name="connsiteX27" fmla="*/ 6353871 w 7113841"/>
              <a:gd name="connsiteY27" fmla="*/ 4186940 h 5142778"/>
              <a:gd name="connsiteX28" fmla="*/ 6334749 w 7113841"/>
              <a:gd name="connsiteY28" fmla="*/ 4186540 h 5142778"/>
              <a:gd name="connsiteX29" fmla="*/ 6315752 w 7113841"/>
              <a:gd name="connsiteY29" fmla="*/ 4186339 h 5142778"/>
              <a:gd name="connsiteX30" fmla="*/ 6296876 w 7113841"/>
              <a:gd name="connsiteY30" fmla="*/ 4186336 h 5142778"/>
              <a:gd name="connsiteX31" fmla="*/ 6278122 w 7113841"/>
              <a:gd name="connsiteY31" fmla="*/ 4186526 h 5142778"/>
              <a:gd name="connsiteX32" fmla="*/ 6259485 w 7113841"/>
              <a:gd name="connsiteY32" fmla="*/ 4186909 h 5142778"/>
              <a:gd name="connsiteX33" fmla="*/ 6240968 w 7113841"/>
              <a:gd name="connsiteY33" fmla="*/ 4187483 h 5142778"/>
              <a:gd name="connsiteX34" fmla="*/ 6222565 w 7113841"/>
              <a:gd name="connsiteY34" fmla="*/ 4188243 h 5142778"/>
              <a:gd name="connsiteX35" fmla="*/ 6204277 w 7113841"/>
              <a:gd name="connsiteY35" fmla="*/ 4189190 h 5142778"/>
              <a:gd name="connsiteX36" fmla="*/ 6186101 w 7113841"/>
              <a:gd name="connsiteY36" fmla="*/ 4190320 h 5142778"/>
              <a:gd name="connsiteX37" fmla="*/ 6168036 w 7113841"/>
              <a:gd name="connsiteY37" fmla="*/ 4191630 h 5142778"/>
              <a:gd name="connsiteX38" fmla="*/ 6150080 w 7113841"/>
              <a:gd name="connsiteY38" fmla="*/ 4193119 h 5142778"/>
              <a:gd name="connsiteX39" fmla="*/ 6132232 w 7113841"/>
              <a:gd name="connsiteY39" fmla="*/ 4194785 h 5142778"/>
              <a:gd name="connsiteX40" fmla="*/ 6114490 w 7113841"/>
              <a:gd name="connsiteY40" fmla="*/ 4196625 h 5142778"/>
              <a:gd name="connsiteX41" fmla="*/ 6096852 w 7113841"/>
              <a:gd name="connsiteY41" fmla="*/ 4198636 h 5142778"/>
              <a:gd name="connsiteX42" fmla="*/ 6079317 w 7113841"/>
              <a:gd name="connsiteY42" fmla="*/ 4200817 h 5142778"/>
              <a:gd name="connsiteX43" fmla="*/ 6061883 w 7113841"/>
              <a:gd name="connsiteY43" fmla="*/ 4203166 h 5142778"/>
              <a:gd name="connsiteX44" fmla="*/ 6044549 w 7113841"/>
              <a:gd name="connsiteY44" fmla="*/ 4205679 h 5142778"/>
              <a:gd name="connsiteX45" fmla="*/ 6027313 w 7113841"/>
              <a:gd name="connsiteY45" fmla="*/ 4208355 h 5142778"/>
              <a:gd name="connsiteX46" fmla="*/ 6010172 w 7113841"/>
              <a:gd name="connsiteY46" fmla="*/ 4211191 h 5142778"/>
              <a:gd name="connsiteX47" fmla="*/ 5976173 w 7113841"/>
              <a:gd name="connsiteY47" fmla="*/ 4217335 h 5142778"/>
              <a:gd name="connsiteX48" fmla="*/ 5942540 w 7113841"/>
              <a:gd name="connsiteY48" fmla="*/ 4224094 h 5142778"/>
              <a:gd name="connsiteX49" fmla="*/ 5892747 w 7113841"/>
              <a:gd name="connsiteY49" fmla="*/ 4235344 h 5142778"/>
              <a:gd name="connsiteX50" fmla="*/ 5859970 w 7113841"/>
              <a:gd name="connsiteY50" fmla="*/ 4243558 h 5142778"/>
              <a:gd name="connsiteX51" fmla="*/ 5827512 w 7113841"/>
              <a:gd name="connsiteY51" fmla="*/ 4252322 h 5142778"/>
              <a:gd name="connsiteX52" fmla="*/ 5795362 w 7113841"/>
              <a:gd name="connsiteY52" fmla="*/ 4261618 h 5142778"/>
              <a:gd name="connsiteX53" fmla="*/ 5763504 w 7113841"/>
              <a:gd name="connsiteY53" fmla="*/ 4271428 h 5142778"/>
              <a:gd name="connsiteX54" fmla="*/ 5731928 w 7113841"/>
              <a:gd name="connsiteY54" fmla="*/ 4281734 h 5142778"/>
              <a:gd name="connsiteX55" fmla="*/ 5700619 w 7113841"/>
              <a:gd name="connsiteY55" fmla="*/ 4292517 h 5142778"/>
              <a:gd name="connsiteX56" fmla="*/ 5669565 w 7113841"/>
              <a:gd name="connsiteY56" fmla="*/ 4303758 h 5142778"/>
              <a:gd name="connsiteX57" fmla="*/ 5638752 w 7113841"/>
              <a:gd name="connsiteY57" fmla="*/ 4315440 h 5142778"/>
              <a:gd name="connsiteX58" fmla="*/ 5608167 w 7113841"/>
              <a:gd name="connsiteY58" fmla="*/ 4327545 h 5142778"/>
              <a:gd name="connsiteX59" fmla="*/ 5577799 w 7113841"/>
              <a:gd name="connsiteY59" fmla="*/ 4340054 h 5142778"/>
              <a:gd name="connsiteX60" fmla="*/ 5547632 w 7113841"/>
              <a:gd name="connsiteY60" fmla="*/ 4352948 h 5142778"/>
              <a:gd name="connsiteX61" fmla="*/ 5517655 w 7113841"/>
              <a:gd name="connsiteY61" fmla="*/ 4366210 h 5142778"/>
              <a:gd name="connsiteX62" fmla="*/ 5487855 w 7113841"/>
              <a:gd name="connsiteY62" fmla="*/ 4379822 h 5142778"/>
              <a:gd name="connsiteX63" fmla="*/ 5443456 w 7113841"/>
              <a:gd name="connsiteY63" fmla="*/ 4400854 h 5142778"/>
              <a:gd name="connsiteX64" fmla="*/ 5399381 w 7113841"/>
              <a:gd name="connsiteY64" fmla="*/ 4422570 h 5142778"/>
              <a:gd name="connsiteX65" fmla="*/ 5355585 w 7113841"/>
              <a:gd name="connsiteY65" fmla="*/ 4444908 h 5142778"/>
              <a:gd name="connsiteX66" fmla="*/ 5312025 w 7113841"/>
              <a:gd name="connsiteY66" fmla="*/ 4467805 h 5142778"/>
              <a:gd name="connsiteX67" fmla="*/ 5254235 w 7113841"/>
              <a:gd name="connsiteY67" fmla="*/ 4499099 h 5142778"/>
              <a:gd name="connsiteX68" fmla="*/ 5167962 w 7113841"/>
              <a:gd name="connsiteY68" fmla="*/ 4547383 h 5142778"/>
              <a:gd name="connsiteX69" fmla="*/ 4952295 w 7113841"/>
              <a:gd name="connsiteY69" fmla="*/ 4672140 h 5142778"/>
              <a:gd name="connsiteX70" fmla="*/ 4791671 w 7113841"/>
              <a:gd name="connsiteY70" fmla="*/ 4763822 h 5142778"/>
              <a:gd name="connsiteX71" fmla="*/ 4717297 w 7113841"/>
              <a:gd name="connsiteY71" fmla="*/ 4804607 h 5142778"/>
              <a:gd name="connsiteX72" fmla="*/ 4656988 w 7113841"/>
              <a:gd name="connsiteY72" fmla="*/ 4836560 h 5142778"/>
              <a:gd name="connsiteX73" fmla="*/ 4611217 w 7113841"/>
              <a:gd name="connsiteY73" fmla="*/ 4860036 h 5142778"/>
              <a:gd name="connsiteX74" fmla="*/ 4564933 w 7113841"/>
              <a:gd name="connsiteY74" fmla="*/ 4883024 h 5142778"/>
              <a:gd name="connsiteX75" fmla="*/ 4518093 w 7113841"/>
              <a:gd name="connsiteY75" fmla="*/ 4905462 h 5142778"/>
              <a:gd name="connsiteX76" fmla="*/ 4470653 w 7113841"/>
              <a:gd name="connsiteY76" fmla="*/ 4927290 h 5142778"/>
              <a:gd name="connsiteX77" fmla="*/ 4438671 w 7113841"/>
              <a:gd name="connsiteY77" fmla="*/ 4941472 h 5142778"/>
              <a:gd name="connsiteX78" fmla="*/ 4406390 w 7113841"/>
              <a:gd name="connsiteY78" fmla="*/ 4955337 h 5142778"/>
              <a:gd name="connsiteX79" fmla="*/ 4373797 w 7113841"/>
              <a:gd name="connsiteY79" fmla="*/ 4968866 h 5142778"/>
              <a:gd name="connsiteX80" fmla="*/ 4340879 w 7113841"/>
              <a:gd name="connsiteY80" fmla="*/ 4982041 h 5142778"/>
              <a:gd name="connsiteX81" fmla="*/ 4307622 w 7113841"/>
              <a:gd name="connsiteY81" fmla="*/ 4994845 h 5142778"/>
              <a:gd name="connsiteX82" fmla="*/ 4274014 w 7113841"/>
              <a:gd name="connsiteY82" fmla="*/ 5007258 h 5142778"/>
              <a:gd name="connsiteX83" fmla="*/ 4240041 w 7113841"/>
              <a:gd name="connsiteY83" fmla="*/ 5019263 h 5142778"/>
              <a:gd name="connsiteX84" fmla="*/ 4205691 w 7113841"/>
              <a:gd name="connsiteY84" fmla="*/ 5030841 h 5142778"/>
              <a:gd name="connsiteX85" fmla="*/ 4170950 w 7113841"/>
              <a:gd name="connsiteY85" fmla="*/ 5041974 h 5142778"/>
              <a:gd name="connsiteX86" fmla="*/ 4135806 w 7113841"/>
              <a:gd name="connsiteY86" fmla="*/ 5052643 h 5142778"/>
              <a:gd name="connsiteX87" fmla="*/ 4100246 w 7113841"/>
              <a:gd name="connsiteY87" fmla="*/ 5062831 h 5142778"/>
              <a:gd name="connsiteX88" fmla="*/ 4064256 w 7113841"/>
              <a:gd name="connsiteY88" fmla="*/ 5072519 h 5142778"/>
              <a:gd name="connsiteX89" fmla="*/ 4027823 w 7113841"/>
              <a:gd name="connsiteY89" fmla="*/ 5081689 h 5142778"/>
              <a:gd name="connsiteX90" fmla="*/ 3990935 w 7113841"/>
              <a:gd name="connsiteY90" fmla="*/ 5090323 h 5142778"/>
              <a:gd name="connsiteX91" fmla="*/ 3953578 w 7113841"/>
              <a:gd name="connsiteY91" fmla="*/ 5098402 h 5142778"/>
              <a:gd name="connsiteX92" fmla="*/ 3915739 w 7113841"/>
              <a:gd name="connsiteY92" fmla="*/ 5105908 h 5142778"/>
              <a:gd name="connsiteX93" fmla="*/ 3877406 w 7113841"/>
              <a:gd name="connsiteY93" fmla="*/ 5112824 h 5142778"/>
              <a:gd name="connsiteX94" fmla="*/ 3838565 w 7113841"/>
              <a:gd name="connsiteY94" fmla="*/ 5119129 h 5142778"/>
              <a:gd name="connsiteX95" fmla="*/ 3799203 w 7113841"/>
              <a:gd name="connsiteY95" fmla="*/ 5124807 h 5142778"/>
              <a:gd name="connsiteX96" fmla="*/ 3759308 w 7113841"/>
              <a:gd name="connsiteY96" fmla="*/ 5129839 h 5142778"/>
              <a:gd name="connsiteX97" fmla="*/ 3718865 w 7113841"/>
              <a:gd name="connsiteY97" fmla="*/ 5134207 h 5142778"/>
              <a:gd name="connsiteX98" fmla="*/ 3677863 w 7113841"/>
              <a:gd name="connsiteY98" fmla="*/ 5137893 h 5142778"/>
              <a:gd name="connsiteX99" fmla="*/ 3636288 w 7113841"/>
              <a:gd name="connsiteY99" fmla="*/ 5140877 h 5142778"/>
              <a:gd name="connsiteX100" fmla="*/ 3600919 w 7113841"/>
              <a:gd name="connsiteY100" fmla="*/ 5142778 h 5142778"/>
              <a:gd name="connsiteX101" fmla="*/ 0 w 7113841"/>
              <a:gd name="connsiteY101" fmla="*/ 5142778 h 5142778"/>
              <a:gd name="connsiteX102" fmla="*/ 36355 w 7113841"/>
              <a:gd name="connsiteY102" fmla="*/ 5078128 h 5142778"/>
              <a:gd name="connsiteX103" fmla="*/ 85405 w 7113841"/>
              <a:gd name="connsiteY103" fmla="*/ 4991843 h 5142778"/>
              <a:gd name="connsiteX104" fmla="*/ 164324 w 7113841"/>
              <a:gd name="connsiteY104" fmla="*/ 4854690 h 5142778"/>
              <a:gd name="connsiteX105" fmla="*/ 381230 w 7113841"/>
              <a:gd name="connsiteY105" fmla="*/ 4481186 h 5142778"/>
              <a:gd name="connsiteX106" fmla="*/ 439596 w 7113841"/>
              <a:gd name="connsiteY106" fmla="*/ 4379712 h 5142778"/>
              <a:gd name="connsiteX107" fmla="*/ 478157 w 7113841"/>
              <a:gd name="connsiteY107" fmla="*/ 4312042 h 5142778"/>
              <a:gd name="connsiteX108" fmla="*/ 516383 w 7113841"/>
              <a:gd name="connsiteY108" fmla="*/ 4244314 h 5142778"/>
              <a:gd name="connsiteX109" fmla="*/ 544803 w 7113841"/>
              <a:gd name="connsiteY109" fmla="*/ 4193459 h 5142778"/>
              <a:gd name="connsiteX110" fmla="*/ 572987 w 7113841"/>
              <a:gd name="connsiteY110" fmla="*/ 4142538 h 5142778"/>
              <a:gd name="connsiteX111" fmla="*/ 591636 w 7113841"/>
              <a:gd name="connsiteY111" fmla="*/ 4108547 h 5142778"/>
              <a:gd name="connsiteX112" fmla="*/ 610163 w 7113841"/>
              <a:gd name="connsiteY112" fmla="*/ 4074516 h 5142778"/>
              <a:gd name="connsiteX113" fmla="*/ 628565 w 7113841"/>
              <a:gd name="connsiteY113" fmla="*/ 4040440 h 5142778"/>
              <a:gd name="connsiteX114" fmla="*/ 646835 w 7113841"/>
              <a:gd name="connsiteY114" fmla="*/ 4006315 h 5142778"/>
              <a:gd name="connsiteX115" fmla="*/ 664966 w 7113841"/>
              <a:gd name="connsiteY115" fmla="*/ 3972137 h 5142778"/>
              <a:gd name="connsiteX116" fmla="*/ 682954 w 7113841"/>
              <a:gd name="connsiteY116" fmla="*/ 3937902 h 5142778"/>
              <a:gd name="connsiteX117" fmla="*/ 691892 w 7113841"/>
              <a:gd name="connsiteY117" fmla="*/ 3920762 h 5142778"/>
              <a:gd name="connsiteX118" fmla="*/ 700791 w 7113841"/>
              <a:gd name="connsiteY118" fmla="*/ 3903606 h 5142778"/>
              <a:gd name="connsiteX119" fmla="*/ 709652 w 7113841"/>
              <a:gd name="connsiteY119" fmla="*/ 3886433 h 5142778"/>
              <a:gd name="connsiteX120" fmla="*/ 718472 w 7113841"/>
              <a:gd name="connsiteY120" fmla="*/ 3869243 h 5142778"/>
              <a:gd name="connsiteX121" fmla="*/ 727252 w 7113841"/>
              <a:gd name="connsiteY121" fmla="*/ 3852035 h 5142778"/>
              <a:gd name="connsiteX122" fmla="*/ 735991 w 7113841"/>
              <a:gd name="connsiteY122" fmla="*/ 3834810 h 5142778"/>
              <a:gd name="connsiteX123" fmla="*/ 744687 w 7113841"/>
              <a:gd name="connsiteY123" fmla="*/ 3817565 h 5142778"/>
              <a:gd name="connsiteX124" fmla="*/ 753341 w 7113841"/>
              <a:gd name="connsiteY124" fmla="*/ 3800302 h 5142778"/>
              <a:gd name="connsiteX125" fmla="*/ 761951 w 7113841"/>
              <a:gd name="connsiteY125" fmla="*/ 3783019 h 5142778"/>
              <a:gd name="connsiteX126" fmla="*/ 770517 w 7113841"/>
              <a:gd name="connsiteY126" fmla="*/ 3765715 h 5142778"/>
              <a:gd name="connsiteX127" fmla="*/ 779038 w 7113841"/>
              <a:gd name="connsiteY127" fmla="*/ 3748391 h 5142778"/>
              <a:gd name="connsiteX128" fmla="*/ 787512 w 7113841"/>
              <a:gd name="connsiteY128" fmla="*/ 3731046 h 5142778"/>
              <a:gd name="connsiteX129" fmla="*/ 795941 w 7113841"/>
              <a:gd name="connsiteY129" fmla="*/ 3713678 h 5142778"/>
              <a:gd name="connsiteX130" fmla="*/ 804322 w 7113841"/>
              <a:gd name="connsiteY130" fmla="*/ 3696288 h 5142778"/>
              <a:gd name="connsiteX131" fmla="*/ 812655 w 7113841"/>
              <a:gd name="connsiteY131" fmla="*/ 3678875 h 5142778"/>
              <a:gd name="connsiteX132" fmla="*/ 820938 w 7113841"/>
              <a:gd name="connsiteY132" fmla="*/ 3661439 h 5142778"/>
              <a:gd name="connsiteX133" fmla="*/ 829172 w 7113841"/>
              <a:gd name="connsiteY133" fmla="*/ 3643979 h 5142778"/>
              <a:gd name="connsiteX134" fmla="*/ 837357 w 7113841"/>
              <a:gd name="connsiteY134" fmla="*/ 3626494 h 5142778"/>
              <a:gd name="connsiteX135" fmla="*/ 845490 w 7113841"/>
              <a:gd name="connsiteY135" fmla="*/ 3608984 h 5142778"/>
              <a:gd name="connsiteX136" fmla="*/ 853571 w 7113841"/>
              <a:gd name="connsiteY136" fmla="*/ 3591449 h 5142778"/>
              <a:gd name="connsiteX137" fmla="*/ 861599 w 7113841"/>
              <a:gd name="connsiteY137" fmla="*/ 3573886 h 5142778"/>
              <a:gd name="connsiteX138" fmla="*/ 869574 w 7113841"/>
              <a:gd name="connsiteY138" fmla="*/ 3556298 h 5142778"/>
              <a:gd name="connsiteX139" fmla="*/ 877495 w 7113841"/>
              <a:gd name="connsiteY139" fmla="*/ 3538682 h 5142778"/>
              <a:gd name="connsiteX140" fmla="*/ 885361 w 7113841"/>
              <a:gd name="connsiteY140" fmla="*/ 3521039 h 5142778"/>
              <a:gd name="connsiteX141" fmla="*/ 893171 w 7113841"/>
              <a:gd name="connsiteY141" fmla="*/ 3503367 h 5142778"/>
              <a:gd name="connsiteX142" fmla="*/ 900925 w 7113841"/>
              <a:gd name="connsiteY142" fmla="*/ 3485666 h 5142778"/>
              <a:gd name="connsiteX143" fmla="*/ 908622 w 7113841"/>
              <a:gd name="connsiteY143" fmla="*/ 3467936 h 5142778"/>
              <a:gd name="connsiteX144" fmla="*/ 916260 w 7113841"/>
              <a:gd name="connsiteY144" fmla="*/ 3450176 h 5142778"/>
              <a:gd name="connsiteX145" fmla="*/ 923841 w 7113841"/>
              <a:gd name="connsiteY145" fmla="*/ 3432385 h 5142778"/>
              <a:gd name="connsiteX146" fmla="*/ 931361 w 7113841"/>
              <a:gd name="connsiteY146" fmla="*/ 3414563 h 5142778"/>
              <a:gd name="connsiteX147" fmla="*/ 938822 w 7113841"/>
              <a:gd name="connsiteY147" fmla="*/ 3396710 h 5142778"/>
              <a:gd name="connsiteX148" fmla="*/ 946221 w 7113841"/>
              <a:gd name="connsiteY148" fmla="*/ 3378825 h 5142778"/>
              <a:gd name="connsiteX149" fmla="*/ 953559 w 7113841"/>
              <a:gd name="connsiteY149" fmla="*/ 3360907 h 5142778"/>
              <a:gd name="connsiteX150" fmla="*/ 960835 w 7113841"/>
              <a:gd name="connsiteY150" fmla="*/ 3342956 h 5142778"/>
              <a:gd name="connsiteX151" fmla="*/ 968048 w 7113841"/>
              <a:gd name="connsiteY151" fmla="*/ 3324971 h 5142778"/>
              <a:gd name="connsiteX152" fmla="*/ 975195 w 7113841"/>
              <a:gd name="connsiteY152" fmla="*/ 3306952 h 5142778"/>
              <a:gd name="connsiteX153" fmla="*/ 982280 w 7113841"/>
              <a:gd name="connsiteY153" fmla="*/ 3288898 h 5142778"/>
              <a:gd name="connsiteX154" fmla="*/ 989297 w 7113841"/>
              <a:gd name="connsiteY154" fmla="*/ 3270809 h 5142778"/>
              <a:gd name="connsiteX155" fmla="*/ 996250 w 7113841"/>
              <a:gd name="connsiteY155" fmla="*/ 3252684 h 5142778"/>
              <a:gd name="connsiteX156" fmla="*/ 1003136 w 7113841"/>
              <a:gd name="connsiteY156" fmla="*/ 3234522 h 5142778"/>
              <a:gd name="connsiteX157" fmla="*/ 1009953 w 7113841"/>
              <a:gd name="connsiteY157" fmla="*/ 3216324 h 5142778"/>
              <a:gd name="connsiteX158" fmla="*/ 1016702 w 7113841"/>
              <a:gd name="connsiteY158" fmla="*/ 3198088 h 5142778"/>
              <a:gd name="connsiteX159" fmla="*/ 1023381 w 7113841"/>
              <a:gd name="connsiteY159" fmla="*/ 3179814 h 5142778"/>
              <a:gd name="connsiteX160" fmla="*/ 1029991 w 7113841"/>
              <a:gd name="connsiteY160" fmla="*/ 3161502 h 5142778"/>
              <a:gd name="connsiteX161" fmla="*/ 1036530 w 7113841"/>
              <a:gd name="connsiteY161" fmla="*/ 3143151 h 5142778"/>
              <a:gd name="connsiteX162" fmla="*/ 1042998 w 7113841"/>
              <a:gd name="connsiteY162" fmla="*/ 3124759 h 5142778"/>
              <a:gd name="connsiteX163" fmla="*/ 1049393 w 7113841"/>
              <a:gd name="connsiteY163" fmla="*/ 3106328 h 5142778"/>
              <a:gd name="connsiteX164" fmla="*/ 1055715 w 7113841"/>
              <a:gd name="connsiteY164" fmla="*/ 3087856 h 5142778"/>
              <a:gd name="connsiteX165" fmla="*/ 1061964 w 7113841"/>
              <a:gd name="connsiteY165" fmla="*/ 3069343 h 5142778"/>
              <a:gd name="connsiteX166" fmla="*/ 1068138 w 7113841"/>
              <a:gd name="connsiteY166" fmla="*/ 3050788 h 5142778"/>
              <a:gd name="connsiteX167" fmla="*/ 1074237 w 7113841"/>
              <a:gd name="connsiteY167" fmla="*/ 3032191 h 5142778"/>
              <a:gd name="connsiteX168" fmla="*/ 1080260 w 7113841"/>
              <a:gd name="connsiteY168" fmla="*/ 3013551 h 5142778"/>
              <a:gd name="connsiteX169" fmla="*/ 1086206 w 7113841"/>
              <a:gd name="connsiteY169" fmla="*/ 2994867 h 5142778"/>
              <a:gd name="connsiteX170" fmla="*/ 1092075 w 7113841"/>
              <a:gd name="connsiteY170" fmla="*/ 2976140 h 5142778"/>
              <a:gd name="connsiteX171" fmla="*/ 1097865 w 7113841"/>
              <a:gd name="connsiteY171" fmla="*/ 2957368 h 5142778"/>
              <a:gd name="connsiteX172" fmla="*/ 1103577 w 7113841"/>
              <a:gd name="connsiteY172" fmla="*/ 2938551 h 5142778"/>
              <a:gd name="connsiteX173" fmla="*/ 1109208 w 7113841"/>
              <a:gd name="connsiteY173" fmla="*/ 2919688 h 5142778"/>
              <a:gd name="connsiteX174" fmla="*/ 1114759 w 7113841"/>
              <a:gd name="connsiteY174" fmla="*/ 2900780 h 5142778"/>
              <a:gd name="connsiteX175" fmla="*/ 1120228 w 7113841"/>
              <a:gd name="connsiteY175" fmla="*/ 2881825 h 5142778"/>
              <a:gd name="connsiteX176" fmla="*/ 1125617 w 7113841"/>
              <a:gd name="connsiteY176" fmla="*/ 2862822 h 5142778"/>
              <a:gd name="connsiteX177" fmla="*/ 1130921 w 7113841"/>
              <a:gd name="connsiteY177" fmla="*/ 2843773 h 5142778"/>
              <a:gd name="connsiteX178" fmla="*/ 1136143 w 7113841"/>
              <a:gd name="connsiteY178" fmla="*/ 2824674 h 5142778"/>
              <a:gd name="connsiteX179" fmla="*/ 1141280 w 7113841"/>
              <a:gd name="connsiteY179" fmla="*/ 2805527 h 5142778"/>
              <a:gd name="connsiteX180" fmla="*/ 1146332 w 7113841"/>
              <a:gd name="connsiteY180" fmla="*/ 2786331 h 5142778"/>
              <a:gd name="connsiteX181" fmla="*/ 1151298 w 7113841"/>
              <a:gd name="connsiteY181" fmla="*/ 2767085 h 5142778"/>
              <a:gd name="connsiteX182" fmla="*/ 1156178 w 7113841"/>
              <a:gd name="connsiteY182" fmla="*/ 2747788 h 5142778"/>
              <a:gd name="connsiteX183" fmla="*/ 1160971 w 7113841"/>
              <a:gd name="connsiteY183" fmla="*/ 2728441 h 5142778"/>
              <a:gd name="connsiteX184" fmla="*/ 1165675 w 7113841"/>
              <a:gd name="connsiteY184" fmla="*/ 2709042 h 5142778"/>
              <a:gd name="connsiteX185" fmla="*/ 1170290 w 7113841"/>
              <a:gd name="connsiteY185" fmla="*/ 2689591 h 5142778"/>
              <a:gd name="connsiteX186" fmla="*/ 1174816 w 7113841"/>
              <a:gd name="connsiteY186" fmla="*/ 2670087 h 5142778"/>
              <a:gd name="connsiteX187" fmla="*/ 1179252 w 7113841"/>
              <a:gd name="connsiteY187" fmla="*/ 2650531 h 5142778"/>
              <a:gd name="connsiteX188" fmla="*/ 1183597 w 7113841"/>
              <a:gd name="connsiteY188" fmla="*/ 2630921 h 5142778"/>
              <a:gd name="connsiteX189" fmla="*/ 1187850 w 7113841"/>
              <a:gd name="connsiteY189" fmla="*/ 2611257 h 5142778"/>
              <a:gd name="connsiteX190" fmla="*/ 1192010 w 7113841"/>
              <a:gd name="connsiteY190" fmla="*/ 2591538 h 5142778"/>
              <a:gd name="connsiteX191" fmla="*/ 1196077 w 7113841"/>
              <a:gd name="connsiteY191" fmla="*/ 2571764 h 5142778"/>
              <a:gd name="connsiteX192" fmla="*/ 1200049 w 7113841"/>
              <a:gd name="connsiteY192" fmla="*/ 2551934 h 5142778"/>
              <a:gd name="connsiteX193" fmla="*/ 1203927 w 7113841"/>
              <a:gd name="connsiteY193" fmla="*/ 2532048 h 5142778"/>
              <a:gd name="connsiteX194" fmla="*/ 1207710 w 7113841"/>
              <a:gd name="connsiteY194" fmla="*/ 2512105 h 5142778"/>
              <a:gd name="connsiteX195" fmla="*/ 1211395 w 7113841"/>
              <a:gd name="connsiteY195" fmla="*/ 2492104 h 5142778"/>
              <a:gd name="connsiteX196" fmla="*/ 1214985 w 7113841"/>
              <a:gd name="connsiteY196" fmla="*/ 2472046 h 5142778"/>
              <a:gd name="connsiteX197" fmla="*/ 1218476 w 7113841"/>
              <a:gd name="connsiteY197" fmla="*/ 2451929 h 5142778"/>
              <a:gd name="connsiteX198" fmla="*/ 1221868 w 7113841"/>
              <a:gd name="connsiteY198" fmla="*/ 2431753 h 5142778"/>
              <a:gd name="connsiteX199" fmla="*/ 1225161 w 7113841"/>
              <a:gd name="connsiteY199" fmla="*/ 2411518 h 5142778"/>
              <a:gd name="connsiteX200" fmla="*/ 1228353 w 7113841"/>
              <a:gd name="connsiteY200" fmla="*/ 2391223 h 5142778"/>
              <a:gd name="connsiteX201" fmla="*/ 1231446 w 7113841"/>
              <a:gd name="connsiteY201" fmla="*/ 2370867 h 5142778"/>
              <a:gd name="connsiteX202" fmla="*/ 1234436 w 7113841"/>
              <a:gd name="connsiteY202" fmla="*/ 2350449 h 5142778"/>
              <a:gd name="connsiteX203" fmla="*/ 1237324 w 7113841"/>
              <a:gd name="connsiteY203" fmla="*/ 2329971 h 5142778"/>
              <a:gd name="connsiteX204" fmla="*/ 1240109 w 7113841"/>
              <a:gd name="connsiteY204" fmla="*/ 2309430 h 5142778"/>
              <a:gd name="connsiteX205" fmla="*/ 1242790 w 7113841"/>
              <a:gd name="connsiteY205" fmla="*/ 2288826 h 5142778"/>
              <a:gd name="connsiteX206" fmla="*/ 1245366 w 7113841"/>
              <a:gd name="connsiteY206" fmla="*/ 2268159 h 5142778"/>
              <a:gd name="connsiteX207" fmla="*/ 1247837 w 7113841"/>
              <a:gd name="connsiteY207" fmla="*/ 2247428 h 5142778"/>
              <a:gd name="connsiteX208" fmla="*/ 1250202 w 7113841"/>
              <a:gd name="connsiteY208" fmla="*/ 2226633 h 5142778"/>
              <a:gd name="connsiteX209" fmla="*/ 1252460 w 7113841"/>
              <a:gd name="connsiteY209" fmla="*/ 2205773 h 5142778"/>
              <a:gd name="connsiteX210" fmla="*/ 1254610 w 7113841"/>
              <a:gd name="connsiteY210" fmla="*/ 2184847 h 5142778"/>
              <a:gd name="connsiteX211" fmla="*/ 1256651 w 7113841"/>
              <a:gd name="connsiteY211" fmla="*/ 2163856 h 5142778"/>
              <a:gd name="connsiteX212" fmla="*/ 1258584 w 7113841"/>
              <a:gd name="connsiteY212" fmla="*/ 2142798 h 5142778"/>
              <a:gd name="connsiteX213" fmla="*/ 1260407 w 7113841"/>
              <a:gd name="connsiteY213" fmla="*/ 2121673 h 5142778"/>
              <a:gd name="connsiteX214" fmla="*/ 1262119 w 7113841"/>
              <a:gd name="connsiteY214" fmla="*/ 2100480 h 5142778"/>
              <a:gd name="connsiteX215" fmla="*/ 1263719 w 7113841"/>
              <a:gd name="connsiteY215" fmla="*/ 2079219 h 5142778"/>
              <a:gd name="connsiteX216" fmla="*/ 1265207 w 7113841"/>
              <a:gd name="connsiteY216" fmla="*/ 2057890 h 5142778"/>
              <a:gd name="connsiteX217" fmla="*/ 1266583 w 7113841"/>
              <a:gd name="connsiteY217" fmla="*/ 2036492 h 5142778"/>
              <a:gd name="connsiteX218" fmla="*/ 1267845 w 7113841"/>
              <a:gd name="connsiteY218" fmla="*/ 2015023 h 5142778"/>
              <a:gd name="connsiteX219" fmla="*/ 1268992 w 7113841"/>
              <a:gd name="connsiteY219" fmla="*/ 1993484 h 5142778"/>
              <a:gd name="connsiteX220" fmla="*/ 1270024 w 7113841"/>
              <a:gd name="connsiteY220" fmla="*/ 1971875 h 5142778"/>
              <a:gd name="connsiteX221" fmla="*/ 1270940 w 7113841"/>
              <a:gd name="connsiteY221" fmla="*/ 1950194 h 5142778"/>
              <a:gd name="connsiteX222" fmla="*/ 1271740 w 7113841"/>
              <a:gd name="connsiteY222" fmla="*/ 1928441 h 5142778"/>
              <a:gd name="connsiteX223" fmla="*/ 1272422 w 7113841"/>
              <a:gd name="connsiteY223" fmla="*/ 1906616 h 5142778"/>
              <a:gd name="connsiteX224" fmla="*/ 1272986 w 7113841"/>
              <a:gd name="connsiteY224" fmla="*/ 1884718 h 5142778"/>
              <a:gd name="connsiteX225" fmla="*/ 1273430 w 7113841"/>
              <a:gd name="connsiteY225" fmla="*/ 1862747 h 5142778"/>
              <a:gd name="connsiteX226" fmla="*/ 1273755 w 7113841"/>
              <a:gd name="connsiteY226" fmla="*/ 1840700 h 5142778"/>
              <a:gd name="connsiteX227" fmla="*/ 1273961 w 7113841"/>
              <a:gd name="connsiteY227" fmla="*/ 1818581 h 5142778"/>
              <a:gd name="connsiteX228" fmla="*/ 1274005 w 7113841"/>
              <a:gd name="connsiteY228" fmla="*/ 1774114 h 5142778"/>
              <a:gd name="connsiteX229" fmla="*/ 1273844 w 7113841"/>
              <a:gd name="connsiteY229" fmla="*/ 1751767 h 5142778"/>
              <a:gd name="connsiteX230" fmla="*/ 1273558 w 7113841"/>
              <a:gd name="connsiteY230" fmla="*/ 1729342 h 5142778"/>
              <a:gd name="connsiteX231" fmla="*/ 1273150 w 7113841"/>
              <a:gd name="connsiteY231" fmla="*/ 1706841 h 5142778"/>
              <a:gd name="connsiteX232" fmla="*/ 1272616 w 7113841"/>
              <a:gd name="connsiteY232" fmla="*/ 1684263 h 5142778"/>
              <a:gd name="connsiteX233" fmla="*/ 1271956 w 7113841"/>
              <a:gd name="connsiteY233" fmla="*/ 1661605 h 5142778"/>
              <a:gd name="connsiteX234" fmla="*/ 1271170 w 7113841"/>
              <a:gd name="connsiteY234" fmla="*/ 1638868 h 5142778"/>
              <a:gd name="connsiteX235" fmla="*/ 1270256 w 7113841"/>
              <a:gd name="connsiteY235" fmla="*/ 1616053 h 5142778"/>
              <a:gd name="connsiteX236" fmla="*/ 1269215 w 7113841"/>
              <a:gd name="connsiteY236" fmla="*/ 1593157 h 5142778"/>
              <a:gd name="connsiteX237" fmla="*/ 1268044 w 7113841"/>
              <a:gd name="connsiteY237" fmla="*/ 1570181 h 5142778"/>
              <a:gd name="connsiteX238" fmla="*/ 1266744 w 7113841"/>
              <a:gd name="connsiteY238" fmla="*/ 1547124 h 5142778"/>
              <a:gd name="connsiteX239" fmla="*/ 1265314 w 7113841"/>
              <a:gd name="connsiteY239" fmla="*/ 1523985 h 5142778"/>
              <a:gd name="connsiteX240" fmla="*/ 1263753 w 7113841"/>
              <a:gd name="connsiteY240" fmla="*/ 1500764 h 5142778"/>
              <a:gd name="connsiteX241" fmla="*/ 1262060 w 7113841"/>
              <a:gd name="connsiteY241" fmla="*/ 1477461 h 5142778"/>
              <a:gd name="connsiteX242" fmla="*/ 1260234 w 7113841"/>
              <a:gd name="connsiteY242" fmla="*/ 1454074 h 5142778"/>
              <a:gd name="connsiteX243" fmla="*/ 1258276 w 7113841"/>
              <a:gd name="connsiteY243" fmla="*/ 1430604 h 5142778"/>
              <a:gd name="connsiteX244" fmla="*/ 1256182 w 7113841"/>
              <a:gd name="connsiteY244" fmla="*/ 1407049 h 5142778"/>
              <a:gd name="connsiteX245" fmla="*/ 1253955 w 7113841"/>
              <a:gd name="connsiteY245" fmla="*/ 1383410 h 5142778"/>
              <a:gd name="connsiteX246" fmla="*/ 1251592 w 7113841"/>
              <a:gd name="connsiteY246" fmla="*/ 1359685 h 5142778"/>
              <a:gd name="connsiteX247" fmla="*/ 1249092 w 7113841"/>
              <a:gd name="connsiteY247" fmla="*/ 1335873 h 5142778"/>
              <a:gd name="connsiteX248" fmla="*/ 1246456 w 7113841"/>
              <a:gd name="connsiteY248" fmla="*/ 1311977 h 5142778"/>
              <a:gd name="connsiteX249" fmla="*/ 1243681 w 7113841"/>
              <a:gd name="connsiteY249" fmla="*/ 1287992 h 5142778"/>
              <a:gd name="connsiteX250" fmla="*/ 1240769 w 7113841"/>
              <a:gd name="connsiteY250" fmla="*/ 1263921 h 5142778"/>
              <a:gd name="connsiteX251" fmla="*/ 1237716 w 7113841"/>
              <a:gd name="connsiteY251" fmla="*/ 1239761 h 5142778"/>
              <a:gd name="connsiteX252" fmla="*/ 1234524 w 7113841"/>
              <a:gd name="connsiteY252" fmla="*/ 1215513 h 5142778"/>
              <a:gd name="connsiteX253" fmla="*/ 1231190 w 7113841"/>
              <a:gd name="connsiteY253" fmla="*/ 1191176 h 5142778"/>
              <a:gd name="connsiteX254" fmla="*/ 1227715 w 7113841"/>
              <a:gd name="connsiteY254" fmla="*/ 1166749 h 5142778"/>
              <a:gd name="connsiteX255" fmla="*/ 1224099 w 7113841"/>
              <a:gd name="connsiteY255" fmla="*/ 1142232 h 5142778"/>
              <a:gd name="connsiteX256" fmla="*/ 1220339 w 7113841"/>
              <a:gd name="connsiteY256" fmla="*/ 1117624 h 5142778"/>
              <a:gd name="connsiteX257" fmla="*/ 1216434 w 7113841"/>
              <a:gd name="connsiteY257" fmla="*/ 1092925 h 5142778"/>
              <a:gd name="connsiteX258" fmla="*/ 1212386 w 7113841"/>
              <a:gd name="connsiteY258" fmla="*/ 1068134 h 5142778"/>
              <a:gd name="connsiteX259" fmla="*/ 1208192 w 7113841"/>
              <a:gd name="connsiteY259" fmla="*/ 1043251 h 5142778"/>
              <a:gd name="connsiteX260" fmla="*/ 1203852 w 7113841"/>
              <a:gd name="connsiteY260" fmla="*/ 1018274 h 5142778"/>
              <a:gd name="connsiteX261" fmla="*/ 1199365 w 7113841"/>
              <a:gd name="connsiteY261" fmla="*/ 993205 h 5142778"/>
              <a:gd name="connsiteX262" fmla="*/ 1194731 w 7113841"/>
              <a:gd name="connsiteY262" fmla="*/ 968042 h 5142778"/>
              <a:gd name="connsiteX263" fmla="*/ 1189948 w 7113841"/>
              <a:gd name="connsiteY263" fmla="*/ 942784 h 5142778"/>
              <a:gd name="connsiteX264" fmla="*/ 1185016 w 7113841"/>
              <a:gd name="connsiteY264" fmla="*/ 917431 h 5142778"/>
              <a:gd name="connsiteX265" fmla="*/ 1179934 w 7113841"/>
              <a:gd name="connsiteY265" fmla="*/ 891982 h 5142778"/>
              <a:gd name="connsiteX266" fmla="*/ 1174701 w 7113841"/>
              <a:gd name="connsiteY266" fmla="*/ 866438 h 5142778"/>
              <a:gd name="connsiteX267" fmla="*/ 1169317 w 7113841"/>
              <a:gd name="connsiteY267" fmla="*/ 840796 h 5142778"/>
              <a:gd name="connsiteX268" fmla="*/ 1163781 w 7113841"/>
              <a:gd name="connsiteY268" fmla="*/ 815058 h 5142778"/>
              <a:gd name="connsiteX269" fmla="*/ 1158092 w 7113841"/>
              <a:gd name="connsiteY269" fmla="*/ 789222 h 5142778"/>
              <a:gd name="connsiteX270" fmla="*/ 1152249 w 7113841"/>
              <a:gd name="connsiteY270" fmla="*/ 763287 h 5142778"/>
              <a:gd name="connsiteX271" fmla="*/ 1146253 w 7113841"/>
              <a:gd name="connsiteY271" fmla="*/ 737255 h 5142778"/>
              <a:gd name="connsiteX272" fmla="*/ 1140101 w 7113841"/>
              <a:gd name="connsiteY272" fmla="*/ 711122 h 5142778"/>
              <a:gd name="connsiteX273" fmla="*/ 1133793 w 7113841"/>
              <a:gd name="connsiteY273" fmla="*/ 684890 h 5142778"/>
              <a:gd name="connsiteX274" fmla="*/ 1127327 w 7113841"/>
              <a:gd name="connsiteY274" fmla="*/ 658557 h 5142778"/>
              <a:gd name="connsiteX275" fmla="*/ 1120705 w 7113841"/>
              <a:gd name="connsiteY275" fmla="*/ 632123 h 5142778"/>
              <a:gd name="connsiteX276" fmla="*/ 1113925 w 7113841"/>
              <a:gd name="connsiteY276" fmla="*/ 605589 h 5142778"/>
              <a:gd name="connsiteX277" fmla="*/ 1106986 w 7113841"/>
              <a:gd name="connsiteY277" fmla="*/ 578951 h 5142778"/>
              <a:gd name="connsiteX278" fmla="*/ 1099887 w 7113841"/>
              <a:gd name="connsiteY278" fmla="*/ 552212 h 5142778"/>
              <a:gd name="connsiteX279" fmla="*/ 1092628 w 7113841"/>
              <a:gd name="connsiteY279" fmla="*/ 525369 h 5142778"/>
              <a:gd name="connsiteX280" fmla="*/ 1085207 w 7113841"/>
              <a:gd name="connsiteY280" fmla="*/ 498423 h 5142778"/>
              <a:gd name="connsiteX281" fmla="*/ 1077624 w 7113841"/>
              <a:gd name="connsiteY281" fmla="*/ 471372 h 5142778"/>
              <a:gd name="connsiteX282" fmla="*/ 1069880 w 7113841"/>
              <a:gd name="connsiteY282" fmla="*/ 444217 h 5142778"/>
              <a:gd name="connsiteX283" fmla="*/ 1061971 w 7113841"/>
              <a:gd name="connsiteY283" fmla="*/ 416957 h 5142778"/>
              <a:gd name="connsiteX284" fmla="*/ 1053898 w 7113841"/>
              <a:gd name="connsiteY284" fmla="*/ 389591 h 5142778"/>
              <a:gd name="connsiteX285" fmla="*/ 1045660 w 7113841"/>
              <a:gd name="connsiteY285" fmla="*/ 362118 h 5142778"/>
              <a:gd name="connsiteX286" fmla="*/ 1037256 w 7113841"/>
              <a:gd name="connsiteY286" fmla="*/ 334538 h 5142778"/>
              <a:gd name="connsiteX287" fmla="*/ 1028686 w 7113841"/>
              <a:gd name="connsiteY287" fmla="*/ 306852 h 5142778"/>
              <a:gd name="connsiteX288" fmla="*/ 1019950 w 7113841"/>
              <a:gd name="connsiteY288" fmla="*/ 279057 h 5142778"/>
              <a:gd name="connsiteX289" fmla="*/ 1011045 w 7113841"/>
              <a:gd name="connsiteY289" fmla="*/ 251154 h 5142778"/>
              <a:gd name="connsiteX290" fmla="*/ 1001971 w 7113841"/>
              <a:gd name="connsiteY290" fmla="*/ 223142 h 5142778"/>
              <a:gd name="connsiteX291" fmla="*/ 992728 w 7113841"/>
              <a:gd name="connsiteY291" fmla="*/ 195020 h 5142778"/>
              <a:gd name="connsiteX292" fmla="*/ 983314 w 7113841"/>
              <a:gd name="connsiteY292" fmla="*/ 166788 h 5142778"/>
              <a:gd name="connsiteX293" fmla="*/ 973730 w 7113841"/>
              <a:gd name="connsiteY293" fmla="*/ 138446 h 5142778"/>
              <a:gd name="connsiteX294" fmla="*/ 963974 w 7113841"/>
              <a:gd name="connsiteY294" fmla="*/ 109992 h 5142778"/>
              <a:gd name="connsiteX295" fmla="*/ 954045 w 7113841"/>
              <a:gd name="connsiteY295" fmla="*/ 81427 h 5142778"/>
              <a:gd name="connsiteX296" fmla="*/ 943943 w 7113841"/>
              <a:gd name="connsiteY296" fmla="*/ 52750 h 5142778"/>
              <a:gd name="connsiteX297" fmla="*/ 933667 w 7113841"/>
              <a:gd name="connsiteY297" fmla="*/ 23959 h 514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7113841" h="5142778">
                <a:moveTo>
                  <a:pt x="925004" y="0"/>
                </a:moveTo>
                <a:lnTo>
                  <a:pt x="7113841" y="0"/>
                </a:lnTo>
                <a:lnTo>
                  <a:pt x="7113841" y="4345781"/>
                </a:lnTo>
                <a:lnTo>
                  <a:pt x="7113839" y="4345781"/>
                </a:lnTo>
                <a:lnTo>
                  <a:pt x="7113839" y="4344165"/>
                </a:lnTo>
                <a:lnTo>
                  <a:pt x="7065051" y="4326824"/>
                </a:lnTo>
                <a:lnTo>
                  <a:pt x="7016980" y="4310591"/>
                </a:lnTo>
                <a:lnTo>
                  <a:pt x="6969613" y="4295447"/>
                </a:lnTo>
                <a:lnTo>
                  <a:pt x="6922939" y="4281374"/>
                </a:lnTo>
                <a:lnTo>
                  <a:pt x="6876941" y="4268353"/>
                </a:lnTo>
                <a:lnTo>
                  <a:pt x="6831609" y="4256365"/>
                </a:lnTo>
                <a:lnTo>
                  <a:pt x="6786928" y="4245394"/>
                </a:lnTo>
                <a:lnTo>
                  <a:pt x="6742887" y="4235421"/>
                </a:lnTo>
                <a:lnTo>
                  <a:pt x="6699472" y="4226427"/>
                </a:lnTo>
                <a:lnTo>
                  <a:pt x="6656669" y="4218394"/>
                </a:lnTo>
                <a:lnTo>
                  <a:pt x="6614465" y="4211304"/>
                </a:lnTo>
                <a:lnTo>
                  <a:pt x="6572851" y="4205138"/>
                </a:lnTo>
                <a:lnTo>
                  <a:pt x="6552259" y="4202397"/>
                </a:lnTo>
                <a:lnTo>
                  <a:pt x="6531808" y="4199880"/>
                </a:lnTo>
                <a:lnTo>
                  <a:pt x="6511499" y="4197584"/>
                </a:lnTo>
                <a:lnTo>
                  <a:pt x="6491327" y="4195509"/>
                </a:lnTo>
                <a:lnTo>
                  <a:pt x="6471293" y="4193650"/>
                </a:lnTo>
                <a:lnTo>
                  <a:pt x="6451393" y="4192007"/>
                </a:lnTo>
                <a:lnTo>
                  <a:pt x="6431629" y="4190577"/>
                </a:lnTo>
                <a:lnTo>
                  <a:pt x="6411994" y="4189358"/>
                </a:lnTo>
                <a:lnTo>
                  <a:pt x="6392492" y="4188346"/>
                </a:lnTo>
                <a:lnTo>
                  <a:pt x="6373117" y="4187541"/>
                </a:lnTo>
                <a:lnTo>
                  <a:pt x="6353871" y="4186940"/>
                </a:lnTo>
                <a:lnTo>
                  <a:pt x="6334749" y="4186540"/>
                </a:lnTo>
                <a:lnTo>
                  <a:pt x="6315752" y="4186339"/>
                </a:lnTo>
                <a:lnTo>
                  <a:pt x="6296876" y="4186336"/>
                </a:lnTo>
                <a:lnTo>
                  <a:pt x="6278122" y="4186526"/>
                </a:lnTo>
                <a:lnTo>
                  <a:pt x="6259485" y="4186909"/>
                </a:lnTo>
                <a:lnTo>
                  <a:pt x="6240968" y="4187483"/>
                </a:lnTo>
                <a:lnTo>
                  <a:pt x="6222565" y="4188243"/>
                </a:lnTo>
                <a:lnTo>
                  <a:pt x="6204277" y="4189190"/>
                </a:lnTo>
                <a:lnTo>
                  <a:pt x="6186101" y="4190320"/>
                </a:lnTo>
                <a:lnTo>
                  <a:pt x="6168036" y="4191630"/>
                </a:lnTo>
                <a:lnTo>
                  <a:pt x="6150080" y="4193119"/>
                </a:lnTo>
                <a:lnTo>
                  <a:pt x="6132232" y="4194785"/>
                </a:lnTo>
                <a:lnTo>
                  <a:pt x="6114490" y="4196625"/>
                </a:lnTo>
                <a:lnTo>
                  <a:pt x="6096852" y="4198636"/>
                </a:lnTo>
                <a:lnTo>
                  <a:pt x="6079317" y="4200817"/>
                </a:lnTo>
                <a:lnTo>
                  <a:pt x="6061883" y="4203166"/>
                </a:lnTo>
                <a:lnTo>
                  <a:pt x="6044549" y="4205679"/>
                </a:lnTo>
                <a:lnTo>
                  <a:pt x="6027313" y="4208355"/>
                </a:lnTo>
                <a:lnTo>
                  <a:pt x="6010172" y="4211191"/>
                </a:lnTo>
                <a:lnTo>
                  <a:pt x="5976173" y="4217335"/>
                </a:lnTo>
                <a:lnTo>
                  <a:pt x="5942540" y="4224094"/>
                </a:lnTo>
                <a:lnTo>
                  <a:pt x="5892747" y="4235344"/>
                </a:lnTo>
                <a:lnTo>
                  <a:pt x="5859970" y="4243558"/>
                </a:lnTo>
                <a:lnTo>
                  <a:pt x="5827512" y="4252322"/>
                </a:lnTo>
                <a:lnTo>
                  <a:pt x="5795362" y="4261618"/>
                </a:lnTo>
                <a:lnTo>
                  <a:pt x="5763504" y="4271428"/>
                </a:lnTo>
                <a:lnTo>
                  <a:pt x="5731928" y="4281734"/>
                </a:lnTo>
                <a:lnTo>
                  <a:pt x="5700619" y="4292517"/>
                </a:lnTo>
                <a:lnTo>
                  <a:pt x="5669565" y="4303758"/>
                </a:lnTo>
                <a:lnTo>
                  <a:pt x="5638752" y="4315440"/>
                </a:lnTo>
                <a:lnTo>
                  <a:pt x="5608167" y="4327545"/>
                </a:lnTo>
                <a:lnTo>
                  <a:pt x="5577799" y="4340054"/>
                </a:lnTo>
                <a:lnTo>
                  <a:pt x="5547632" y="4352948"/>
                </a:lnTo>
                <a:lnTo>
                  <a:pt x="5517655" y="4366210"/>
                </a:lnTo>
                <a:lnTo>
                  <a:pt x="5487855" y="4379822"/>
                </a:lnTo>
                <a:lnTo>
                  <a:pt x="5443456" y="4400854"/>
                </a:lnTo>
                <a:lnTo>
                  <a:pt x="5399381" y="4422570"/>
                </a:lnTo>
                <a:lnTo>
                  <a:pt x="5355585" y="4444908"/>
                </a:lnTo>
                <a:lnTo>
                  <a:pt x="5312025" y="4467805"/>
                </a:lnTo>
                <a:lnTo>
                  <a:pt x="5254235" y="4499099"/>
                </a:lnTo>
                <a:lnTo>
                  <a:pt x="5167962" y="4547383"/>
                </a:lnTo>
                <a:lnTo>
                  <a:pt x="4952295" y="4672140"/>
                </a:lnTo>
                <a:lnTo>
                  <a:pt x="4791671" y="4763822"/>
                </a:lnTo>
                <a:lnTo>
                  <a:pt x="4717297" y="4804607"/>
                </a:lnTo>
                <a:lnTo>
                  <a:pt x="4656988" y="4836560"/>
                </a:lnTo>
                <a:lnTo>
                  <a:pt x="4611217" y="4860036"/>
                </a:lnTo>
                <a:lnTo>
                  <a:pt x="4564933" y="4883024"/>
                </a:lnTo>
                <a:lnTo>
                  <a:pt x="4518093" y="4905462"/>
                </a:lnTo>
                <a:lnTo>
                  <a:pt x="4470653" y="4927290"/>
                </a:lnTo>
                <a:lnTo>
                  <a:pt x="4438671" y="4941472"/>
                </a:lnTo>
                <a:lnTo>
                  <a:pt x="4406390" y="4955337"/>
                </a:lnTo>
                <a:lnTo>
                  <a:pt x="4373797" y="4968866"/>
                </a:lnTo>
                <a:lnTo>
                  <a:pt x="4340879" y="4982041"/>
                </a:lnTo>
                <a:lnTo>
                  <a:pt x="4307622" y="4994845"/>
                </a:lnTo>
                <a:lnTo>
                  <a:pt x="4274014" y="5007258"/>
                </a:lnTo>
                <a:lnTo>
                  <a:pt x="4240041" y="5019263"/>
                </a:lnTo>
                <a:lnTo>
                  <a:pt x="4205691" y="5030841"/>
                </a:lnTo>
                <a:lnTo>
                  <a:pt x="4170950" y="5041974"/>
                </a:lnTo>
                <a:lnTo>
                  <a:pt x="4135806" y="5052643"/>
                </a:lnTo>
                <a:lnTo>
                  <a:pt x="4100246" y="5062831"/>
                </a:lnTo>
                <a:lnTo>
                  <a:pt x="4064256" y="5072519"/>
                </a:lnTo>
                <a:lnTo>
                  <a:pt x="4027823" y="5081689"/>
                </a:lnTo>
                <a:lnTo>
                  <a:pt x="3990935" y="5090323"/>
                </a:lnTo>
                <a:lnTo>
                  <a:pt x="3953578" y="5098402"/>
                </a:lnTo>
                <a:lnTo>
                  <a:pt x="3915739" y="5105908"/>
                </a:lnTo>
                <a:lnTo>
                  <a:pt x="3877406" y="5112824"/>
                </a:lnTo>
                <a:lnTo>
                  <a:pt x="3838565" y="5119129"/>
                </a:lnTo>
                <a:lnTo>
                  <a:pt x="3799203" y="5124807"/>
                </a:lnTo>
                <a:lnTo>
                  <a:pt x="3759308" y="5129839"/>
                </a:lnTo>
                <a:lnTo>
                  <a:pt x="3718865" y="5134207"/>
                </a:lnTo>
                <a:lnTo>
                  <a:pt x="3677863" y="5137893"/>
                </a:lnTo>
                <a:lnTo>
                  <a:pt x="3636288" y="5140877"/>
                </a:lnTo>
                <a:lnTo>
                  <a:pt x="3600919" y="5142778"/>
                </a:lnTo>
                <a:lnTo>
                  <a:pt x="0" y="5142778"/>
                </a:lnTo>
                <a:lnTo>
                  <a:pt x="36355" y="5078128"/>
                </a:lnTo>
                <a:lnTo>
                  <a:pt x="85405" y="4991843"/>
                </a:lnTo>
                <a:lnTo>
                  <a:pt x="164324" y="4854690"/>
                </a:lnTo>
                <a:lnTo>
                  <a:pt x="381230" y="4481186"/>
                </a:lnTo>
                <a:lnTo>
                  <a:pt x="439596" y="4379712"/>
                </a:lnTo>
                <a:lnTo>
                  <a:pt x="478157" y="4312042"/>
                </a:lnTo>
                <a:lnTo>
                  <a:pt x="516383" y="4244314"/>
                </a:lnTo>
                <a:lnTo>
                  <a:pt x="544803" y="4193459"/>
                </a:lnTo>
                <a:lnTo>
                  <a:pt x="572987" y="4142538"/>
                </a:lnTo>
                <a:lnTo>
                  <a:pt x="591636" y="4108547"/>
                </a:lnTo>
                <a:lnTo>
                  <a:pt x="610163" y="4074516"/>
                </a:lnTo>
                <a:lnTo>
                  <a:pt x="628565" y="4040440"/>
                </a:lnTo>
                <a:lnTo>
                  <a:pt x="646835" y="4006315"/>
                </a:lnTo>
                <a:lnTo>
                  <a:pt x="664966" y="3972137"/>
                </a:lnTo>
                <a:lnTo>
                  <a:pt x="682954" y="3937902"/>
                </a:lnTo>
                <a:lnTo>
                  <a:pt x="691892" y="3920762"/>
                </a:lnTo>
                <a:lnTo>
                  <a:pt x="700791" y="3903606"/>
                </a:lnTo>
                <a:lnTo>
                  <a:pt x="709652" y="3886433"/>
                </a:lnTo>
                <a:lnTo>
                  <a:pt x="718472" y="3869243"/>
                </a:lnTo>
                <a:lnTo>
                  <a:pt x="727252" y="3852035"/>
                </a:lnTo>
                <a:lnTo>
                  <a:pt x="735991" y="3834810"/>
                </a:lnTo>
                <a:lnTo>
                  <a:pt x="744687" y="3817565"/>
                </a:lnTo>
                <a:lnTo>
                  <a:pt x="753341" y="3800302"/>
                </a:lnTo>
                <a:lnTo>
                  <a:pt x="761951" y="3783019"/>
                </a:lnTo>
                <a:lnTo>
                  <a:pt x="770517" y="3765715"/>
                </a:lnTo>
                <a:lnTo>
                  <a:pt x="779038" y="3748391"/>
                </a:lnTo>
                <a:lnTo>
                  <a:pt x="787512" y="3731046"/>
                </a:lnTo>
                <a:lnTo>
                  <a:pt x="795941" y="3713678"/>
                </a:lnTo>
                <a:lnTo>
                  <a:pt x="804322" y="3696288"/>
                </a:lnTo>
                <a:lnTo>
                  <a:pt x="812655" y="3678875"/>
                </a:lnTo>
                <a:lnTo>
                  <a:pt x="820938" y="3661439"/>
                </a:lnTo>
                <a:lnTo>
                  <a:pt x="829172" y="3643979"/>
                </a:lnTo>
                <a:lnTo>
                  <a:pt x="837357" y="3626494"/>
                </a:lnTo>
                <a:lnTo>
                  <a:pt x="845490" y="3608984"/>
                </a:lnTo>
                <a:lnTo>
                  <a:pt x="853571" y="3591449"/>
                </a:lnTo>
                <a:lnTo>
                  <a:pt x="861599" y="3573886"/>
                </a:lnTo>
                <a:lnTo>
                  <a:pt x="869574" y="3556298"/>
                </a:lnTo>
                <a:lnTo>
                  <a:pt x="877495" y="3538682"/>
                </a:lnTo>
                <a:lnTo>
                  <a:pt x="885361" y="3521039"/>
                </a:lnTo>
                <a:lnTo>
                  <a:pt x="893171" y="3503367"/>
                </a:lnTo>
                <a:lnTo>
                  <a:pt x="900925" y="3485666"/>
                </a:lnTo>
                <a:lnTo>
                  <a:pt x="908622" y="3467936"/>
                </a:lnTo>
                <a:lnTo>
                  <a:pt x="916260" y="3450176"/>
                </a:lnTo>
                <a:lnTo>
                  <a:pt x="923841" y="3432385"/>
                </a:lnTo>
                <a:lnTo>
                  <a:pt x="931361" y="3414563"/>
                </a:lnTo>
                <a:lnTo>
                  <a:pt x="938822" y="3396710"/>
                </a:lnTo>
                <a:lnTo>
                  <a:pt x="946221" y="3378825"/>
                </a:lnTo>
                <a:lnTo>
                  <a:pt x="953559" y="3360907"/>
                </a:lnTo>
                <a:lnTo>
                  <a:pt x="960835" y="3342956"/>
                </a:lnTo>
                <a:lnTo>
                  <a:pt x="968048" y="3324971"/>
                </a:lnTo>
                <a:lnTo>
                  <a:pt x="975195" y="3306952"/>
                </a:lnTo>
                <a:lnTo>
                  <a:pt x="982280" y="3288898"/>
                </a:lnTo>
                <a:lnTo>
                  <a:pt x="989297" y="3270809"/>
                </a:lnTo>
                <a:lnTo>
                  <a:pt x="996250" y="3252684"/>
                </a:lnTo>
                <a:lnTo>
                  <a:pt x="1003136" y="3234522"/>
                </a:lnTo>
                <a:lnTo>
                  <a:pt x="1009953" y="3216324"/>
                </a:lnTo>
                <a:lnTo>
                  <a:pt x="1016702" y="3198088"/>
                </a:lnTo>
                <a:lnTo>
                  <a:pt x="1023381" y="3179814"/>
                </a:lnTo>
                <a:lnTo>
                  <a:pt x="1029991" y="3161502"/>
                </a:lnTo>
                <a:lnTo>
                  <a:pt x="1036530" y="3143151"/>
                </a:lnTo>
                <a:lnTo>
                  <a:pt x="1042998" y="3124759"/>
                </a:lnTo>
                <a:lnTo>
                  <a:pt x="1049393" y="3106328"/>
                </a:lnTo>
                <a:lnTo>
                  <a:pt x="1055715" y="3087856"/>
                </a:lnTo>
                <a:lnTo>
                  <a:pt x="1061964" y="3069343"/>
                </a:lnTo>
                <a:lnTo>
                  <a:pt x="1068138" y="3050788"/>
                </a:lnTo>
                <a:lnTo>
                  <a:pt x="1074237" y="3032191"/>
                </a:lnTo>
                <a:lnTo>
                  <a:pt x="1080260" y="3013551"/>
                </a:lnTo>
                <a:lnTo>
                  <a:pt x="1086206" y="2994867"/>
                </a:lnTo>
                <a:lnTo>
                  <a:pt x="1092075" y="2976140"/>
                </a:lnTo>
                <a:lnTo>
                  <a:pt x="1097865" y="2957368"/>
                </a:lnTo>
                <a:lnTo>
                  <a:pt x="1103577" y="2938551"/>
                </a:lnTo>
                <a:lnTo>
                  <a:pt x="1109208" y="2919688"/>
                </a:lnTo>
                <a:lnTo>
                  <a:pt x="1114759" y="2900780"/>
                </a:lnTo>
                <a:lnTo>
                  <a:pt x="1120228" y="2881825"/>
                </a:lnTo>
                <a:lnTo>
                  <a:pt x="1125617" y="2862822"/>
                </a:lnTo>
                <a:lnTo>
                  <a:pt x="1130921" y="2843773"/>
                </a:lnTo>
                <a:lnTo>
                  <a:pt x="1136143" y="2824674"/>
                </a:lnTo>
                <a:lnTo>
                  <a:pt x="1141280" y="2805527"/>
                </a:lnTo>
                <a:lnTo>
                  <a:pt x="1146332" y="2786331"/>
                </a:lnTo>
                <a:lnTo>
                  <a:pt x="1151298" y="2767085"/>
                </a:lnTo>
                <a:lnTo>
                  <a:pt x="1156178" y="2747788"/>
                </a:lnTo>
                <a:lnTo>
                  <a:pt x="1160971" y="2728441"/>
                </a:lnTo>
                <a:lnTo>
                  <a:pt x="1165675" y="2709042"/>
                </a:lnTo>
                <a:lnTo>
                  <a:pt x="1170290" y="2689591"/>
                </a:lnTo>
                <a:lnTo>
                  <a:pt x="1174816" y="2670087"/>
                </a:lnTo>
                <a:lnTo>
                  <a:pt x="1179252" y="2650531"/>
                </a:lnTo>
                <a:lnTo>
                  <a:pt x="1183597" y="2630921"/>
                </a:lnTo>
                <a:lnTo>
                  <a:pt x="1187850" y="2611257"/>
                </a:lnTo>
                <a:lnTo>
                  <a:pt x="1192010" y="2591538"/>
                </a:lnTo>
                <a:lnTo>
                  <a:pt x="1196077" y="2571764"/>
                </a:lnTo>
                <a:lnTo>
                  <a:pt x="1200049" y="2551934"/>
                </a:lnTo>
                <a:lnTo>
                  <a:pt x="1203927" y="2532048"/>
                </a:lnTo>
                <a:lnTo>
                  <a:pt x="1207710" y="2512105"/>
                </a:lnTo>
                <a:lnTo>
                  <a:pt x="1211395" y="2492104"/>
                </a:lnTo>
                <a:lnTo>
                  <a:pt x="1214985" y="2472046"/>
                </a:lnTo>
                <a:lnTo>
                  <a:pt x="1218476" y="2451929"/>
                </a:lnTo>
                <a:lnTo>
                  <a:pt x="1221868" y="2431753"/>
                </a:lnTo>
                <a:lnTo>
                  <a:pt x="1225161" y="2411518"/>
                </a:lnTo>
                <a:lnTo>
                  <a:pt x="1228353" y="2391223"/>
                </a:lnTo>
                <a:lnTo>
                  <a:pt x="1231446" y="2370867"/>
                </a:lnTo>
                <a:lnTo>
                  <a:pt x="1234436" y="2350449"/>
                </a:lnTo>
                <a:lnTo>
                  <a:pt x="1237324" y="2329971"/>
                </a:lnTo>
                <a:lnTo>
                  <a:pt x="1240109" y="2309430"/>
                </a:lnTo>
                <a:lnTo>
                  <a:pt x="1242790" y="2288826"/>
                </a:lnTo>
                <a:lnTo>
                  <a:pt x="1245366" y="2268159"/>
                </a:lnTo>
                <a:lnTo>
                  <a:pt x="1247837" y="2247428"/>
                </a:lnTo>
                <a:lnTo>
                  <a:pt x="1250202" y="2226633"/>
                </a:lnTo>
                <a:lnTo>
                  <a:pt x="1252460" y="2205773"/>
                </a:lnTo>
                <a:lnTo>
                  <a:pt x="1254610" y="2184847"/>
                </a:lnTo>
                <a:lnTo>
                  <a:pt x="1256651" y="2163856"/>
                </a:lnTo>
                <a:lnTo>
                  <a:pt x="1258584" y="2142798"/>
                </a:lnTo>
                <a:lnTo>
                  <a:pt x="1260407" y="2121673"/>
                </a:lnTo>
                <a:lnTo>
                  <a:pt x="1262119" y="2100480"/>
                </a:lnTo>
                <a:lnTo>
                  <a:pt x="1263719" y="2079219"/>
                </a:lnTo>
                <a:lnTo>
                  <a:pt x="1265207" y="2057890"/>
                </a:lnTo>
                <a:lnTo>
                  <a:pt x="1266583" y="2036492"/>
                </a:lnTo>
                <a:lnTo>
                  <a:pt x="1267845" y="2015023"/>
                </a:lnTo>
                <a:lnTo>
                  <a:pt x="1268992" y="1993484"/>
                </a:lnTo>
                <a:lnTo>
                  <a:pt x="1270024" y="1971875"/>
                </a:lnTo>
                <a:lnTo>
                  <a:pt x="1270940" y="1950194"/>
                </a:lnTo>
                <a:lnTo>
                  <a:pt x="1271740" y="1928441"/>
                </a:lnTo>
                <a:lnTo>
                  <a:pt x="1272422" y="1906616"/>
                </a:lnTo>
                <a:lnTo>
                  <a:pt x="1272986" y="1884718"/>
                </a:lnTo>
                <a:lnTo>
                  <a:pt x="1273430" y="1862747"/>
                </a:lnTo>
                <a:lnTo>
                  <a:pt x="1273755" y="1840700"/>
                </a:lnTo>
                <a:lnTo>
                  <a:pt x="1273961" y="1818581"/>
                </a:lnTo>
                <a:lnTo>
                  <a:pt x="1274005" y="1774114"/>
                </a:lnTo>
                <a:lnTo>
                  <a:pt x="1273844" y="1751767"/>
                </a:lnTo>
                <a:lnTo>
                  <a:pt x="1273558" y="1729342"/>
                </a:lnTo>
                <a:lnTo>
                  <a:pt x="1273150" y="1706841"/>
                </a:lnTo>
                <a:lnTo>
                  <a:pt x="1272616" y="1684263"/>
                </a:lnTo>
                <a:lnTo>
                  <a:pt x="1271956" y="1661605"/>
                </a:lnTo>
                <a:lnTo>
                  <a:pt x="1271170" y="1638868"/>
                </a:lnTo>
                <a:lnTo>
                  <a:pt x="1270256" y="1616053"/>
                </a:lnTo>
                <a:lnTo>
                  <a:pt x="1269215" y="1593157"/>
                </a:lnTo>
                <a:lnTo>
                  <a:pt x="1268044" y="1570181"/>
                </a:lnTo>
                <a:lnTo>
                  <a:pt x="1266744" y="1547124"/>
                </a:lnTo>
                <a:lnTo>
                  <a:pt x="1265314" y="1523985"/>
                </a:lnTo>
                <a:lnTo>
                  <a:pt x="1263753" y="1500764"/>
                </a:lnTo>
                <a:lnTo>
                  <a:pt x="1262060" y="1477461"/>
                </a:lnTo>
                <a:lnTo>
                  <a:pt x="1260234" y="1454074"/>
                </a:lnTo>
                <a:lnTo>
                  <a:pt x="1258276" y="1430604"/>
                </a:lnTo>
                <a:lnTo>
                  <a:pt x="1256182" y="1407049"/>
                </a:lnTo>
                <a:lnTo>
                  <a:pt x="1253955" y="1383410"/>
                </a:lnTo>
                <a:lnTo>
                  <a:pt x="1251592" y="1359685"/>
                </a:lnTo>
                <a:lnTo>
                  <a:pt x="1249092" y="1335873"/>
                </a:lnTo>
                <a:lnTo>
                  <a:pt x="1246456" y="1311977"/>
                </a:lnTo>
                <a:lnTo>
                  <a:pt x="1243681" y="1287992"/>
                </a:lnTo>
                <a:lnTo>
                  <a:pt x="1240769" y="1263921"/>
                </a:lnTo>
                <a:lnTo>
                  <a:pt x="1237716" y="1239761"/>
                </a:lnTo>
                <a:lnTo>
                  <a:pt x="1234524" y="1215513"/>
                </a:lnTo>
                <a:lnTo>
                  <a:pt x="1231190" y="1191176"/>
                </a:lnTo>
                <a:lnTo>
                  <a:pt x="1227715" y="1166749"/>
                </a:lnTo>
                <a:lnTo>
                  <a:pt x="1224099" y="1142232"/>
                </a:lnTo>
                <a:lnTo>
                  <a:pt x="1220339" y="1117624"/>
                </a:lnTo>
                <a:lnTo>
                  <a:pt x="1216434" y="1092925"/>
                </a:lnTo>
                <a:lnTo>
                  <a:pt x="1212386" y="1068134"/>
                </a:lnTo>
                <a:lnTo>
                  <a:pt x="1208192" y="1043251"/>
                </a:lnTo>
                <a:lnTo>
                  <a:pt x="1203852" y="1018274"/>
                </a:lnTo>
                <a:lnTo>
                  <a:pt x="1199365" y="993205"/>
                </a:lnTo>
                <a:lnTo>
                  <a:pt x="1194731" y="968042"/>
                </a:lnTo>
                <a:lnTo>
                  <a:pt x="1189948" y="942784"/>
                </a:lnTo>
                <a:lnTo>
                  <a:pt x="1185016" y="917431"/>
                </a:lnTo>
                <a:lnTo>
                  <a:pt x="1179934" y="891982"/>
                </a:lnTo>
                <a:lnTo>
                  <a:pt x="1174701" y="866438"/>
                </a:lnTo>
                <a:lnTo>
                  <a:pt x="1169317" y="840796"/>
                </a:lnTo>
                <a:lnTo>
                  <a:pt x="1163781" y="815058"/>
                </a:lnTo>
                <a:lnTo>
                  <a:pt x="1158092" y="789222"/>
                </a:lnTo>
                <a:lnTo>
                  <a:pt x="1152249" y="763287"/>
                </a:lnTo>
                <a:lnTo>
                  <a:pt x="1146253" y="737255"/>
                </a:lnTo>
                <a:lnTo>
                  <a:pt x="1140101" y="711122"/>
                </a:lnTo>
                <a:lnTo>
                  <a:pt x="1133793" y="684890"/>
                </a:lnTo>
                <a:lnTo>
                  <a:pt x="1127327" y="658557"/>
                </a:lnTo>
                <a:lnTo>
                  <a:pt x="1120705" y="632123"/>
                </a:lnTo>
                <a:lnTo>
                  <a:pt x="1113925" y="605589"/>
                </a:lnTo>
                <a:lnTo>
                  <a:pt x="1106986" y="578951"/>
                </a:lnTo>
                <a:lnTo>
                  <a:pt x="1099887" y="552212"/>
                </a:lnTo>
                <a:lnTo>
                  <a:pt x="1092628" y="525369"/>
                </a:lnTo>
                <a:lnTo>
                  <a:pt x="1085207" y="498423"/>
                </a:lnTo>
                <a:lnTo>
                  <a:pt x="1077624" y="471372"/>
                </a:lnTo>
                <a:lnTo>
                  <a:pt x="1069880" y="444217"/>
                </a:lnTo>
                <a:lnTo>
                  <a:pt x="1061971" y="416957"/>
                </a:lnTo>
                <a:lnTo>
                  <a:pt x="1053898" y="389591"/>
                </a:lnTo>
                <a:lnTo>
                  <a:pt x="1045660" y="362118"/>
                </a:lnTo>
                <a:lnTo>
                  <a:pt x="1037256" y="334538"/>
                </a:lnTo>
                <a:lnTo>
                  <a:pt x="1028686" y="306852"/>
                </a:lnTo>
                <a:lnTo>
                  <a:pt x="1019950" y="279057"/>
                </a:lnTo>
                <a:lnTo>
                  <a:pt x="1011045" y="251154"/>
                </a:lnTo>
                <a:lnTo>
                  <a:pt x="1001971" y="223142"/>
                </a:lnTo>
                <a:lnTo>
                  <a:pt x="992728" y="195020"/>
                </a:lnTo>
                <a:lnTo>
                  <a:pt x="983314" y="166788"/>
                </a:lnTo>
                <a:lnTo>
                  <a:pt x="973730" y="138446"/>
                </a:lnTo>
                <a:lnTo>
                  <a:pt x="963974" y="109992"/>
                </a:lnTo>
                <a:lnTo>
                  <a:pt x="954045" y="81427"/>
                </a:lnTo>
                <a:lnTo>
                  <a:pt x="943943" y="52750"/>
                </a:lnTo>
                <a:lnTo>
                  <a:pt x="933667" y="23959"/>
                </a:lnTo>
                <a:close/>
              </a:path>
            </a:pathLst>
          </a:custGeom>
          <a:solidFill>
            <a:schemeClr val="accent6"/>
          </a:solidFill>
          <a:ln>
            <a:noFill/>
          </a:ln>
        </p:spPr>
        <p:txBody>
          <a:bodyPr wrap="square">
            <a:noAutofit/>
          </a:bodyPr>
          <a:lstStyle>
            <a:lvl1pPr>
              <a:defRPr>
                <a:solidFill>
                  <a:schemeClr val="accent1"/>
                </a:solidFill>
              </a:defRPr>
            </a:lvl1pPr>
          </a:lstStyle>
          <a:p>
            <a:r>
              <a:rPr lang="en-GB"/>
              <a:t> </a:t>
            </a:r>
            <a:endParaRPr lang="en-GB" dirty="0"/>
          </a:p>
        </p:txBody>
      </p:sp>
      <p:sp>
        <p:nvSpPr>
          <p:cNvPr id="6" name="Text Placeholder 2">
            <a:extLst>
              <a:ext uri="{FF2B5EF4-FFF2-40B4-BE49-F238E27FC236}">
                <a16:creationId xmlns:a16="http://schemas.microsoft.com/office/drawing/2014/main" id="{472E4862-F26F-4BEA-9FEB-DFE15AA4E10A}"/>
              </a:ext>
            </a:extLst>
          </p:cNvPr>
          <p:cNvSpPr>
            <a:spLocks noGrp="1"/>
          </p:cNvSpPr>
          <p:nvPr>
            <p:ph type="body" sz="quarter" idx="15"/>
          </p:nvPr>
        </p:nvSpPr>
        <p:spPr>
          <a:xfrm>
            <a:off x="432000" y="1416001"/>
            <a:ext cx="3456317" cy="656462"/>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Click to edit Master text styles</a:t>
            </a:r>
          </a:p>
        </p:txBody>
      </p:sp>
      <p:sp>
        <p:nvSpPr>
          <p:cNvPr id="10" name="Round Diagonal Corner Rectangle 4">
            <a:extLst>
              <a:ext uri="{FF2B5EF4-FFF2-40B4-BE49-F238E27FC236}">
                <a16:creationId xmlns:a16="http://schemas.microsoft.com/office/drawing/2014/main" id="{B1508920-DE1E-4600-ABEC-66488997A7F2}"/>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2" name="Rectangle 11">
            <a:hlinkClick r:id="rId2"/>
            <a:extLst>
              <a:ext uri="{FF2B5EF4-FFF2-40B4-BE49-F238E27FC236}">
                <a16:creationId xmlns:a16="http://schemas.microsoft.com/office/drawing/2014/main" id="{5CCFFF65-EF68-45FF-A126-7B581810B37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8" name="Picture 7">
            <a:extLst>
              <a:ext uri="{FF2B5EF4-FFF2-40B4-BE49-F238E27FC236}">
                <a16:creationId xmlns:a16="http://schemas.microsoft.com/office/drawing/2014/main" id="{A4694E5B-8288-4F85-9F48-AF84A3810CE6}"/>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3" name="Title 2">
            <a:extLst>
              <a:ext uri="{FF2B5EF4-FFF2-40B4-BE49-F238E27FC236}">
                <a16:creationId xmlns:a16="http://schemas.microsoft.com/office/drawing/2014/main" id="{3E108CA2-B250-42BE-9D56-C09CE2724843}"/>
              </a:ext>
            </a:extLst>
          </p:cNvPr>
          <p:cNvSpPr>
            <a:spLocks noGrp="1"/>
          </p:cNvSpPr>
          <p:nvPr>
            <p:ph type="title"/>
          </p:nvPr>
        </p:nvSpPr>
        <p:spPr>
          <a:xfrm>
            <a:off x="431402" y="441140"/>
            <a:ext cx="3456917" cy="393955"/>
          </a:xfrm>
        </p:spPr>
        <p:txBody>
          <a:bodyPr/>
          <a:lstStyle/>
          <a:p>
            <a:r>
              <a:rPr lang="en-US"/>
              <a:t>Click to edit Master title style</a:t>
            </a:r>
            <a:endParaRPr lang="en-GB" dirty="0"/>
          </a:p>
        </p:txBody>
      </p:sp>
    </p:spTree>
    <p:extLst>
      <p:ext uri="{BB962C8B-B14F-4D97-AF65-F5344CB8AC3E}">
        <p14:creationId xmlns:p14="http://schemas.microsoft.com/office/powerpoint/2010/main" val="30041157"/>
      </p:ext>
    </p:extLst>
  </p:cSld>
  <p:clrMapOvr>
    <a:masterClrMapping/>
  </p:clrMapOvr>
  <p:extLst mod="1">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Key mess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576D51F-52D4-4DC0-8A7D-6D12557F5F23}"/>
              </a:ext>
            </a:extLst>
          </p:cNvPr>
          <p:cNvSpPr>
            <a:spLocks noGrp="1"/>
          </p:cNvSpPr>
          <p:nvPr>
            <p:ph type="pic" sz="quarter" idx="16" hasCustomPrompt="1"/>
          </p:nvPr>
        </p:nvSpPr>
        <p:spPr>
          <a:xfrm>
            <a:off x="-8119" y="0"/>
            <a:ext cx="9480900" cy="6857037"/>
          </a:xfrm>
          <a:custGeom>
            <a:avLst/>
            <a:gdLst>
              <a:gd name="connsiteX0" fmla="*/ 0 w 15633609"/>
              <a:gd name="connsiteY0" fmla="*/ 0 h 11307763"/>
              <a:gd name="connsiteX1" fmla="*/ 13600449 w 15633609"/>
              <a:gd name="connsiteY1" fmla="*/ 0 h 11307763"/>
              <a:gd name="connsiteX2" fmla="*/ 13581182 w 15633609"/>
              <a:gd name="connsiteY2" fmla="*/ 53290 h 11307763"/>
              <a:gd name="connsiteX3" fmla="*/ 13558589 w 15633609"/>
              <a:gd name="connsiteY3" fmla="*/ 116593 h 11307763"/>
              <a:gd name="connsiteX4" fmla="*/ 13536379 w 15633609"/>
              <a:gd name="connsiteY4" fmla="*/ 179648 h 11307763"/>
              <a:gd name="connsiteX5" fmla="*/ 13514550 w 15633609"/>
              <a:gd name="connsiteY5" fmla="*/ 242456 h 11307763"/>
              <a:gd name="connsiteX6" fmla="*/ 13493100 w 15633609"/>
              <a:gd name="connsiteY6" fmla="*/ 305018 h 11307763"/>
              <a:gd name="connsiteX7" fmla="*/ 13472027 w 15633609"/>
              <a:gd name="connsiteY7" fmla="*/ 367337 h 11307763"/>
              <a:gd name="connsiteX8" fmla="*/ 13451330 w 15633609"/>
              <a:gd name="connsiteY8" fmla="*/ 429411 h 11307763"/>
              <a:gd name="connsiteX9" fmla="*/ 13431008 w 15633609"/>
              <a:gd name="connsiteY9" fmla="*/ 491244 h 11307763"/>
              <a:gd name="connsiteX10" fmla="*/ 13411058 w 15633609"/>
              <a:gd name="connsiteY10" fmla="*/ 552836 h 11307763"/>
              <a:gd name="connsiteX11" fmla="*/ 13391480 w 15633609"/>
              <a:gd name="connsiteY11" fmla="*/ 614189 h 11307763"/>
              <a:gd name="connsiteX12" fmla="*/ 13372270 w 15633609"/>
              <a:gd name="connsiteY12" fmla="*/ 675303 h 11307763"/>
              <a:gd name="connsiteX13" fmla="*/ 13353428 w 15633609"/>
              <a:gd name="connsiteY13" fmla="*/ 736179 h 11307763"/>
              <a:gd name="connsiteX14" fmla="*/ 13334952 w 15633609"/>
              <a:gd name="connsiteY14" fmla="*/ 796820 h 11307763"/>
              <a:gd name="connsiteX15" fmla="*/ 13316841 w 15633609"/>
              <a:gd name="connsiteY15" fmla="*/ 857225 h 11307763"/>
              <a:gd name="connsiteX16" fmla="*/ 13299092 w 15633609"/>
              <a:gd name="connsiteY16" fmla="*/ 917397 h 11307763"/>
              <a:gd name="connsiteX17" fmla="*/ 13281704 w 15633609"/>
              <a:gd name="connsiteY17" fmla="*/ 977336 h 11307763"/>
              <a:gd name="connsiteX18" fmla="*/ 13264675 w 15633609"/>
              <a:gd name="connsiteY18" fmla="*/ 1037044 h 11307763"/>
              <a:gd name="connsiteX19" fmla="*/ 13248005 w 15633609"/>
              <a:gd name="connsiteY19" fmla="*/ 1096522 h 11307763"/>
              <a:gd name="connsiteX20" fmla="*/ 13231690 w 15633609"/>
              <a:gd name="connsiteY20" fmla="*/ 1155770 h 11307763"/>
              <a:gd name="connsiteX21" fmla="*/ 13215729 w 15633609"/>
              <a:gd name="connsiteY21" fmla="*/ 1214791 h 11307763"/>
              <a:gd name="connsiteX22" fmla="*/ 13200122 w 15633609"/>
              <a:gd name="connsiteY22" fmla="*/ 1273585 h 11307763"/>
              <a:gd name="connsiteX23" fmla="*/ 13184865 w 15633609"/>
              <a:gd name="connsiteY23" fmla="*/ 1332154 h 11307763"/>
              <a:gd name="connsiteX24" fmla="*/ 13169958 w 15633609"/>
              <a:gd name="connsiteY24" fmla="*/ 1390498 h 11307763"/>
              <a:gd name="connsiteX25" fmla="*/ 13155398 w 15633609"/>
              <a:gd name="connsiteY25" fmla="*/ 1448619 h 11307763"/>
              <a:gd name="connsiteX26" fmla="*/ 13141185 w 15633609"/>
              <a:gd name="connsiteY26" fmla="*/ 1506519 h 11307763"/>
              <a:gd name="connsiteX27" fmla="*/ 13127316 w 15633609"/>
              <a:gd name="connsiteY27" fmla="*/ 1564197 h 11307763"/>
              <a:gd name="connsiteX28" fmla="*/ 13113790 w 15633609"/>
              <a:gd name="connsiteY28" fmla="*/ 1621656 h 11307763"/>
              <a:gd name="connsiteX29" fmla="*/ 13100605 w 15633609"/>
              <a:gd name="connsiteY29" fmla="*/ 1678897 h 11307763"/>
              <a:gd name="connsiteX30" fmla="*/ 13087759 w 15633609"/>
              <a:gd name="connsiteY30" fmla="*/ 1735920 h 11307763"/>
              <a:gd name="connsiteX31" fmla="*/ 13075251 w 15633609"/>
              <a:gd name="connsiteY31" fmla="*/ 1792727 h 11307763"/>
              <a:gd name="connsiteX32" fmla="*/ 13063080 w 15633609"/>
              <a:gd name="connsiteY32" fmla="*/ 1849320 h 11307763"/>
              <a:gd name="connsiteX33" fmla="*/ 13051242 w 15633609"/>
              <a:gd name="connsiteY33" fmla="*/ 1905699 h 11307763"/>
              <a:gd name="connsiteX34" fmla="*/ 13039738 w 15633609"/>
              <a:gd name="connsiteY34" fmla="*/ 1961865 h 11307763"/>
              <a:gd name="connsiteX35" fmla="*/ 13028565 w 15633609"/>
              <a:gd name="connsiteY35" fmla="*/ 2017820 h 11307763"/>
              <a:gd name="connsiteX36" fmla="*/ 13017721 w 15633609"/>
              <a:gd name="connsiteY36" fmla="*/ 2073565 h 11307763"/>
              <a:gd name="connsiteX37" fmla="*/ 13007205 w 15633609"/>
              <a:gd name="connsiteY37" fmla="*/ 2129101 h 11307763"/>
              <a:gd name="connsiteX38" fmla="*/ 12997016 w 15633609"/>
              <a:gd name="connsiteY38" fmla="*/ 2184430 h 11307763"/>
              <a:gd name="connsiteX39" fmla="*/ 12987151 w 15633609"/>
              <a:gd name="connsiteY39" fmla="*/ 2239551 h 11307763"/>
              <a:gd name="connsiteX40" fmla="*/ 12977609 w 15633609"/>
              <a:gd name="connsiteY40" fmla="*/ 2294468 h 11307763"/>
              <a:gd name="connsiteX41" fmla="*/ 12968388 w 15633609"/>
              <a:gd name="connsiteY41" fmla="*/ 2349180 h 11307763"/>
              <a:gd name="connsiteX42" fmla="*/ 12959486 w 15633609"/>
              <a:gd name="connsiteY42" fmla="*/ 2403689 h 11307763"/>
              <a:gd name="connsiteX43" fmla="*/ 12950903 w 15633609"/>
              <a:gd name="connsiteY43" fmla="*/ 2457997 h 11307763"/>
              <a:gd name="connsiteX44" fmla="*/ 12942636 w 15633609"/>
              <a:gd name="connsiteY44" fmla="*/ 2512103 h 11307763"/>
              <a:gd name="connsiteX45" fmla="*/ 12934683 w 15633609"/>
              <a:gd name="connsiteY45" fmla="*/ 2566011 h 11307763"/>
              <a:gd name="connsiteX46" fmla="*/ 12927044 w 15633609"/>
              <a:gd name="connsiteY46" fmla="*/ 2619720 h 11307763"/>
              <a:gd name="connsiteX47" fmla="*/ 12919715 w 15633609"/>
              <a:gd name="connsiteY47" fmla="*/ 2673232 h 11307763"/>
              <a:gd name="connsiteX48" fmla="*/ 12912696 w 15633609"/>
              <a:gd name="connsiteY48" fmla="*/ 2726548 h 11307763"/>
              <a:gd name="connsiteX49" fmla="*/ 12905986 w 15633609"/>
              <a:gd name="connsiteY49" fmla="*/ 2779669 h 11307763"/>
              <a:gd name="connsiteX50" fmla="*/ 12899581 w 15633609"/>
              <a:gd name="connsiteY50" fmla="*/ 2832597 h 11307763"/>
              <a:gd name="connsiteX51" fmla="*/ 12893481 w 15633609"/>
              <a:gd name="connsiteY51" fmla="*/ 2885332 h 11307763"/>
              <a:gd name="connsiteX52" fmla="*/ 12887685 w 15633609"/>
              <a:gd name="connsiteY52" fmla="*/ 2937876 h 11307763"/>
              <a:gd name="connsiteX53" fmla="*/ 12882189 w 15633609"/>
              <a:gd name="connsiteY53" fmla="*/ 2990230 h 11307763"/>
              <a:gd name="connsiteX54" fmla="*/ 12876994 w 15633609"/>
              <a:gd name="connsiteY54" fmla="*/ 3042396 h 11307763"/>
              <a:gd name="connsiteX55" fmla="*/ 12872096 w 15633609"/>
              <a:gd name="connsiteY55" fmla="*/ 3094373 h 11307763"/>
              <a:gd name="connsiteX56" fmla="*/ 12867494 w 15633609"/>
              <a:gd name="connsiteY56" fmla="*/ 3146165 h 11307763"/>
              <a:gd name="connsiteX57" fmla="*/ 12863188 w 15633609"/>
              <a:gd name="connsiteY57" fmla="*/ 3197771 h 11307763"/>
              <a:gd name="connsiteX58" fmla="*/ 12859174 w 15633609"/>
              <a:gd name="connsiteY58" fmla="*/ 3249192 h 11307763"/>
              <a:gd name="connsiteX59" fmla="*/ 12855452 w 15633609"/>
              <a:gd name="connsiteY59" fmla="*/ 3300431 h 11307763"/>
              <a:gd name="connsiteX60" fmla="*/ 12852020 w 15633609"/>
              <a:gd name="connsiteY60" fmla="*/ 3351489 h 11307763"/>
              <a:gd name="connsiteX61" fmla="*/ 12848875 w 15633609"/>
              <a:gd name="connsiteY61" fmla="*/ 3402365 h 11307763"/>
              <a:gd name="connsiteX62" fmla="*/ 12846017 w 15633609"/>
              <a:gd name="connsiteY62" fmla="*/ 3453063 h 11307763"/>
              <a:gd name="connsiteX63" fmla="*/ 12843444 w 15633609"/>
              <a:gd name="connsiteY63" fmla="*/ 3503582 h 11307763"/>
              <a:gd name="connsiteX64" fmla="*/ 12841154 w 15633609"/>
              <a:gd name="connsiteY64" fmla="*/ 3553924 h 11307763"/>
              <a:gd name="connsiteX65" fmla="*/ 12839145 w 15633609"/>
              <a:gd name="connsiteY65" fmla="*/ 3604090 h 11307763"/>
              <a:gd name="connsiteX66" fmla="*/ 12837417 w 15633609"/>
              <a:gd name="connsiteY66" fmla="*/ 3654082 h 11307763"/>
              <a:gd name="connsiteX67" fmla="*/ 12835966 w 15633609"/>
              <a:gd name="connsiteY67" fmla="*/ 3703900 h 11307763"/>
              <a:gd name="connsiteX68" fmla="*/ 12834792 w 15633609"/>
              <a:gd name="connsiteY68" fmla="*/ 3753546 h 11307763"/>
              <a:gd name="connsiteX69" fmla="*/ 12833892 w 15633609"/>
              <a:gd name="connsiteY69" fmla="*/ 3803021 h 11307763"/>
              <a:gd name="connsiteX70" fmla="*/ 12833266 w 15633609"/>
              <a:gd name="connsiteY70" fmla="*/ 3852326 h 11307763"/>
              <a:gd name="connsiteX71" fmla="*/ 12832911 w 15633609"/>
              <a:gd name="connsiteY71" fmla="*/ 3901463 h 11307763"/>
              <a:gd name="connsiteX72" fmla="*/ 12832827 w 15633609"/>
              <a:gd name="connsiteY72" fmla="*/ 3950432 h 11307763"/>
              <a:gd name="connsiteX73" fmla="*/ 12833010 w 15633609"/>
              <a:gd name="connsiteY73" fmla="*/ 3999234 h 11307763"/>
              <a:gd name="connsiteX74" fmla="*/ 12833460 w 15633609"/>
              <a:gd name="connsiteY74" fmla="*/ 4047871 h 11307763"/>
              <a:gd name="connsiteX75" fmla="*/ 12834174 w 15633609"/>
              <a:gd name="connsiteY75" fmla="*/ 4096344 h 11307763"/>
              <a:gd name="connsiteX76" fmla="*/ 12835152 w 15633609"/>
              <a:gd name="connsiteY76" fmla="*/ 4144655 h 11307763"/>
              <a:gd name="connsiteX77" fmla="*/ 12836392 w 15633609"/>
              <a:gd name="connsiteY77" fmla="*/ 4192804 h 11307763"/>
              <a:gd name="connsiteX78" fmla="*/ 12837891 w 15633609"/>
              <a:gd name="connsiteY78" fmla="*/ 4240792 h 11307763"/>
              <a:gd name="connsiteX79" fmla="*/ 12839649 w 15633609"/>
              <a:gd name="connsiteY79" fmla="*/ 4288621 h 11307763"/>
              <a:gd name="connsiteX80" fmla="*/ 12841663 w 15633609"/>
              <a:gd name="connsiteY80" fmla="*/ 4336292 h 11307763"/>
              <a:gd name="connsiteX81" fmla="*/ 12843933 w 15633609"/>
              <a:gd name="connsiteY81" fmla="*/ 4383807 h 11307763"/>
              <a:gd name="connsiteX82" fmla="*/ 12846455 w 15633609"/>
              <a:gd name="connsiteY82" fmla="*/ 4431165 h 11307763"/>
              <a:gd name="connsiteX83" fmla="*/ 12849229 w 15633609"/>
              <a:gd name="connsiteY83" fmla="*/ 4478369 h 11307763"/>
              <a:gd name="connsiteX84" fmla="*/ 12852253 w 15633609"/>
              <a:gd name="connsiteY84" fmla="*/ 4525420 h 11307763"/>
              <a:gd name="connsiteX85" fmla="*/ 12855526 w 15633609"/>
              <a:gd name="connsiteY85" fmla="*/ 4572318 h 11307763"/>
              <a:gd name="connsiteX86" fmla="*/ 12859045 w 15633609"/>
              <a:gd name="connsiteY86" fmla="*/ 4619066 h 11307763"/>
              <a:gd name="connsiteX87" fmla="*/ 12862809 w 15633609"/>
              <a:gd name="connsiteY87" fmla="*/ 4665663 h 11307763"/>
              <a:gd name="connsiteX88" fmla="*/ 12866816 w 15633609"/>
              <a:gd name="connsiteY88" fmla="*/ 4712112 h 11307763"/>
              <a:gd name="connsiteX89" fmla="*/ 12871065 w 15633609"/>
              <a:gd name="connsiteY89" fmla="*/ 4758414 h 11307763"/>
              <a:gd name="connsiteX90" fmla="*/ 12875554 w 15633609"/>
              <a:gd name="connsiteY90" fmla="*/ 4804569 h 11307763"/>
              <a:gd name="connsiteX91" fmla="*/ 12880282 w 15633609"/>
              <a:gd name="connsiteY91" fmla="*/ 4850580 h 11307763"/>
              <a:gd name="connsiteX92" fmla="*/ 12885246 w 15633609"/>
              <a:gd name="connsiteY92" fmla="*/ 4896446 h 11307763"/>
              <a:gd name="connsiteX93" fmla="*/ 12890445 w 15633609"/>
              <a:gd name="connsiteY93" fmla="*/ 4942170 h 11307763"/>
              <a:gd name="connsiteX94" fmla="*/ 12895878 w 15633609"/>
              <a:gd name="connsiteY94" fmla="*/ 4987752 h 11307763"/>
              <a:gd name="connsiteX95" fmla="*/ 12901542 w 15633609"/>
              <a:gd name="connsiteY95" fmla="*/ 5033194 h 11307763"/>
              <a:gd name="connsiteX96" fmla="*/ 12907436 w 15633609"/>
              <a:gd name="connsiteY96" fmla="*/ 5078497 h 11307763"/>
              <a:gd name="connsiteX97" fmla="*/ 12913559 w 15633609"/>
              <a:gd name="connsiteY97" fmla="*/ 5123661 h 11307763"/>
              <a:gd name="connsiteX98" fmla="*/ 12919909 w 15633609"/>
              <a:gd name="connsiteY98" fmla="*/ 5168689 h 11307763"/>
              <a:gd name="connsiteX99" fmla="*/ 12926483 w 15633609"/>
              <a:gd name="connsiteY99" fmla="*/ 5213582 h 11307763"/>
              <a:gd name="connsiteX100" fmla="*/ 12933281 w 15633609"/>
              <a:gd name="connsiteY100" fmla="*/ 5258339 h 11307763"/>
              <a:gd name="connsiteX101" fmla="*/ 12940301 w 15633609"/>
              <a:gd name="connsiteY101" fmla="*/ 5302964 h 11307763"/>
              <a:gd name="connsiteX102" fmla="*/ 12947541 w 15633609"/>
              <a:gd name="connsiteY102" fmla="*/ 5347457 h 11307763"/>
              <a:gd name="connsiteX103" fmla="*/ 12955000 w 15633609"/>
              <a:gd name="connsiteY103" fmla="*/ 5391819 h 11307763"/>
              <a:gd name="connsiteX104" fmla="*/ 12962675 w 15633609"/>
              <a:gd name="connsiteY104" fmla="*/ 5436051 h 11307763"/>
              <a:gd name="connsiteX105" fmla="*/ 12970566 w 15633609"/>
              <a:gd name="connsiteY105" fmla="*/ 5480154 h 11307763"/>
              <a:gd name="connsiteX106" fmla="*/ 12978669 w 15633609"/>
              <a:gd name="connsiteY106" fmla="*/ 5524130 h 11307763"/>
              <a:gd name="connsiteX107" fmla="*/ 12986985 w 15633609"/>
              <a:gd name="connsiteY107" fmla="*/ 5567980 h 11307763"/>
              <a:gd name="connsiteX108" fmla="*/ 12995511 w 15633609"/>
              <a:gd name="connsiteY108" fmla="*/ 5611705 h 11307763"/>
              <a:gd name="connsiteX109" fmla="*/ 13004246 w 15633609"/>
              <a:gd name="connsiteY109" fmla="*/ 5655307 h 11307763"/>
              <a:gd name="connsiteX110" fmla="*/ 13013187 w 15633609"/>
              <a:gd name="connsiteY110" fmla="*/ 5698785 h 11307763"/>
              <a:gd name="connsiteX111" fmla="*/ 13022334 w 15633609"/>
              <a:gd name="connsiteY111" fmla="*/ 5742143 h 11307763"/>
              <a:gd name="connsiteX112" fmla="*/ 13031684 w 15633609"/>
              <a:gd name="connsiteY112" fmla="*/ 5785380 h 11307763"/>
              <a:gd name="connsiteX113" fmla="*/ 13041236 w 15633609"/>
              <a:gd name="connsiteY113" fmla="*/ 5828498 h 11307763"/>
              <a:gd name="connsiteX114" fmla="*/ 13050988 w 15633609"/>
              <a:gd name="connsiteY114" fmla="*/ 5871498 h 11307763"/>
              <a:gd name="connsiteX115" fmla="*/ 13060939 w 15633609"/>
              <a:gd name="connsiteY115" fmla="*/ 5914381 h 11307763"/>
              <a:gd name="connsiteX116" fmla="*/ 13071087 w 15633609"/>
              <a:gd name="connsiteY116" fmla="*/ 5957149 h 11307763"/>
              <a:gd name="connsiteX117" fmla="*/ 13081430 w 15633609"/>
              <a:gd name="connsiteY117" fmla="*/ 5999803 h 11307763"/>
              <a:gd name="connsiteX118" fmla="*/ 13091967 w 15633609"/>
              <a:gd name="connsiteY118" fmla="*/ 6042343 h 11307763"/>
              <a:gd name="connsiteX119" fmla="*/ 13102695 w 15633609"/>
              <a:gd name="connsiteY119" fmla="*/ 6084772 h 11307763"/>
              <a:gd name="connsiteX120" fmla="*/ 13113614 w 15633609"/>
              <a:gd name="connsiteY120" fmla="*/ 6127090 h 11307763"/>
              <a:gd name="connsiteX121" fmla="*/ 13124722 w 15633609"/>
              <a:gd name="connsiteY121" fmla="*/ 6169298 h 11307763"/>
              <a:gd name="connsiteX122" fmla="*/ 13136016 w 15633609"/>
              <a:gd name="connsiteY122" fmla="*/ 6211398 h 11307763"/>
              <a:gd name="connsiteX123" fmla="*/ 13147496 w 15633609"/>
              <a:gd name="connsiteY123" fmla="*/ 6253390 h 11307763"/>
              <a:gd name="connsiteX124" fmla="*/ 13159160 w 15633609"/>
              <a:gd name="connsiteY124" fmla="*/ 6295277 h 11307763"/>
              <a:gd name="connsiteX125" fmla="*/ 13171005 w 15633609"/>
              <a:gd name="connsiteY125" fmla="*/ 6337058 h 11307763"/>
              <a:gd name="connsiteX126" fmla="*/ 13183031 w 15633609"/>
              <a:gd name="connsiteY126" fmla="*/ 6378736 h 11307763"/>
              <a:gd name="connsiteX127" fmla="*/ 13195236 w 15633609"/>
              <a:gd name="connsiteY127" fmla="*/ 6420312 h 11307763"/>
              <a:gd name="connsiteX128" fmla="*/ 13207618 w 15633609"/>
              <a:gd name="connsiteY128" fmla="*/ 6461786 h 11307763"/>
              <a:gd name="connsiteX129" fmla="*/ 13220175 w 15633609"/>
              <a:gd name="connsiteY129" fmla="*/ 6503160 h 11307763"/>
              <a:gd name="connsiteX130" fmla="*/ 13232905 w 15633609"/>
              <a:gd name="connsiteY130" fmla="*/ 6544435 h 11307763"/>
              <a:gd name="connsiteX131" fmla="*/ 13245808 w 15633609"/>
              <a:gd name="connsiteY131" fmla="*/ 6585612 h 11307763"/>
              <a:gd name="connsiteX132" fmla="*/ 13258881 w 15633609"/>
              <a:gd name="connsiteY132" fmla="*/ 6626693 h 11307763"/>
              <a:gd name="connsiteX133" fmla="*/ 13272123 w 15633609"/>
              <a:gd name="connsiteY133" fmla="*/ 6667678 h 11307763"/>
              <a:gd name="connsiteX134" fmla="*/ 13285533 w 15633609"/>
              <a:gd name="connsiteY134" fmla="*/ 6708569 h 11307763"/>
              <a:gd name="connsiteX135" fmla="*/ 13299107 w 15633609"/>
              <a:gd name="connsiteY135" fmla="*/ 6749367 h 11307763"/>
              <a:gd name="connsiteX136" fmla="*/ 13312845 w 15633609"/>
              <a:gd name="connsiteY136" fmla="*/ 6790073 h 11307763"/>
              <a:gd name="connsiteX137" fmla="*/ 13326746 w 15633609"/>
              <a:gd name="connsiteY137" fmla="*/ 6830689 h 11307763"/>
              <a:gd name="connsiteX138" fmla="*/ 13340807 w 15633609"/>
              <a:gd name="connsiteY138" fmla="*/ 6871215 h 11307763"/>
              <a:gd name="connsiteX139" fmla="*/ 13355026 w 15633609"/>
              <a:gd name="connsiteY139" fmla="*/ 6911653 h 11307763"/>
              <a:gd name="connsiteX140" fmla="*/ 13369403 w 15633609"/>
              <a:gd name="connsiteY140" fmla="*/ 6952003 h 11307763"/>
              <a:gd name="connsiteX141" fmla="*/ 13383935 w 15633609"/>
              <a:gd name="connsiteY141" fmla="*/ 6992268 h 11307763"/>
              <a:gd name="connsiteX142" fmla="*/ 13398622 w 15633609"/>
              <a:gd name="connsiteY142" fmla="*/ 7032448 h 11307763"/>
              <a:gd name="connsiteX143" fmla="*/ 13413460 w 15633609"/>
              <a:gd name="connsiteY143" fmla="*/ 7072544 h 11307763"/>
              <a:gd name="connsiteX144" fmla="*/ 13428449 w 15633609"/>
              <a:gd name="connsiteY144" fmla="*/ 7112558 h 11307763"/>
              <a:gd name="connsiteX145" fmla="*/ 13443587 w 15633609"/>
              <a:gd name="connsiteY145" fmla="*/ 7152491 h 11307763"/>
              <a:gd name="connsiteX146" fmla="*/ 13458871 w 15633609"/>
              <a:gd name="connsiteY146" fmla="*/ 7192343 h 11307763"/>
              <a:gd name="connsiteX147" fmla="*/ 13474302 w 15633609"/>
              <a:gd name="connsiteY147" fmla="*/ 7232117 h 11307763"/>
              <a:gd name="connsiteX148" fmla="*/ 13489876 w 15633609"/>
              <a:gd name="connsiteY148" fmla="*/ 7271813 h 11307763"/>
              <a:gd name="connsiteX149" fmla="*/ 13505593 w 15633609"/>
              <a:gd name="connsiteY149" fmla="*/ 7311433 h 11307763"/>
              <a:gd name="connsiteX150" fmla="*/ 13521450 w 15633609"/>
              <a:gd name="connsiteY150" fmla="*/ 7350977 h 11307763"/>
              <a:gd name="connsiteX151" fmla="*/ 13537446 w 15633609"/>
              <a:gd name="connsiteY151" fmla="*/ 7390448 h 11307763"/>
              <a:gd name="connsiteX152" fmla="*/ 13553580 w 15633609"/>
              <a:gd name="connsiteY152" fmla="*/ 7429845 h 11307763"/>
              <a:gd name="connsiteX153" fmla="*/ 13569849 w 15633609"/>
              <a:gd name="connsiteY153" fmla="*/ 7469171 h 11307763"/>
              <a:gd name="connsiteX154" fmla="*/ 13586251 w 15633609"/>
              <a:gd name="connsiteY154" fmla="*/ 7508426 h 11307763"/>
              <a:gd name="connsiteX155" fmla="*/ 13602787 w 15633609"/>
              <a:gd name="connsiteY155" fmla="*/ 7547611 h 11307763"/>
              <a:gd name="connsiteX156" fmla="*/ 13619452 w 15633609"/>
              <a:gd name="connsiteY156" fmla="*/ 7586729 h 11307763"/>
              <a:gd name="connsiteX157" fmla="*/ 13636247 w 15633609"/>
              <a:gd name="connsiteY157" fmla="*/ 7625779 h 11307763"/>
              <a:gd name="connsiteX158" fmla="*/ 13653169 w 15633609"/>
              <a:gd name="connsiteY158" fmla="*/ 7664764 h 11307763"/>
              <a:gd name="connsiteX159" fmla="*/ 13670217 w 15633609"/>
              <a:gd name="connsiteY159" fmla="*/ 7703683 h 11307763"/>
              <a:gd name="connsiteX160" fmla="*/ 13687389 w 15633609"/>
              <a:gd name="connsiteY160" fmla="*/ 7742540 h 11307763"/>
              <a:gd name="connsiteX161" fmla="*/ 13704683 w 15633609"/>
              <a:gd name="connsiteY161" fmla="*/ 7781334 h 11307763"/>
              <a:gd name="connsiteX162" fmla="*/ 13722098 w 15633609"/>
              <a:gd name="connsiteY162" fmla="*/ 7820067 h 11307763"/>
              <a:gd name="connsiteX163" fmla="*/ 13739632 w 15633609"/>
              <a:gd name="connsiteY163" fmla="*/ 7858740 h 11307763"/>
              <a:gd name="connsiteX164" fmla="*/ 13757283 w 15633609"/>
              <a:gd name="connsiteY164" fmla="*/ 7897355 h 11307763"/>
              <a:gd name="connsiteX165" fmla="*/ 13775050 w 15633609"/>
              <a:gd name="connsiteY165" fmla="*/ 7935911 h 11307763"/>
              <a:gd name="connsiteX166" fmla="*/ 13792931 w 15633609"/>
              <a:gd name="connsiteY166" fmla="*/ 7974412 h 11307763"/>
              <a:gd name="connsiteX167" fmla="*/ 13810924 w 15633609"/>
              <a:gd name="connsiteY167" fmla="*/ 8012857 h 11307763"/>
              <a:gd name="connsiteX168" fmla="*/ 13829028 w 15633609"/>
              <a:gd name="connsiteY168" fmla="*/ 8051248 h 11307763"/>
              <a:gd name="connsiteX169" fmla="*/ 13847242 w 15633609"/>
              <a:gd name="connsiteY169" fmla="*/ 8089587 h 11307763"/>
              <a:gd name="connsiteX170" fmla="*/ 13865562 w 15633609"/>
              <a:gd name="connsiteY170" fmla="*/ 8127873 h 11307763"/>
              <a:gd name="connsiteX171" fmla="*/ 13883989 w 15633609"/>
              <a:gd name="connsiteY171" fmla="*/ 8166110 h 11307763"/>
              <a:gd name="connsiteX172" fmla="*/ 13902519 w 15633609"/>
              <a:gd name="connsiteY172" fmla="*/ 8204296 h 11307763"/>
              <a:gd name="connsiteX173" fmla="*/ 13921152 w 15633609"/>
              <a:gd name="connsiteY173" fmla="*/ 8242435 h 11307763"/>
              <a:gd name="connsiteX174" fmla="*/ 13939886 w 15633609"/>
              <a:gd name="connsiteY174" fmla="*/ 8280527 h 11307763"/>
              <a:gd name="connsiteX175" fmla="*/ 13958719 w 15633609"/>
              <a:gd name="connsiteY175" fmla="*/ 8318574 h 11307763"/>
              <a:gd name="connsiteX176" fmla="*/ 13977649 w 15633609"/>
              <a:gd name="connsiteY176" fmla="*/ 8356575 h 11307763"/>
              <a:gd name="connsiteX177" fmla="*/ 13996675 w 15633609"/>
              <a:gd name="connsiteY177" fmla="*/ 8394533 h 11307763"/>
              <a:gd name="connsiteX178" fmla="*/ 14015796 w 15633609"/>
              <a:gd name="connsiteY178" fmla="*/ 8432450 h 11307763"/>
              <a:gd name="connsiteX179" fmla="*/ 14035009 w 15633609"/>
              <a:gd name="connsiteY179" fmla="*/ 8470325 h 11307763"/>
              <a:gd name="connsiteX180" fmla="*/ 14054313 w 15633609"/>
              <a:gd name="connsiteY180" fmla="*/ 8508160 h 11307763"/>
              <a:gd name="connsiteX181" fmla="*/ 14073706 w 15633609"/>
              <a:gd name="connsiteY181" fmla="*/ 8545957 h 11307763"/>
              <a:gd name="connsiteX182" fmla="*/ 14093186 w 15633609"/>
              <a:gd name="connsiteY182" fmla="*/ 8583716 h 11307763"/>
              <a:gd name="connsiteX183" fmla="*/ 14112752 w 15633609"/>
              <a:gd name="connsiteY183" fmla="*/ 8621439 h 11307763"/>
              <a:gd name="connsiteX184" fmla="*/ 14132403 w 15633609"/>
              <a:gd name="connsiteY184" fmla="*/ 8659126 h 11307763"/>
              <a:gd name="connsiteX185" fmla="*/ 14171950 w 15633609"/>
              <a:gd name="connsiteY185" fmla="*/ 8734401 h 11307763"/>
              <a:gd name="connsiteX186" fmla="*/ 14211815 w 15633609"/>
              <a:gd name="connsiteY186" fmla="*/ 8809550 h 11307763"/>
              <a:gd name="connsiteX187" fmla="*/ 14251983 w 15633609"/>
              <a:gd name="connsiteY187" fmla="*/ 8884582 h 11307763"/>
              <a:gd name="connsiteX188" fmla="*/ 14292441 w 15633609"/>
              <a:gd name="connsiteY188" fmla="*/ 8959507 h 11307763"/>
              <a:gd name="connsiteX189" fmla="*/ 14333177 w 15633609"/>
              <a:gd name="connsiteY189" fmla="*/ 9034334 h 11307763"/>
              <a:gd name="connsiteX190" fmla="*/ 14374177 w 15633609"/>
              <a:gd name="connsiteY190" fmla="*/ 9109073 h 11307763"/>
              <a:gd name="connsiteX191" fmla="*/ 14436142 w 15633609"/>
              <a:gd name="connsiteY191" fmla="*/ 9221036 h 11307763"/>
              <a:gd name="connsiteX192" fmla="*/ 14498627 w 15633609"/>
              <a:gd name="connsiteY192" fmla="*/ 9332854 h 11307763"/>
              <a:gd name="connsiteX193" fmla="*/ 14582671 w 15633609"/>
              <a:gd name="connsiteY193" fmla="*/ 9481773 h 11307763"/>
              <a:gd name="connsiteX194" fmla="*/ 14667452 w 15633609"/>
              <a:gd name="connsiteY194" fmla="*/ 9630565 h 11307763"/>
              <a:gd name="connsiteX195" fmla="*/ 14795776 w 15633609"/>
              <a:gd name="connsiteY195" fmla="*/ 9853682 h 11307763"/>
              <a:gd name="connsiteX196" fmla="*/ 15272668 w 15633609"/>
              <a:gd name="connsiteY196" fmla="*/ 10674932 h 11307763"/>
              <a:gd name="connsiteX197" fmla="*/ 15446180 w 15633609"/>
              <a:gd name="connsiteY197" fmla="*/ 10976499 h 11307763"/>
              <a:gd name="connsiteX198" fmla="*/ 15554022 w 15633609"/>
              <a:gd name="connsiteY198" fmla="*/ 11166221 h 11307763"/>
              <a:gd name="connsiteX199" fmla="*/ 15633609 w 15633609"/>
              <a:gd name="connsiteY199" fmla="*/ 11307763 h 11307763"/>
              <a:gd name="connsiteX200" fmla="*/ 0 w 15633609"/>
              <a:gd name="connsiteY200" fmla="*/ 11307763 h 1130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5633609" h="11307763">
                <a:moveTo>
                  <a:pt x="0" y="0"/>
                </a:moveTo>
                <a:lnTo>
                  <a:pt x="13600449" y="0"/>
                </a:lnTo>
                <a:lnTo>
                  <a:pt x="13581182" y="53290"/>
                </a:lnTo>
                <a:lnTo>
                  <a:pt x="13558589" y="116593"/>
                </a:lnTo>
                <a:lnTo>
                  <a:pt x="13536379" y="179648"/>
                </a:lnTo>
                <a:lnTo>
                  <a:pt x="13514550" y="242456"/>
                </a:lnTo>
                <a:lnTo>
                  <a:pt x="13493100" y="305018"/>
                </a:lnTo>
                <a:lnTo>
                  <a:pt x="13472027" y="367337"/>
                </a:lnTo>
                <a:lnTo>
                  <a:pt x="13451330" y="429411"/>
                </a:lnTo>
                <a:lnTo>
                  <a:pt x="13431008" y="491244"/>
                </a:lnTo>
                <a:lnTo>
                  <a:pt x="13411058" y="552836"/>
                </a:lnTo>
                <a:lnTo>
                  <a:pt x="13391480" y="614189"/>
                </a:lnTo>
                <a:lnTo>
                  <a:pt x="13372270" y="675303"/>
                </a:lnTo>
                <a:lnTo>
                  <a:pt x="13353428" y="736179"/>
                </a:lnTo>
                <a:lnTo>
                  <a:pt x="13334952" y="796820"/>
                </a:lnTo>
                <a:lnTo>
                  <a:pt x="13316841" y="857225"/>
                </a:lnTo>
                <a:lnTo>
                  <a:pt x="13299092" y="917397"/>
                </a:lnTo>
                <a:lnTo>
                  <a:pt x="13281704" y="977336"/>
                </a:lnTo>
                <a:lnTo>
                  <a:pt x="13264675" y="1037044"/>
                </a:lnTo>
                <a:lnTo>
                  <a:pt x="13248005" y="1096522"/>
                </a:lnTo>
                <a:lnTo>
                  <a:pt x="13231690" y="1155770"/>
                </a:lnTo>
                <a:lnTo>
                  <a:pt x="13215729" y="1214791"/>
                </a:lnTo>
                <a:lnTo>
                  <a:pt x="13200122" y="1273585"/>
                </a:lnTo>
                <a:lnTo>
                  <a:pt x="13184865" y="1332154"/>
                </a:lnTo>
                <a:lnTo>
                  <a:pt x="13169958" y="1390498"/>
                </a:lnTo>
                <a:lnTo>
                  <a:pt x="13155398" y="1448619"/>
                </a:lnTo>
                <a:lnTo>
                  <a:pt x="13141185" y="1506519"/>
                </a:lnTo>
                <a:lnTo>
                  <a:pt x="13127316" y="1564197"/>
                </a:lnTo>
                <a:lnTo>
                  <a:pt x="13113790" y="1621656"/>
                </a:lnTo>
                <a:lnTo>
                  <a:pt x="13100605" y="1678897"/>
                </a:lnTo>
                <a:lnTo>
                  <a:pt x="13087759" y="1735920"/>
                </a:lnTo>
                <a:lnTo>
                  <a:pt x="13075251" y="1792727"/>
                </a:lnTo>
                <a:lnTo>
                  <a:pt x="13063080" y="1849320"/>
                </a:lnTo>
                <a:lnTo>
                  <a:pt x="13051242" y="1905699"/>
                </a:lnTo>
                <a:lnTo>
                  <a:pt x="13039738" y="1961865"/>
                </a:lnTo>
                <a:lnTo>
                  <a:pt x="13028565" y="2017820"/>
                </a:lnTo>
                <a:lnTo>
                  <a:pt x="13017721" y="2073565"/>
                </a:lnTo>
                <a:lnTo>
                  <a:pt x="13007205" y="2129101"/>
                </a:lnTo>
                <a:lnTo>
                  <a:pt x="12997016" y="2184430"/>
                </a:lnTo>
                <a:lnTo>
                  <a:pt x="12987151" y="2239551"/>
                </a:lnTo>
                <a:lnTo>
                  <a:pt x="12977609" y="2294468"/>
                </a:lnTo>
                <a:lnTo>
                  <a:pt x="12968388" y="2349180"/>
                </a:lnTo>
                <a:lnTo>
                  <a:pt x="12959486" y="2403689"/>
                </a:lnTo>
                <a:lnTo>
                  <a:pt x="12950903" y="2457997"/>
                </a:lnTo>
                <a:lnTo>
                  <a:pt x="12942636" y="2512103"/>
                </a:lnTo>
                <a:lnTo>
                  <a:pt x="12934683" y="2566011"/>
                </a:lnTo>
                <a:lnTo>
                  <a:pt x="12927044" y="2619720"/>
                </a:lnTo>
                <a:lnTo>
                  <a:pt x="12919715" y="2673232"/>
                </a:lnTo>
                <a:lnTo>
                  <a:pt x="12912696" y="2726548"/>
                </a:lnTo>
                <a:lnTo>
                  <a:pt x="12905986" y="2779669"/>
                </a:lnTo>
                <a:lnTo>
                  <a:pt x="12899581" y="2832597"/>
                </a:lnTo>
                <a:lnTo>
                  <a:pt x="12893481" y="2885332"/>
                </a:lnTo>
                <a:lnTo>
                  <a:pt x="12887685" y="2937876"/>
                </a:lnTo>
                <a:lnTo>
                  <a:pt x="12882189" y="2990230"/>
                </a:lnTo>
                <a:lnTo>
                  <a:pt x="12876994" y="3042396"/>
                </a:lnTo>
                <a:lnTo>
                  <a:pt x="12872096" y="3094373"/>
                </a:lnTo>
                <a:lnTo>
                  <a:pt x="12867494" y="3146165"/>
                </a:lnTo>
                <a:lnTo>
                  <a:pt x="12863188" y="3197771"/>
                </a:lnTo>
                <a:lnTo>
                  <a:pt x="12859174" y="3249192"/>
                </a:lnTo>
                <a:lnTo>
                  <a:pt x="12855452" y="3300431"/>
                </a:lnTo>
                <a:lnTo>
                  <a:pt x="12852020" y="3351489"/>
                </a:lnTo>
                <a:lnTo>
                  <a:pt x="12848875" y="3402365"/>
                </a:lnTo>
                <a:lnTo>
                  <a:pt x="12846017" y="3453063"/>
                </a:lnTo>
                <a:lnTo>
                  <a:pt x="12843444" y="3503582"/>
                </a:lnTo>
                <a:lnTo>
                  <a:pt x="12841154" y="3553924"/>
                </a:lnTo>
                <a:lnTo>
                  <a:pt x="12839145" y="3604090"/>
                </a:lnTo>
                <a:lnTo>
                  <a:pt x="12837417" y="3654082"/>
                </a:lnTo>
                <a:lnTo>
                  <a:pt x="12835966" y="3703900"/>
                </a:lnTo>
                <a:lnTo>
                  <a:pt x="12834792" y="3753546"/>
                </a:lnTo>
                <a:lnTo>
                  <a:pt x="12833892" y="3803021"/>
                </a:lnTo>
                <a:lnTo>
                  <a:pt x="12833266" y="3852326"/>
                </a:lnTo>
                <a:lnTo>
                  <a:pt x="12832911" y="3901463"/>
                </a:lnTo>
                <a:lnTo>
                  <a:pt x="12832827" y="3950432"/>
                </a:lnTo>
                <a:lnTo>
                  <a:pt x="12833010" y="3999234"/>
                </a:lnTo>
                <a:lnTo>
                  <a:pt x="12833460" y="4047871"/>
                </a:lnTo>
                <a:lnTo>
                  <a:pt x="12834174" y="4096344"/>
                </a:lnTo>
                <a:lnTo>
                  <a:pt x="12835152" y="4144655"/>
                </a:lnTo>
                <a:lnTo>
                  <a:pt x="12836392" y="4192804"/>
                </a:lnTo>
                <a:lnTo>
                  <a:pt x="12837891" y="4240792"/>
                </a:lnTo>
                <a:lnTo>
                  <a:pt x="12839649" y="4288621"/>
                </a:lnTo>
                <a:lnTo>
                  <a:pt x="12841663" y="4336292"/>
                </a:lnTo>
                <a:lnTo>
                  <a:pt x="12843933" y="4383807"/>
                </a:lnTo>
                <a:lnTo>
                  <a:pt x="12846455" y="4431165"/>
                </a:lnTo>
                <a:lnTo>
                  <a:pt x="12849229" y="4478369"/>
                </a:lnTo>
                <a:lnTo>
                  <a:pt x="12852253" y="4525420"/>
                </a:lnTo>
                <a:lnTo>
                  <a:pt x="12855526" y="4572318"/>
                </a:lnTo>
                <a:lnTo>
                  <a:pt x="12859045" y="4619066"/>
                </a:lnTo>
                <a:lnTo>
                  <a:pt x="12862809" y="4665663"/>
                </a:lnTo>
                <a:lnTo>
                  <a:pt x="12866816" y="4712112"/>
                </a:lnTo>
                <a:lnTo>
                  <a:pt x="12871065" y="4758414"/>
                </a:lnTo>
                <a:lnTo>
                  <a:pt x="12875554" y="4804569"/>
                </a:lnTo>
                <a:lnTo>
                  <a:pt x="12880282" y="4850580"/>
                </a:lnTo>
                <a:lnTo>
                  <a:pt x="12885246" y="4896446"/>
                </a:lnTo>
                <a:lnTo>
                  <a:pt x="12890445" y="4942170"/>
                </a:lnTo>
                <a:lnTo>
                  <a:pt x="12895878" y="4987752"/>
                </a:lnTo>
                <a:lnTo>
                  <a:pt x="12901542" y="5033194"/>
                </a:lnTo>
                <a:lnTo>
                  <a:pt x="12907436" y="5078497"/>
                </a:lnTo>
                <a:lnTo>
                  <a:pt x="12913559" y="5123661"/>
                </a:lnTo>
                <a:lnTo>
                  <a:pt x="12919909" y="5168689"/>
                </a:lnTo>
                <a:lnTo>
                  <a:pt x="12926483" y="5213582"/>
                </a:lnTo>
                <a:lnTo>
                  <a:pt x="12933281" y="5258339"/>
                </a:lnTo>
                <a:lnTo>
                  <a:pt x="12940301" y="5302964"/>
                </a:lnTo>
                <a:lnTo>
                  <a:pt x="12947541" y="5347457"/>
                </a:lnTo>
                <a:lnTo>
                  <a:pt x="12955000" y="5391819"/>
                </a:lnTo>
                <a:lnTo>
                  <a:pt x="12962675" y="5436051"/>
                </a:lnTo>
                <a:lnTo>
                  <a:pt x="12970566" y="5480154"/>
                </a:lnTo>
                <a:lnTo>
                  <a:pt x="12978669" y="5524130"/>
                </a:lnTo>
                <a:lnTo>
                  <a:pt x="12986985" y="5567980"/>
                </a:lnTo>
                <a:lnTo>
                  <a:pt x="12995511" y="5611705"/>
                </a:lnTo>
                <a:lnTo>
                  <a:pt x="13004246" y="5655307"/>
                </a:lnTo>
                <a:lnTo>
                  <a:pt x="13013187" y="5698785"/>
                </a:lnTo>
                <a:lnTo>
                  <a:pt x="13022334" y="5742143"/>
                </a:lnTo>
                <a:lnTo>
                  <a:pt x="13031684" y="5785380"/>
                </a:lnTo>
                <a:lnTo>
                  <a:pt x="13041236" y="5828498"/>
                </a:lnTo>
                <a:lnTo>
                  <a:pt x="13050988" y="5871498"/>
                </a:lnTo>
                <a:lnTo>
                  <a:pt x="13060939" y="5914381"/>
                </a:lnTo>
                <a:lnTo>
                  <a:pt x="13071087" y="5957149"/>
                </a:lnTo>
                <a:lnTo>
                  <a:pt x="13081430" y="5999803"/>
                </a:lnTo>
                <a:lnTo>
                  <a:pt x="13091967" y="6042343"/>
                </a:lnTo>
                <a:lnTo>
                  <a:pt x="13102695" y="6084772"/>
                </a:lnTo>
                <a:lnTo>
                  <a:pt x="13113614" y="6127090"/>
                </a:lnTo>
                <a:lnTo>
                  <a:pt x="13124722" y="6169298"/>
                </a:lnTo>
                <a:lnTo>
                  <a:pt x="13136016" y="6211398"/>
                </a:lnTo>
                <a:lnTo>
                  <a:pt x="13147496" y="6253390"/>
                </a:lnTo>
                <a:lnTo>
                  <a:pt x="13159160" y="6295277"/>
                </a:lnTo>
                <a:lnTo>
                  <a:pt x="13171005" y="6337058"/>
                </a:lnTo>
                <a:lnTo>
                  <a:pt x="13183031" y="6378736"/>
                </a:lnTo>
                <a:lnTo>
                  <a:pt x="13195236" y="6420312"/>
                </a:lnTo>
                <a:lnTo>
                  <a:pt x="13207618" y="6461786"/>
                </a:lnTo>
                <a:lnTo>
                  <a:pt x="13220175" y="6503160"/>
                </a:lnTo>
                <a:lnTo>
                  <a:pt x="13232905" y="6544435"/>
                </a:lnTo>
                <a:lnTo>
                  <a:pt x="13245808" y="6585612"/>
                </a:lnTo>
                <a:lnTo>
                  <a:pt x="13258881" y="6626693"/>
                </a:lnTo>
                <a:lnTo>
                  <a:pt x="13272123" y="6667678"/>
                </a:lnTo>
                <a:lnTo>
                  <a:pt x="13285533" y="6708569"/>
                </a:lnTo>
                <a:lnTo>
                  <a:pt x="13299107" y="6749367"/>
                </a:lnTo>
                <a:lnTo>
                  <a:pt x="13312845" y="6790073"/>
                </a:lnTo>
                <a:lnTo>
                  <a:pt x="13326746" y="6830689"/>
                </a:lnTo>
                <a:lnTo>
                  <a:pt x="13340807" y="6871215"/>
                </a:lnTo>
                <a:lnTo>
                  <a:pt x="13355026" y="6911653"/>
                </a:lnTo>
                <a:lnTo>
                  <a:pt x="13369403" y="6952003"/>
                </a:lnTo>
                <a:lnTo>
                  <a:pt x="13383935" y="6992268"/>
                </a:lnTo>
                <a:lnTo>
                  <a:pt x="13398622" y="7032448"/>
                </a:lnTo>
                <a:lnTo>
                  <a:pt x="13413460" y="7072544"/>
                </a:lnTo>
                <a:lnTo>
                  <a:pt x="13428449" y="7112558"/>
                </a:lnTo>
                <a:lnTo>
                  <a:pt x="13443587" y="7152491"/>
                </a:lnTo>
                <a:lnTo>
                  <a:pt x="13458871" y="7192343"/>
                </a:lnTo>
                <a:lnTo>
                  <a:pt x="13474302" y="7232117"/>
                </a:lnTo>
                <a:lnTo>
                  <a:pt x="13489876" y="7271813"/>
                </a:lnTo>
                <a:lnTo>
                  <a:pt x="13505593" y="7311433"/>
                </a:lnTo>
                <a:lnTo>
                  <a:pt x="13521450" y="7350977"/>
                </a:lnTo>
                <a:lnTo>
                  <a:pt x="13537446" y="7390448"/>
                </a:lnTo>
                <a:lnTo>
                  <a:pt x="13553580" y="7429845"/>
                </a:lnTo>
                <a:lnTo>
                  <a:pt x="13569849" y="7469171"/>
                </a:lnTo>
                <a:lnTo>
                  <a:pt x="13586251" y="7508426"/>
                </a:lnTo>
                <a:lnTo>
                  <a:pt x="13602787" y="7547611"/>
                </a:lnTo>
                <a:lnTo>
                  <a:pt x="13619452" y="7586729"/>
                </a:lnTo>
                <a:lnTo>
                  <a:pt x="13636247" y="7625779"/>
                </a:lnTo>
                <a:lnTo>
                  <a:pt x="13653169" y="7664764"/>
                </a:lnTo>
                <a:lnTo>
                  <a:pt x="13670217" y="7703683"/>
                </a:lnTo>
                <a:lnTo>
                  <a:pt x="13687389" y="7742540"/>
                </a:lnTo>
                <a:lnTo>
                  <a:pt x="13704683" y="7781334"/>
                </a:lnTo>
                <a:lnTo>
                  <a:pt x="13722098" y="7820067"/>
                </a:lnTo>
                <a:lnTo>
                  <a:pt x="13739632" y="7858740"/>
                </a:lnTo>
                <a:lnTo>
                  <a:pt x="13757283" y="7897355"/>
                </a:lnTo>
                <a:lnTo>
                  <a:pt x="13775050" y="7935911"/>
                </a:lnTo>
                <a:lnTo>
                  <a:pt x="13792931" y="7974412"/>
                </a:lnTo>
                <a:lnTo>
                  <a:pt x="13810924" y="8012857"/>
                </a:lnTo>
                <a:lnTo>
                  <a:pt x="13829028" y="8051248"/>
                </a:lnTo>
                <a:lnTo>
                  <a:pt x="13847242" y="8089587"/>
                </a:lnTo>
                <a:lnTo>
                  <a:pt x="13865562" y="8127873"/>
                </a:lnTo>
                <a:lnTo>
                  <a:pt x="13883989" y="8166110"/>
                </a:lnTo>
                <a:lnTo>
                  <a:pt x="13902519" y="8204296"/>
                </a:lnTo>
                <a:lnTo>
                  <a:pt x="13921152" y="8242435"/>
                </a:lnTo>
                <a:lnTo>
                  <a:pt x="13939886" y="8280527"/>
                </a:lnTo>
                <a:lnTo>
                  <a:pt x="13958719" y="8318574"/>
                </a:lnTo>
                <a:lnTo>
                  <a:pt x="13977649" y="8356575"/>
                </a:lnTo>
                <a:lnTo>
                  <a:pt x="13996675" y="8394533"/>
                </a:lnTo>
                <a:lnTo>
                  <a:pt x="14015796" y="8432450"/>
                </a:lnTo>
                <a:lnTo>
                  <a:pt x="14035009" y="8470325"/>
                </a:lnTo>
                <a:lnTo>
                  <a:pt x="14054313" y="8508160"/>
                </a:lnTo>
                <a:lnTo>
                  <a:pt x="14073706" y="8545957"/>
                </a:lnTo>
                <a:lnTo>
                  <a:pt x="14093186" y="8583716"/>
                </a:lnTo>
                <a:lnTo>
                  <a:pt x="14112752" y="8621439"/>
                </a:lnTo>
                <a:lnTo>
                  <a:pt x="14132403" y="8659126"/>
                </a:lnTo>
                <a:lnTo>
                  <a:pt x="14171950" y="8734401"/>
                </a:lnTo>
                <a:lnTo>
                  <a:pt x="14211815" y="8809550"/>
                </a:lnTo>
                <a:lnTo>
                  <a:pt x="14251983" y="8884582"/>
                </a:lnTo>
                <a:lnTo>
                  <a:pt x="14292441" y="8959507"/>
                </a:lnTo>
                <a:lnTo>
                  <a:pt x="14333177" y="9034334"/>
                </a:lnTo>
                <a:lnTo>
                  <a:pt x="14374177" y="9109073"/>
                </a:lnTo>
                <a:lnTo>
                  <a:pt x="14436142" y="9221036"/>
                </a:lnTo>
                <a:lnTo>
                  <a:pt x="14498627" y="9332854"/>
                </a:lnTo>
                <a:lnTo>
                  <a:pt x="14582671" y="9481773"/>
                </a:lnTo>
                <a:lnTo>
                  <a:pt x="14667452" y="9630565"/>
                </a:lnTo>
                <a:lnTo>
                  <a:pt x="14795776" y="9853682"/>
                </a:lnTo>
                <a:lnTo>
                  <a:pt x="15272668" y="10674932"/>
                </a:lnTo>
                <a:lnTo>
                  <a:pt x="15446180" y="10976499"/>
                </a:lnTo>
                <a:lnTo>
                  <a:pt x="15554022" y="11166221"/>
                </a:lnTo>
                <a:lnTo>
                  <a:pt x="15633609" y="11307763"/>
                </a:lnTo>
                <a:lnTo>
                  <a:pt x="0" y="11307763"/>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5" name="Text Placeholder 2">
            <a:extLst>
              <a:ext uri="{FF2B5EF4-FFF2-40B4-BE49-F238E27FC236}">
                <a16:creationId xmlns:a16="http://schemas.microsoft.com/office/drawing/2014/main" id="{26690566-6807-478B-842D-F5AB25A5420F}"/>
              </a:ext>
            </a:extLst>
          </p:cNvPr>
          <p:cNvSpPr>
            <a:spLocks noGrp="1"/>
          </p:cNvSpPr>
          <p:nvPr>
            <p:ph type="body" sz="quarter" idx="15"/>
          </p:nvPr>
        </p:nvSpPr>
        <p:spPr>
          <a:xfrm>
            <a:off x="8303685" y="1416001"/>
            <a:ext cx="3456945" cy="656462"/>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Click to edit Master text styles</a:t>
            </a:r>
          </a:p>
        </p:txBody>
      </p:sp>
      <p:sp>
        <p:nvSpPr>
          <p:cNvPr id="9" name="Round Diagonal Corner Rectangle 4">
            <a:extLst>
              <a:ext uri="{FF2B5EF4-FFF2-40B4-BE49-F238E27FC236}">
                <a16:creationId xmlns:a16="http://schemas.microsoft.com/office/drawing/2014/main" id="{F54843EE-89F0-474F-A438-CCD6E63C5C3A}"/>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0" name="Rectangle 9">
            <a:hlinkClick r:id="rId2"/>
            <a:extLst>
              <a:ext uri="{FF2B5EF4-FFF2-40B4-BE49-F238E27FC236}">
                <a16:creationId xmlns:a16="http://schemas.microsoft.com/office/drawing/2014/main" id="{59EFD54B-5084-4493-98CD-406BBC16C6BC}"/>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1" name="Picture 10">
            <a:extLst>
              <a:ext uri="{FF2B5EF4-FFF2-40B4-BE49-F238E27FC236}">
                <a16:creationId xmlns:a16="http://schemas.microsoft.com/office/drawing/2014/main" id="{50A37059-A6CA-4A16-859E-45B549666CFA}"/>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2" name="Title 1">
            <a:extLst>
              <a:ext uri="{FF2B5EF4-FFF2-40B4-BE49-F238E27FC236}">
                <a16:creationId xmlns:a16="http://schemas.microsoft.com/office/drawing/2014/main" id="{881E7258-4646-4D7F-9430-5D4A66ADBB9A}"/>
              </a:ext>
            </a:extLst>
          </p:cNvPr>
          <p:cNvSpPr>
            <a:spLocks noGrp="1"/>
          </p:cNvSpPr>
          <p:nvPr>
            <p:ph type="title"/>
          </p:nvPr>
        </p:nvSpPr>
        <p:spPr>
          <a:xfrm>
            <a:off x="8302454" y="441140"/>
            <a:ext cx="3456945" cy="393955"/>
          </a:xfrm>
        </p:spPr>
        <p:txBody>
          <a:bodyPr/>
          <a:lstStyle/>
          <a:p>
            <a:r>
              <a:rPr lang="en-US"/>
              <a:t>Click to edit Master title style</a:t>
            </a:r>
            <a:endParaRPr lang="en-GB" dirty="0"/>
          </a:p>
        </p:txBody>
      </p:sp>
    </p:spTree>
    <p:extLst>
      <p:ext uri="{BB962C8B-B14F-4D97-AF65-F5344CB8AC3E}">
        <p14:creationId xmlns:p14="http://schemas.microsoft.com/office/powerpoint/2010/main" val="116178513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DF3B3A2-DECF-4E1E-8224-F551F72431E6}"/>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5" name="Text Placeholder 4">
            <a:extLst>
              <a:ext uri="{FF2B5EF4-FFF2-40B4-BE49-F238E27FC236}">
                <a16:creationId xmlns:a16="http://schemas.microsoft.com/office/drawing/2014/main" id="{CD9199F2-FD0B-48CB-BF88-E2A9677AD29D}"/>
              </a:ext>
            </a:extLst>
          </p:cNvPr>
          <p:cNvSpPr>
            <a:spLocks noGrp="1"/>
          </p:cNvSpPr>
          <p:nvPr>
            <p:ph type="body" sz="quarter" idx="10"/>
          </p:nvPr>
        </p:nvSpPr>
        <p:spPr>
          <a:xfrm>
            <a:off x="432001" y="5120019"/>
            <a:ext cx="5424816" cy="1333699"/>
          </a:xfrm>
        </p:spPr>
        <p:txBody>
          <a:bodyPr anchor="b"/>
          <a:lstStyle>
            <a:lvl1pPr>
              <a:defRPr sz="1200" b="1">
                <a:solidFill>
                  <a:schemeClr val="tx1"/>
                </a:solidFill>
              </a:defRPr>
            </a:lvl1pPr>
            <a:lvl2pPr>
              <a:defRPr sz="1200" b="0">
                <a:solidFill>
                  <a:schemeClr val="tx1"/>
                </a:solidFill>
              </a:defRPr>
            </a:lvl2pPr>
            <a:lvl3pPr marL="0" indent="0">
              <a:buFontTx/>
              <a:buNone/>
              <a:defRPr sz="1200" b="0">
                <a:solidFill>
                  <a:schemeClr val="tx1"/>
                </a:solidFill>
              </a:defRPr>
            </a:lvl3pPr>
            <a:lvl4pPr marL="0" indent="0">
              <a:buFontTx/>
              <a:buNone/>
              <a:defRPr sz="1200" b="0">
                <a:solidFill>
                  <a:schemeClr val="tx1"/>
                </a:solidFill>
              </a:defRPr>
            </a:lvl4pPr>
            <a:lvl5pPr marL="0" indent="0">
              <a:buFontTx/>
              <a:buNone/>
              <a:defRPr sz="1200" b="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DD4BF8BF-9CAC-4BF8-B555-D6E364C618FB}"/>
              </a:ext>
            </a:extLst>
          </p:cNvPr>
          <p:cNvPicPr>
            <a:picLocks noChangeAspect="1"/>
          </p:cNvPicPr>
          <p:nvPr userDrawn="1"/>
        </p:nvPicPr>
        <p:blipFill>
          <a:blip r:embed="rId2"/>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241569782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93202-ABC8-43FB-AC03-1A7B6709210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54563968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dirty="0"/>
          </a:p>
        </p:txBody>
      </p:sp>
      <p:grpSp>
        <p:nvGrpSpPr>
          <p:cNvPr id="10" name="Guidance note">
            <a:extLst>
              <a:ext uri="{FF2B5EF4-FFF2-40B4-BE49-F238E27FC236}">
                <a16:creationId xmlns:a16="http://schemas.microsoft.com/office/drawing/2014/main" id="{632E5E5C-A081-4838-96EC-2018DFBEF9DF}"/>
              </a:ext>
            </a:extLst>
          </p:cNvPr>
          <p:cNvGrpSpPr/>
          <p:nvPr userDrawn="1"/>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03977394"/>
      </p:ext>
    </p:extLst>
  </p:cSld>
  <p:clrMapOvr>
    <a:masterClrMapping/>
  </p:clrMapOvr>
  <p:extLst mod="1">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4F340-DC34-40A9-AAD0-1975F2301B87}"/>
              </a:ext>
            </a:extLst>
          </p:cNvPr>
          <p:cNvSpPr>
            <a:spLocks noGrp="1"/>
          </p:cNvSpPr>
          <p:nvPr>
            <p:ph type="title"/>
          </p:nvPr>
        </p:nvSpPr>
        <p:spPr/>
        <p:txBody>
          <a:bodyPr/>
          <a:lstStyle/>
          <a:p>
            <a:r>
              <a:rPr lang="en-US"/>
              <a:t>Click to edit Master title style</a:t>
            </a:r>
            <a:endParaRPr lang="en-GB" dirty="0"/>
          </a:p>
        </p:txBody>
      </p:sp>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7"/>
            <a:ext cx="5424817" cy="209288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7"/>
            <a:ext cx="5424000" cy="209288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4" name="Guidance note">
            <a:extLst>
              <a:ext uri="{FF2B5EF4-FFF2-40B4-BE49-F238E27FC236}">
                <a16:creationId xmlns:a16="http://schemas.microsoft.com/office/drawing/2014/main" id="{F560F193-177D-4395-B1BB-A42292DDC151}"/>
              </a:ext>
            </a:extLst>
          </p:cNvPr>
          <p:cNvGrpSpPr/>
          <p:nvPr userDrawn="1"/>
        </p:nvGrpSpPr>
        <p:grpSpPr>
          <a:xfrm>
            <a:off x="12514259" y="-2970"/>
            <a:ext cx="2576459" cy="3511851"/>
            <a:chOff x="10925224" y="286"/>
            <a:chExt cx="2952328" cy="4024464"/>
          </a:xfrm>
        </p:grpSpPr>
        <p:sp>
          <p:nvSpPr>
            <p:cNvPr id="25" name="Guidance note">
              <a:extLst>
                <a:ext uri="{FF2B5EF4-FFF2-40B4-BE49-F238E27FC236}">
                  <a16:creationId xmlns:a16="http://schemas.microsoft.com/office/drawing/2014/main" id="{AF29402F-0B0A-44A5-B263-0C8C1E5B7779}"/>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6" name="Group 25">
              <a:extLst>
                <a:ext uri="{FF2B5EF4-FFF2-40B4-BE49-F238E27FC236}">
                  <a16:creationId xmlns:a16="http://schemas.microsoft.com/office/drawing/2014/main" id="{75E3892D-FEFD-4962-9795-DC2F17463B75}"/>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7" name="Picture 3">
                <a:extLst>
                  <a:ext uri="{FF2B5EF4-FFF2-40B4-BE49-F238E27FC236}">
                    <a16:creationId xmlns:a16="http://schemas.microsoft.com/office/drawing/2014/main" id="{1EE9A39B-0904-456F-B59F-2F4E55120F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992D0BE-FA95-458F-8ED2-677D7AE90B42}"/>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867497906"/>
      </p:ext>
    </p:extLst>
  </p:cSld>
  <p:clrMapOvr>
    <a:masterClrMapping/>
  </p:clrMapOvr>
  <p:extLst mod="1">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8D58E090-A402-4396-9C34-AACC618598E9}"/>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9007DA49-FBBA-426F-8BA1-C45A5B9C3B51}"/>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7A2C458C-0867-42D1-96EC-960A20373E5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317CCC4E-121E-4D81-894F-BC8D76CF9C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FDB760BE-4E51-4DA4-A2FA-EA5369BB40F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571673971"/>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2_colum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15F6C26-F6B7-524C-A2DE-8D5D05800874}"/>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5" name="Text Placeholder 11">
            <a:extLst>
              <a:ext uri="{FF2B5EF4-FFF2-40B4-BE49-F238E27FC236}">
                <a16:creationId xmlns:a16="http://schemas.microsoft.com/office/drawing/2014/main" id="{96A35149-E325-934F-831D-58E063CAB1F5}"/>
              </a:ext>
            </a:extLst>
          </p:cNvPr>
          <p:cNvSpPr>
            <a:spLocks noGrp="1"/>
          </p:cNvSpPr>
          <p:nvPr>
            <p:ph type="body" sz="quarter" idx="12"/>
          </p:nvPr>
        </p:nvSpPr>
        <p:spPr>
          <a:xfrm>
            <a:off x="627025" y="2123440"/>
            <a:ext cx="6738975" cy="3454400"/>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6" name="Picture 5">
            <a:extLst>
              <a:ext uri="{FF2B5EF4-FFF2-40B4-BE49-F238E27FC236}">
                <a16:creationId xmlns:a16="http://schemas.microsoft.com/office/drawing/2014/main" id="{3D551E60-DCC7-4A4D-A003-7BFB85876EA6}"/>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361899337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7"/>
            <a:ext cx="5424817" cy="209288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dirty="0"/>
              <a:t>INSERT PICTURE</a:t>
            </a:r>
          </a:p>
        </p:txBody>
      </p:sp>
      <p:grpSp>
        <p:nvGrpSpPr>
          <p:cNvPr id="22" name="Guidance note">
            <a:extLst>
              <a:ext uri="{FF2B5EF4-FFF2-40B4-BE49-F238E27FC236}">
                <a16:creationId xmlns:a16="http://schemas.microsoft.com/office/drawing/2014/main" id="{01782A72-73F6-4D14-8B35-52467DA934D1}"/>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BA2FA1E4-352E-4936-9547-427ED8A3A4D0}"/>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7CA143A2-801C-4CD0-8D12-326B73247494}"/>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5C9ED126-1C4E-4635-A8FB-BCBFE68F79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36520D67-05A8-460E-B163-63A8C5C3076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424535151"/>
      </p:ext>
    </p:extLst>
  </p:cSld>
  <p:clrMapOvr>
    <a:masterClrMapping/>
  </p:clrMapOvr>
  <p:extLst mod="1">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4C75A555-DA44-4479-9698-0614FBA84EB2}"/>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C63E074A-E363-483E-970D-D9D5B8E95E9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896FFC9E-ABDE-4220-B6F9-2A72B081BE11}"/>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783C9DE9-FE0B-4105-9B20-8A9F98F20D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02F88B-920A-4BBA-AA4D-ABF9A90CB5A1}"/>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499253550"/>
      </p:ext>
    </p:extLst>
  </p:cSld>
  <p:clrMapOvr>
    <a:masterClrMapping/>
  </p:clrMapOvr>
  <p:extLst mod="1">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8304000"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8D653A98-CF56-446A-9721-D28CD48D3FD4}"/>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8C9C3EDE-A918-437D-A5D8-7697D56218D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5F3C91CB-65FA-4CDB-8765-78FFE5FC273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5C5CF7EE-ECFD-4A37-B9C3-BD2D0C0176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4A33F702-07EE-4E88-900B-16CB8EA2DA6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483292189"/>
      </p:ext>
    </p:extLst>
  </p:cSld>
  <p:clrMapOvr>
    <a:masterClrMapping/>
  </p:clrMapOvr>
  <p:extLst mod="1">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r>
              <a:rPr lang="en-GB" dirty="0"/>
              <a:t> </a:t>
            </a:r>
          </a:p>
        </p:txBody>
      </p:sp>
      <p:sp>
        <p:nvSpPr>
          <p:cNvPr id="2" name="Title 1">
            <a:extLst>
              <a:ext uri="{FF2B5EF4-FFF2-40B4-BE49-F238E27FC236}">
                <a16:creationId xmlns:a16="http://schemas.microsoft.com/office/drawing/2014/main" id="{0642CC84-39CD-4CBB-B3E7-E705009B80B3}"/>
              </a:ext>
            </a:extLst>
          </p:cNvPr>
          <p:cNvSpPr>
            <a:spLocks noGrp="1"/>
          </p:cNvSpPr>
          <p:nvPr>
            <p:ph type="title"/>
          </p:nvPr>
        </p:nvSpPr>
        <p:spPr/>
        <p:txBody>
          <a:body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2" name="Guidance note">
            <a:extLst>
              <a:ext uri="{FF2B5EF4-FFF2-40B4-BE49-F238E27FC236}">
                <a16:creationId xmlns:a16="http://schemas.microsoft.com/office/drawing/2014/main" id="{F6BD485F-7180-4CEC-839E-F9483AEAF584}"/>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F86419A7-5EC4-4AC8-BB23-375E60D2C6B7}"/>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A4B3781D-97B0-49DA-A922-2F4A49B5EEE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D16DEB41-48C9-4F3C-BCFC-0DDD665BFB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5625153F-0A02-4860-9759-AE6F2DB1F863}"/>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420378407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878C4F-BC10-44FA-BC77-6768BE68A2F6}"/>
              </a:ext>
            </a:extLst>
          </p:cNvPr>
          <p:cNvSpPr>
            <a:spLocks noGrp="1"/>
          </p:cNvSpPr>
          <p:nvPr>
            <p:ph type="title"/>
          </p:nvPr>
        </p:nvSpPr>
        <p:spPr/>
        <p:txBody>
          <a:bodyPr/>
          <a:lstStyle/>
          <a:p>
            <a:r>
              <a:rPr lang="en-US"/>
              <a:t>Click to edit Master title style</a:t>
            </a:r>
            <a:endParaRPr lang="en-GB" dirty="0"/>
          </a:p>
        </p:txBody>
      </p:sp>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7"/>
            <a:ext cx="7392000" cy="209288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3" name="Guidance note">
            <a:extLst>
              <a:ext uri="{FF2B5EF4-FFF2-40B4-BE49-F238E27FC236}">
                <a16:creationId xmlns:a16="http://schemas.microsoft.com/office/drawing/2014/main" id="{C6220EA2-47DD-43D0-9331-5CA1710205F1}"/>
              </a:ext>
            </a:extLst>
          </p:cNvPr>
          <p:cNvGrpSpPr/>
          <p:nvPr userDrawn="1"/>
        </p:nvGrpSpPr>
        <p:grpSpPr>
          <a:xfrm>
            <a:off x="12514259" y="-2970"/>
            <a:ext cx="2576459" cy="3511851"/>
            <a:chOff x="10925224" y="286"/>
            <a:chExt cx="2952328" cy="4024464"/>
          </a:xfrm>
        </p:grpSpPr>
        <p:sp>
          <p:nvSpPr>
            <p:cNvPr id="24" name="Guidance note">
              <a:extLst>
                <a:ext uri="{FF2B5EF4-FFF2-40B4-BE49-F238E27FC236}">
                  <a16:creationId xmlns:a16="http://schemas.microsoft.com/office/drawing/2014/main" id="{2CF5DA98-8560-415B-8960-59469744CC96}"/>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5" name="Group 24">
              <a:extLst>
                <a:ext uri="{FF2B5EF4-FFF2-40B4-BE49-F238E27FC236}">
                  <a16:creationId xmlns:a16="http://schemas.microsoft.com/office/drawing/2014/main" id="{78E71987-5BD9-4DE7-9F3A-329F8F826E8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6" name="Picture 3">
                <a:extLst>
                  <a:ext uri="{FF2B5EF4-FFF2-40B4-BE49-F238E27FC236}">
                    <a16:creationId xmlns:a16="http://schemas.microsoft.com/office/drawing/2014/main" id="{FC9137C3-4121-48D7-AB68-03D7AA9055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7" name="Rounded Rectangle 20">
                <a:extLst>
                  <a:ext uri="{FF2B5EF4-FFF2-40B4-BE49-F238E27FC236}">
                    <a16:creationId xmlns:a16="http://schemas.microsoft.com/office/drawing/2014/main" id="{CD8F4824-0475-4119-BF77-90AE7EEC80E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866168666"/>
      </p:ext>
    </p:extLst>
  </p:cSld>
  <p:clrMapOvr>
    <a:masterClrMapping/>
  </p:clrMapOvr>
  <p:extLst mod="1">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62524-0972-45E6-8233-6ABAD7F79AAC}"/>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grpSp>
        <p:nvGrpSpPr>
          <p:cNvPr id="25" name="Guidance note">
            <a:extLst>
              <a:ext uri="{FF2B5EF4-FFF2-40B4-BE49-F238E27FC236}">
                <a16:creationId xmlns:a16="http://schemas.microsoft.com/office/drawing/2014/main" id="{2B9602E7-D537-490B-9711-4C94A1263400}"/>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A260A4C8-FE16-4419-895F-1BDE2239A65A}"/>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2F154759-8702-4699-8D62-C0E5762F4453}"/>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1E7040CA-37E8-4B53-84A1-45C657E7F6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CAF4B175-7E0B-4F34-B662-4F63EA174C7D}"/>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612010431"/>
      </p:ext>
    </p:extLst>
  </p:cSld>
  <p:clrMapOvr>
    <a:masterClrMapping/>
  </p:clrMapOvr>
  <p:extLst mod="1">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18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60960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5CA6738F-1383-4C63-86BC-6C31BCD1E25B}"/>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43E568BE-ED6A-426F-B0BF-A1453B694ED5}"/>
              </a:ext>
            </a:extLst>
          </p:cNvPr>
          <p:cNvSpPr>
            <a:spLocks noGrp="1"/>
          </p:cNvSpPr>
          <p:nvPr>
            <p:ph type="body" sz="quarter" idx="16"/>
          </p:nvPr>
        </p:nvSpPr>
        <p:spPr>
          <a:xfrm>
            <a:off x="432000" y="1416667"/>
            <a:ext cx="5424000" cy="209288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3">
            <a:extLst>
              <a:ext uri="{FF2B5EF4-FFF2-40B4-BE49-F238E27FC236}">
                <a16:creationId xmlns:a16="http://schemas.microsoft.com/office/drawing/2014/main" id="{5DFB1F70-48E1-4D12-8CA0-02A9C5416B1F}"/>
              </a:ext>
            </a:extLst>
          </p:cNvPr>
          <p:cNvSpPr>
            <a:spLocks noGrp="1"/>
          </p:cNvSpPr>
          <p:nvPr>
            <p:ph type="body" sz="quarter" idx="17"/>
          </p:nvPr>
        </p:nvSpPr>
        <p:spPr>
          <a:xfrm>
            <a:off x="6337516" y="1416667"/>
            <a:ext cx="5424000" cy="2092880"/>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8" name="Guidance note">
            <a:extLst>
              <a:ext uri="{FF2B5EF4-FFF2-40B4-BE49-F238E27FC236}">
                <a16:creationId xmlns:a16="http://schemas.microsoft.com/office/drawing/2014/main" id="{053114DC-01DB-4172-B8B9-F6B6A6FCE692}"/>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8DE85B72-FB6B-447A-858A-8B2561669D13}"/>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D8EC3649-E284-438D-8DCD-251552F54088}"/>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C3022D24-E487-419A-9A91-5B6F67F14A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FD7CCEB6-B56D-45AB-9808-6E4B26A114F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026831689"/>
      </p:ext>
    </p:extLst>
  </p:cSld>
  <p:clrMapOvr>
    <a:masterClrMapping/>
  </p:clrMapOvr>
  <p:extLst mod="1">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ree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2000"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42068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6" name="Picture Placeholder 2">
            <a:extLst>
              <a:ext uri="{FF2B5EF4-FFF2-40B4-BE49-F238E27FC236}">
                <a16:creationId xmlns:a16="http://schemas.microsoft.com/office/drawing/2014/main" id="{D515E9C8-29C7-4E99-B52B-311CBD5099A9}"/>
              </a:ext>
            </a:extLst>
          </p:cNvPr>
          <p:cNvSpPr>
            <a:spLocks noGrp="1"/>
          </p:cNvSpPr>
          <p:nvPr>
            <p:ph type="pic" sz="quarter" idx="24" hasCustomPrompt="1"/>
          </p:nvPr>
        </p:nvSpPr>
        <p:spPr>
          <a:xfrm>
            <a:off x="79817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20" name="Text Placeholder 3">
            <a:extLst>
              <a:ext uri="{FF2B5EF4-FFF2-40B4-BE49-F238E27FC236}">
                <a16:creationId xmlns:a16="http://schemas.microsoft.com/office/drawing/2014/main" id="{4656B92A-8C51-4E0D-9A97-008FAAAA53E0}"/>
              </a:ext>
            </a:extLst>
          </p:cNvPr>
          <p:cNvSpPr>
            <a:spLocks noGrp="1"/>
          </p:cNvSpPr>
          <p:nvPr>
            <p:ph type="body" sz="quarter" idx="16"/>
          </p:nvPr>
        </p:nvSpPr>
        <p:spPr>
          <a:xfrm>
            <a:off x="4320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3">
            <a:extLst>
              <a:ext uri="{FF2B5EF4-FFF2-40B4-BE49-F238E27FC236}">
                <a16:creationId xmlns:a16="http://schemas.microsoft.com/office/drawing/2014/main" id="{EA95D6EE-CA00-40A4-BFBB-A0BB7573F2B3}"/>
              </a:ext>
            </a:extLst>
          </p:cNvPr>
          <p:cNvSpPr>
            <a:spLocks noGrp="1"/>
          </p:cNvSpPr>
          <p:nvPr>
            <p:ph type="body" sz="quarter" idx="18"/>
          </p:nvPr>
        </p:nvSpPr>
        <p:spPr>
          <a:xfrm>
            <a:off x="4368000" y="1416667"/>
            <a:ext cx="3456000" cy="2461956"/>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4">
            <a:extLst>
              <a:ext uri="{FF2B5EF4-FFF2-40B4-BE49-F238E27FC236}">
                <a16:creationId xmlns:a16="http://schemas.microsoft.com/office/drawing/2014/main" id="{F93AEB12-C997-4994-99B9-11940CF7DB83}"/>
              </a:ext>
            </a:extLst>
          </p:cNvPr>
          <p:cNvSpPr>
            <a:spLocks noGrp="1"/>
          </p:cNvSpPr>
          <p:nvPr>
            <p:ph type="body" sz="quarter" idx="17"/>
          </p:nvPr>
        </p:nvSpPr>
        <p:spPr>
          <a:xfrm>
            <a:off x="8304000" y="1416667"/>
            <a:ext cx="3456000" cy="2092880"/>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8" name="Guidance note">
            <a:extLst>
              <a:ext uri="{FF2B5EF4-FFF2-40B4-BE49-F238E27FC236}">
                <a16:creationId xmlns:a16="http://schemas.microsoft.com/office/drawing/2014/main" id="{8F8469DA-FA58-409C-8234-09A9506501FE}"/>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6E771D66-7805-4DEB-BB9F-EF1E415C56EB}"/>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err="1">
                  <a:solidFill>
                    <a:schemeClr val="bg1">
                      <a:lumMod val="50000"/>
                    </a:schemeClr>
                  </a:solidFill>
                </a:rPr>
                <a:t>Shift+Alt+Right</a:t>
              </a:r>
              <a:r>
                <a:rPr lang="en-GB" sz="853" dirty="0">
                  <a:solidFill>
                    <a:schemeClr val="bg1">
                      <a:lumMod val="50000"/>
                    </a:schemeClr>
                  </a:solidFill>
                </a:rPr>
                <a:t> arrow key = increase level</a:t>
              </a:r>
              <a:br>
                <a:rPr lang="en-GB" sz="853" dirty="0">
                  <a:solidFill>
                    <a:schemeClr val="bg1">
                      <a:lumMod val="50000"/>
                    </a:schemeClr>
                  </a:solidFill>
                </a:rPr>
              </a:br>
              <a:r>
                <a:rPr lang="en-GB" sz="853" dirty="0" err="1">
                  <a:solidFill>
                    <a:schemeClr val="bg1">
                      <a:lumMod val="50000"/>
                    </a:schemeClr>
                  </a:solidFill>
                </a:rPr>
                <a:t>Shift+Alt+Left</a:t>
              </a:r>
              <a:r>
                <a:rPr lang="en-GB" sz="853" dirty="0">
                  <a:solidFill>
                    <a:schemeClr val="bg1">
                      <a:lumMod val="50000"/>
                    </a:schemeClr>
                  </a:solidFill>
                </a:rPr>
                <a: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7B72BB3D-7A3C-4684-BA16-7BC42D52C71E}"/>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54391195-43CF-4392-A400-03DECFD12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36A616C4-BC31-4393-8C8F-08A21867FCE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3" name="Title 2">
            <a:extLst>
              <a:ext uri="{FF2B5EF4-FFF2-40B4-BE49-F238E27FC236}">
                <a16:creationId xmlns:a16="http://schemas.microsoft.com/office/drawing/2014/main" id="{1EED9939-C8C6-4136-91EB-74F055235F9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7299607"/>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a:p>
        </p:txBody>
      </p:sp>
      <p:grpSp>
        <p:nvGrpSpPr>
          <p:cNvPr id="10" name="Guidance note">
            <a:extLst>
              <a:ext uri="{FF2B5EF4-FFF2-40B4-BE49-F238E27FC236}">
                <a16:creationId xmlns:a16="http://schemas.microsoft.com/office/drawing/2014/main" id="{632E5E5C-A081-4838-96EC-2018DFBEF9DF}"/>
              </a:ext>
            </a:extLst>
          </p:cNvPr>
          <p:cNvGrpSpPr/>
          <p:nvPr/>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5" name="Picture 14">
            <a:extLst>
              <a:ext uri="{FF2B5EF4-FFF2-40B4-BE49-F238E27FC236}">
                <a16:creationId xmlns:a16="http://schemas.microsoft.com/office/drawing/2014/main" id="{F71F1E83-4FFA-C548-AFA3-4B29E7AD98EA}"/>
              </a:ext>
            </a:extLst>
          </p:cNvPr>
          <p:cNvPicPr>
            <a:picLocks noChangeAspect="1"/>
          </p:cNvPicPr>
          <p:nvPr/>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130351443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Success 2020">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265DB93-84BA-6F4E-867A-6C9DDF392ED2}"/>
              </a:ext>
            </a:extLst>
          </p:cNvPr>
          <p:cNvPicPr>
            <a:picLocks noChangeAspect="1"/>
          </p:cNvPicPr>
          <p:nvPr userDrawn="1"/>
        </p:nvPicPr>
        <p:blipFill>
          <a:blip r:embed="rId2"/>
          <a:srcRect/>
          <a:stretch/>
        </p:blipFill>
        <p:spPr>
          <a:xfrm>
            <a:off x="0" y="14088"/>
            <a:ext cx="12192000" cy="6843912"/>
          </a:xfrm>
          <a:prstGeom prst="rect">
            <a:avLst/>
          </a:prstGeom>
        </p:spPr>
      </p:pic>
      <p:sp>
        <p:nvSpPr>
          <p:cNvPr id="3" name="Title 1">
            <a:extLst>
              <a:ext uri="{FF2B5EF4-FFF2-40B4-BE49-F238E27FC236}">
                <a16:creationId xmlns:a16="http://schemas.microsoft.com/office/drawing/2014/main" id="{D55661EB-4104-4747-B2EB-2D0E05A2DD4D}"/>
              </a:ext>
            </a:extLst>
          </p:cNvPr>
          <p:cNvSpPr>
            <a:spLocks noGrp="1"/>
          </p:cNvSpPr>
          <p:nvPr>
            <p:ph type="title"/>
          </p:nvPr>
        </p:nvSpPr>
        <p:spPr>
          <a:xfrm>
            <a:off x="627025" y="560117"/>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a:t>
            </a:r>
            <a:endParaRPr lang="en-US" dirty="0"/>
          </a:p>
        </p:txBody>
      </p:sp>
      <p:sp>
        <p:nvSpPr>
          <p:cNvPr id="8" name="Text Placeholder 11">
            <a:extLst>
              <a:ext uri="{FF2B5EF4-FFF2-40B4-BE49-F238E27FC236}">
                <a16:creationId xmlns:a16="http://schemas.microsoft.com/office/drawing/2014/main" id="{4CCEDE6E-3C12-1C43-A880-0B6F1300F28C}"/>
              </a:ext>
            </a:extLst>
          </p:cNvPr>
          <p:cNvSpPr>
            <a:spLocks noGrp="1"/>
          </p:cNvSpPr>
          <p:nvPr>
            <p:ph type="body" sz="quarter" idx="11"/>
          </p:nvPr>
        </p:nvSpPr>
        <p:spPr>
          <a:xfrm>
            <a:off x="968440"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3" name="Text Placeholder 12">
            <a:extLst>
              <a:ext uri="{FF2B5EF4-FFF2-40B4-BE49-F238E27FC236}">
                <a16:creationId xmlns:a16="http://schemas.microsoft.com/office/drawing/2014/main" id="{CE6029B3-1496-8845-A0B4-692DF4171963}"/>
              </a:ext>
            </a:extLst>
          </p:cNvPr>
          <p:cNvSpPr>
            <a:spLocks noGrp="1"/>
          </p:cNvSpPr>
          <p:nvPr>
            <p:ph type="body" sz="quarter" idx="15"/>
          </p:nvPr>
        </p:nvSpPr>
        <p:spPr>
          <a:xfrm>
            <a:off x="1573212" y="1198563"/>
            <a:ext cx="3968051" cy="620712"/>
          </a:xfrm>
          <a:prstGeom prst="rect">
            <a:avLst/>
          </a:prstGeom>
        </p:spPr>
        <p:txBody>
          <a:bodyPr/>
          <a:lstStyle>
            <a:lvl1pPr marL="0" indent="0">
              <a:buNone/>
              <a:defRPr sz="2200" b="0" i="0">
                <a:solidFill>
                  <a:srgbClr val="FFBF22"/>
                </a:solidFill>
                <a:latin typeface="Helvetica Neue LT Std 65 Medium" panose="020B0604020202020204" pitchFamily="34" charset="0"/>
              </a:defRPr>
            </a:lvl1pPr>
            <a:lvl2pPr marL="457189" indent="0">
              <a:buNone/>
              <a:defRPr b="0" i="0">
                <a:solidFill>
                  <a:srgbClr val="E8BC28"/>
                </a:solidFill>
                <a:latin typeface="Helvetica Neue LT Std 65 Medium" panose="020B0604020202020204" pitchFamily="34" charset="0"/>
              </a:defRPr>
            </a:lvl2pPr>
            <a:lvl3pPr marL="914377" indent="0">
              <a:buNone/>
              <a:defRPr b="0" i="0">
                <a:solidFill>
                  <a:srgbClr val="E8BC28"/>
                </a:solidFill>
                <a:latin typeface="Helvetica Neue LT Std 65 Medium" panose="020B0604020202020204" pitchFamily="34" charset="0"/>
              </a:defRPr>
            </a:lvl3pPr>
            <a:lvl4pPr marL="1371566" indent="0">
              <a:buNone/>
              <a:defRPr b="0" i="0">
                <a:solidFill>
                  <a:srgbClr val="E8BC28"/>
                </a:solidFill>
                <a:latin typeface="Helvetica Neue LT Std 65 Medium" panose="020B0604020202020204" pitchFamily="34" charset="0"/>
              </a:defRPr>
            </a:lvl4pPr>
            <a:lvl5pPr marL="1828755" indent="0">
              <a:buNone/>
              <a:defRPr b="0" i="0">
                <a:solidFill>
                  <a:srgbClr val="E8BC28"/>
                </a:solidFill>
                <a:latin typeface="Helvetica Neue LT Std 65 Medium" panose="020B0604020202020204" pitchFamily="34" charset="0"/>
              </a:defRPr>
            </a:lvl5pPr>
          </a:lstStyle>
          <a:p>
            <a:pPr lvl="0"/>
            <a:r>
              <a:rPr lang="en-GB" dirty="0"/>
              <a:t>Click to edit Master</a:t>
            </a:r>
            <a:endParaRPr lang="en-US" dirty="0"/>
          </a:p>
        </p:txBody>
      </p:sp>
      <p:pic>
        <p:nvPicPr>
          <p:cNvPr id="12" name="Picture 11">
            <a:extLst>
              <a:ext uri="{FF2B5EF4-FFF2-40B4-BE49-F238E27FC236}">
                <a16:creationId xmlns:a16="http://schemas.microsoft.com/office/drawing/2014/main" id="{F7F9FA82-BB7B-3442-B78C-206C929B4ECB}"/>
              </a:ext>
            </a:extLst>
          </p:cNvPr>
          <p:cNvPicPr>
            <a:picLocks noChangeAspect="1"/>
          </p:cNvPicPr>
          <p:nvPr userDrawn="1"/>
        </p:nvPicPr>
        <p:blipFill>
          <a:blip r:embed="rId3"/>
          <a:stretch>
            <a:fillRect/>
          </a:stretch>
        </p:blipFill>
        <p:spPr>
          <a:xfrm>
            <a:off x="0" y="5816600"/>
            <a:ext cx="12192000" cy="1041400"/>
          </a:xfrm>
          <a:prstGeom prst="rect">
            <a:avLst/>
          </a:prstGeom>
        </p:spPr>
      </p:pic>
      <p:sp>
        <p:nvSpPr>
          <p:cNvPr id="14" name="Text Placeholder 11">
            <a:extLst>
              <a:ext uri="{FF2B5EF4-FFF2-40B4-BE49-F238E27FC236}">
                <a16:creationId xmlns:a16="http://schemas.microsoft.com/office/drawing/2014/main" id="{89013AE0-A7CE-7547-8EEA-81CCF43E43E2}"/>
              </a:ext>
            </a:extLst>
          </p:cNvPr>
          <p:cNvSpPr>
            <a:spLocks noGrp="1"/>
          </p:cNvSpPr>
          <p:nvPr>
            <p:ph type="body" sz="quarter" idx="16"/>
          </p:nvPr>
        </p:nvSpPr>
        <p:spPr>
          <a:xfrm>
            <a:off x="6427195"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5" name="Text Placeholder 11">
            <a:extLst>
              <a:ext uri="{FF2B5EF4-FFF2-40B4-BE49-F238E27FC236}">
                <a16:creationId xmlns:a16="http://schemas.microsoft.com/office/drawing/2014/main" id="{9CD27893-F0D0-1A45-9332-495EA803DFB0}"/>
              </a:ext>
            </a:extLst>
          </p:cNvPr>
          <p:cNvSpPr>
            <a:spLocks noGrp="1"/>
          </p:cNvSpPr>
          <p:nvPr>
            <p:ph type="body" sz="quarter" idx="17"/>
          </p:nvPr>
        </p:nvSpPr>
        <p:spPr>
          <a:xfrm>
            <a:off x="3732860" y="4873750"/>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6" name="Text Placeholder 11">
            <a:extLst>
              <a:ext uri="{FF2B5EF4-FFF2-40B4-BE49-F238E27FC236}">
                <a16:creationId xmlns:a16="http://schemas.microsoft.com/office/drawing/2014/main" id="{993E37F8-8A43-B148-B157-E7E2E1E6C38C}"/>
              </a:ext>
            </a:extLst>
          </p:cNvPr>
          <p:cNvSpPr>
            <a:spLocks noGrp="1"/>
          </p:cNvSpPr>
          <p:nvPr>
            <p:ph type="body" sz="quarter" idx="18"/>
          </p:nvPr>
        </p:nvSpPr>
        <p:spPr>
          <a:xfrm>
            <a:off x="9173817" y="4873751"/>
            <a:ext cx="2180184" cy="966931"/>
          </a:xfrm>
          <a:prstGeom prst="rect">
            <a:avLst/>
          </a:prstGeom>
          <a:ln>
            <a:noFill/>
          </a:ln>
        </p:spPr>
        <p:txBody>
          <a:bodyPr/>
          <a:lstStyle>
            <a:lvl1pPr marL="0" indent="0" algn="ctr">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Tree>
    <p:extLst>
      <p:ext uri="{BB962C8B-B14F-4D97-AF65-F5344CB8AC3E}">
        <p14:creationId xmlns:p14="http://schemas.microsoft.com/office/powerpoint/2010/main" val="1196999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130E4D-EEED-47EB-9BCC-ACB80BD7F83E}"/>
              </a:ext>
            </a:extLst>
          </p:cNvPr>
          <p:cNvSpPr>
            <a:spLocks noGrp="1"/>
          </p:cNvSpPr>
          <p:nvPr>
            <p:ph type="dt" sz="half" idx="10"/>
          </p:nvPr>
        </p:nvSpPr>
        <p:spPr/>
        <p:txBody>
          <a:bodyPr/>
          <a:lstStyle/>
          <a:p>
            <a:fld id="{80A94307-166C-4190-A9DF-29A97100CD91}" type="datetimeFigureOut">
              <a:rPr lang="en-US" smtClean="0"/>
              <a:t>10/29/2020</a:t>
            </a:fld>
            <a:endParaRPr lang="en-US" dirty="0"/>
          </a:p>
        </p:txBody>
      </p:sp>
      <p:sp>
        <p:nvSpPr>
          <p:cNvPr id="3" name="Footer Placeholder 2">
            <a:extLst>
              <a:ext uri="{FF2B5EF4-FFF2-40B4-BE49-F238E27FC236}">
                <a16:creationId xmlns:a16="http://schemas.microsoft.com/office/drawing/2014/main" id="{36A6D641-D9A2-453C-83AE-DAD37E5ACCE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3915D567-5496-4FB4-86C6-A6DAB0223F7F}"/>
              </a:ext>
            </a:extLst>
          </p:cNvPr>
          <p:cNvSpPr>
            <a:spLocks noGrp="1"/>
          </p:cNvSpPr>
          <p:nvPr>
            <p:ph type="sldNum" sz="quarter" idx="12"/>
          </p:nvPr>
        </p:nvSpPr>
        <p:spPr/>
        <p:txBody>
          <a:bodyPr/>
          <a:lstStyle/>
          <a:p>
            <a:fld id="{62A4424E-DBE2-4EE5-87B2-9249D29E4340}" type="slidenum">
              <a:rPr lang="en-US" smtClean="0"/>
              <a:t>‹#›</a:t>
            </a:fld>
            <a:endParaRPr lang="en-US" dirty="0"/>
          </a:p>
        </p:txBody>
      </p:sp>
    </p:spTree>
    <p:extLst>
      <p:ext uri="{BB962C8B-B14F-4D97-AF65-F5344CB8AC3E}">
        <p14:creationId xmlns:p14="http://schemas.microsoft.com/office/powerpoint/2010/main" val="2760511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11FBAF8-F67E-8C4F-93C7-5212A8CCAF34}"/>
              </a:ext>
            </a:extLst>
          </p:cNvPr>
          <p:cNvSpPr/>
          <p:nvPr/>
        </p:nvSpPr>
        <p:spPr>
          <a:xfrm>
            <a:off x="1593130" y="1777993"/>
            <a:ext cx="7286919" cy="3331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AF27D59-4236-2040-B62F-72DA9623B435}"/>
              </a:ext>
            </a:extLst>
          </p:cNvPr>
          <p:cNvSpPr txBox="1">
            <a:spLocks/>
          </p:cNvSpPr>
          <p:nvPr/>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dirty="0"/>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1697037" y="3289300"/>
            <a:ext cx="7079317" cy="1677988"/>
          </a:xfrm>
          <a:prstGeom prst="rect">
            <a:avLst/>
          </a:prstGeom>
        </p:spPr>
        <p:txBody>
          <a:bodyPr/>
          <a:lstStyle>
            <a:lvl1pPr marL="0" indent="0">
              <a:buNone/>
              <a:defRPr sz="1600" b="0" i="0">
                <a:solidFill>
                  <a:srgbClr val="FFBF22"/>
                </a:solidFill>
                <a:latin typeface="Helvetica Neue LT Std 45 Light" panose="020B0403020202020204" pitchFamily="34" charset="0"/>
              </a:defRPr>
            </a:lvl1pPr>
            <a:lvl2pPr marL="457189" indent="0">
              <a:buNone/>
              <a:defRPr sz="1800" b="0" i="0">
                <a:solidFill>
                  <a:srgbClr val="E8BC28"/>
                </a:solidFill>
                <a:latin typeface="Helvetica Neue LT Std 45 Light" panose="020B0403020202020204" pitchFamily="34" charset="0"/>
              </a:defRPr>
            </a:lvl2pPr>
            <a:lvl3pPr marL="914377" indent="0">
              <a:buNone/>
              <a:defRPr sz="1600" b="0" i="0">
                <a:solidFill>
                  <a:srgbClr val="E8BC28"/>
                </a:solidFill>
                <a:latin typeface="Helvetica Neue LT Std 45 Light" panose="020B0403020202020204" pitchFamily="34" charset="0"/>
              </a:defRPr>
            </a:lvl3pPr>
            <a:lvl4pPr marL="1371566" indent="0">
              <a:buNone/>
              <a:defRPr sz="1400" b="0" i="0">
                <a:solidFill>
                  <a:srgbClr val="E8BC28"/>
                </a:solidFill>
                <a:latin typeface="Helvetica Neue LT Std 45 Light" panose="020B0403020202020204" pitchFamily="34" charset="0"/>
              </a:defRPr>
            </a:lvl4pPr>
            <a:lvl5pPr marL="1828755" indent="0">
              <a:buNone/>
              <a:defRPr sz="1400" b="0" i="0">
                <a:solidFill>
                  <a:srgbClr val="E8BC28"/>
                </a:solidFill>
                <a:latin typeface="Helvetica Neue LT Std 45 Light" panose="020B0403020202020204" pitchFamily="34" charset="0"/>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1697037" y="1885223"/>
            <a:ext cx="7079318" cy="1227137"/>
          </a:xfrm>
          <a:prstGeom prst="rect">
            <a:avLst/>
          </a:prstGeom>
        </p:spPr>
        <p:txBody>
          <a:bodyPr/>
          <a:lstStyle>
            <a:lvl1pPr marL="0" indent="0">
              <a:buNone/>
              <a:defRPr sz="4800" b="0" i="0">
                <a:solidFill>
                  <a:srgbClr val="FFBF22"/>
                </a:solidFill>
                <a:latin typeface="Helvetica Neue LT Std 65 Medium" panose="020B0604020202020204" pitchFamily="34" charset="0"/>
              </a:defRPr>
            </a:lvl1pPr>
          </a:lstStyle>
          <a:p>
            <a:pPr lvl="0"/>
            <a:r>
              <a:rPr lang="en-GB" dirty="0"/>
              <a:t>Click to edit Master text styles</a:t>
            </a:r>
          </a:p>
        </p:txBody>
      </p:sp>
      <p:grpSp>
        <p:nvGrpSpPr>
          <p:cNvPr id="2" name="Group 1">
            <a:extLst>
              <a:ext uri="{FF2B5EF4-FFF2-40B4-BE49-F238E27FC236}">
                <a16:creationId xmlns:a16="http://schemas.microsoft.com/office/drawing/2014/main" id="{131008A5-1E2A-D74A-A5EA-31B620D704E1}"/>
              </a:ext>
            </a:extLst>
          </p:cNvPr>
          <p:cNvGrpSpPr/>
          <p:nvPr userDrawn="1"/>
        </p:nvGrpSpPr>
        <p:grpSpPr>
          <a:xfrm>
            <a:off x="0" y="0"/>
            <a:ext cx="12192000" cy="6858000"/>
            <a:chOff x="0" y="0"/>
            <a:chExt cx="12192000" cy="6858000"/>
          </a:xfrm>
        </p:grpSpPr>
        <p:pic>
          <p:nvPicPr>
            <p:cNvPr id="7" name="Picture 6" descr="A close up of a cable&#10;&#10;Description automatically generated">
              <a:extLst>
                <a:ext uri="{FF2B5EF4-FFF2-40B4-BE49-F238E27FC236}">
                  <a16:creationId xmlns:a16="http://schemas.microsoft.com/office/drawing/2014/main" id="{5404E37C-C7FD-044A-9344-97CB07453AF2}"/>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Effect>
                        <a14:brightnessContrast contrast="20000"/>
                      </a14:imgEffect>
                    </a14:imgLayer>
                  </a14:imgProps>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FDCDE178-F199-F04B-AF12-FB14043FCC5F}"/>
                </a:ext>
              </a:extLst>
            </p:cNvPr>
            <p:cNvPicPr>
              <a:picLocks noChangeAspect="1"/>
            </p:cNvPicPr>
            <p:nvPr userDrawn="1"/>
          </p:nvPicPr>
          <p:blipFill>
            <a:blip r:embed="rId4"/>
            <a:stretch>
              <a:fillRect/>
            </a:stretch>
          </p:blipFill>
          <p:spPr>
            <a:xfrm>
              <a:off x="0" y="5816600"/>
              <a:ext cx="12192000" cy="1041400"/>
            </a:xfrm>
            <a:prstGeom prst="rect">
              <a:avLst/>
            </a:prstGeom>
          </p:spPr>
        </p:pic>
      </p:grpSp>
    </p:spTree>
    <p:extLst>
      <p:ext uri="{BB962C8B-B14F-4D97-AF65-F5344CB8AC3E}">
        <p14:creationId xmlns:p14="http://schemas.microsoft.com/office/powerpoint/2010/main" val="4683380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spid="_x0000_s2050" name="think-cell Slide" r:id="rId4" imgW="592" imgH="595" progId="TCLayout.ActiveDocument.1">
                  <p:embed/>
                </p:oleObj>
              </mc:Choice>
              <mc:Fallback>
                <p:oleObj name="think-cell Slide" r:id="rId4" imgW="592" imgH="595" progId="TCLayout.ActiveDocument.1">
                  <p:embed/>
                  <p:pic>
                    <p:nvPicPr>
                      <p:cNvPr id="12" name="Object 11" hidden="1"/>
                      <p:cNvPicPr/>
                      <p:nvPr/>
                    </p:nvPicPr>
                    <p:blipFill>
                      <a:blip r:embed="rId5"/>
                      <a:stretch>
                        <a:fillRect/>
                      </a:stretch>
                    </p:blipFill>
                    <p:spPr>
                      <a:xfrm>
                        <a:off x="1813" y="1441"/>
                        <a:ext cx="1809" cy="1440"/>
                      </a:xfrm>
                      <a:prstGeom prst="rect">
                        <a:avLst/>
                      </a:prstGeom>
                    </p:spPr>
                  </p:pic>
                </p:oleObj>
              </mc:Fallback>
            </mc:AlternateContent>
          </a:graphicData>
        </a:graphic>
      </p:graphicFrame>
      <p:sp>
        <p:nvSpPr>
          <p:cNvPr id="2" name="Title 1"/>
          <p:cNvSpPr>
            <a:spLocks noGrp="1"/>
          </p:cNvSpPr>
          <p:nvPr>
            <p:ph type="ctrTitle"/>
          </p:nvPr>
        </p:nvSpPr>
        <p:spPr>
          <a:xfrm>
            <a:off x="577850" y="672000"/>
            <a:ext cx="11038148" cy="2640000"/>
          </a:xfrm>
        </p:spPr>
        <p:txBody>
          <a:bodyPr anchor="t"/>
          <a:lstStyle>
            <a:lvl1pPr algn="l" eaLnBrk="1">
              <a:lnSpc>
                <a:spcPct val="95000"/>
              </a:lnSpc>
              <a:defRPr sz="8533">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3" name="Subtitle 2"/>
          <p:cNvSpPr>
            <a:spLocks noGrp="1"/>
          </p:cNvSpPr>
          <p:nvPr>
            <p:ph type="subTitle" idx="1"/>
          </p:nvPr>
        </p:nvSpPr>
        <p:spPr>
          <a:xfrm>
            <a:off x="575999" y="3377572"/>
            <a:ext cx="11040000" cy="720000"/>
          </a:xfrm>
        </p:spPr>
        <p:txBody>
          <a:bodyPr/>
          <a:lstStyle>
            <a:lvl1pPr marL="0" indent="0" algn="l" eaLnBrk="1">
              <a:lnSpc>
                <a:spcPct val="95000"/>
              </a:lnSpc>
              <a:spcBef>
                <a:spcPts val="0"/>
              </a:spcBef>
              <a:buFont typeface="Arial" panose="020B0604020202020204" pitchFamily="34" charset="0"/>
              <a:buChar char="​"/>
              <a:defRPr sz="2800" b="0" baseline="0">
                <a:solidFill>
                  <a:srgbClr val="8ECDC8"/>
                </a:solidFill>
                <a:latin typeface="Arial" panose="020B0604020202020204" pitchFamily="34" charset="0"/>
                <a:cs typeface="Arial" panose="020B0604020202020204" pitchFamily="34" charset="0"/>
                <a:sym typeface="Arial" panose="020B0604020202020204" pitchFamily="34"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a:t>Click to edit Master subtitle style</a:t>
            </a:r>
            <a:endParaRPr lang="en-GB" dirty="0"/>
          </a:p>
        </p:txBody>
      </p:sp>
      <p:sp>
        <p:nvSpPr>
          <p:cNvPr id="4" name="Date_DateCustomA"/>
          <p:cNvSpPr>
            <a:spLocks noGrp="1"/>
          </p:cNvSpPr>
          <p:nvPr>
            <p:ph type="dt" sz="half" idx="10"/>
          </p:nvPr>
        </p:nvSpPr>
        <p:spPr>
          <a:xfrm>
            <a:off x="7506076" y="6117126"/>
            <a:ext cx="4105123" cy="261268"/>
          </a:xfrm>
          <a:prstGeom prst="rect">
            <a:avLst/>
          </a:prstGeom>
        </p:spPr>
        <p:txBody>
          <a:bodyPr lIns="0" tIns="0" rIns="0" bIns="0" anchor="t" anchorCtr="0"/>
          <a:lstStyle>
            <a:lvl1pPr algn="r" eaLnBrk="1">
              <a:lnSpc>
                <a:spcPct val="95000"/>
              </a:lnSpc>
              <a:defRPr sz="200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6" name="Slide Number Placeholder 5" hidden="1"/>
          <p:cNvSpPr>
            <a:spLocks noGrp="1"/>
          </p:cNvSpPr>
          <p:nvPr>
            <p:ph type="sldNum" sz="quarter" idx="12"/>
          </p:nvPr>
        </p:nvSpPr>
        <p:spPr>
          <a:xfrm>
            <a:off x="0" y="6912000"/>
            <a:ext cx="0" cy="0"/>
          </a:xfrm>
        </p:spPr>
        <p:txBody>
          <a:bodyPr/>
          <a:lstStyle>
            <a:lvl1pPr>
              <a:defRPr>
                <a:noFill/>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8" name="Text Placeholder 17"/>
          <p:cNvSpPr>
            <a:spLocks noGrp="1"/>
          </p:cNvSpPr>
          <p:nvPr>
            <p:ph type="body" sz="quarter" idx="16" hasCustomPrompt="1"/>
          </p:nvPr>
        </p:nvSpPr>
        <p:spPr>
          <a:xfrm>
            <a:off x="7506076" y="5549281"/>
            <a:ext cx="4105123" cy="547508"/>
          </a:xfrm>
        </p:spPr>
        <p:txBody>
          <a:bodyPr anchor="b" anchorCtr="0"/>
          <a:lstStyle>
            <a:lvl1pPr algn="r">
              <a:lnSpc>
                <a:spcPct val="95000"/>
              </a:lnSpc>
              <a:spcBef>
                <a:spcPts val="0"/>
              </a:spcBef>
              <a:defRPr sz="2000" b="1" baseline="0">
                <a:solidFill>
                  <a:schemeClr val="accent1"/>
                </a:solidFill>
                <a:latin typeface="Arial" panose="020B0604020202020204" pitchFamily="34" charset="0"/>
                <a:cs typeface="Arial" panose="020B0604020202020204" pitchFamily="34" charset="0"/>
                <a:sym typeface="Arial" panose="020B0604020202020204" pitchFamily="34"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26" indent="-259226" algn="r">
              <a:spcBef>
                <a:spcPts val="0"/>
              </a:spcBef>
              <a:buFont typeface="Arial" panose="020B0604020202020204" pitchFamily="34" charset="0"/>
              <a:buChar char="​"/>
              <a:defRPr sz="1361" b="1">
                <a:solidFill>
                  <a:schemeClr val="bg1"/>
                </a:solidFill>
              </a:defRPr>
            </a:lvl6pPr>
            <a:lvl7pPr marL="259226" indent="-259226" algn="r">
              <a:spcBef>
                <a:spcPts val="0"/>
              </a:spcBef>
              <a:buFont typeface="Arial" panose="020B0604020202020204" pitchFamily="34" charset="0"/>
              <a:buChar char="​"/>
              <a:defRPr sz="1361" b="1">
                <a:solidFill>
                  <a:schemeClr val="bg1"/>
                </a:solidFill>
              </a:defRPr>
            </a:lvl7pPr>
            <a:lvl8pPr marL="259226" indent="-259226" algn="r">
              <a:spcBef>
                <a:spcPts val="0"/>
              </a:spcBef>
              <a:buFont typeface="Arial" panose="020B0604020202020204" pitchFamily="34" charset="0"/>
              <a:buChar char="​"/>
              <a:defRPr sz="1361" b="1">
                <a:solidFill>
                  <a:schemeClr val="bg1"/>
                </a:solidFill>
              </a:defRPr>
            </a:lvl8pPr>
            <a:lvl9pPr marL="259226" indent="-25922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pic>
        <p:nvPicPr>
          <p:cNvPr id="10" name="Picture 9">
            <a:extLst>
              <a:ext uri="{FF2B5EF4-FFF2-40B4-BE49-F238E27FC236}">
                <a16:creationId xmlns:a16="http://schemas.microsoft.com/office/drawing/2014/main" id="{47F7F038-7832-44C4-B0E6-304EE856BCE2}"/>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75999" y="5759193"/>
            <a:ext cx="2262541" cy="619200"/>
          </a:xfrm>
          <a:prstGeom prst="rect">
            <a:avLst/>
          </a:prstGeom>
        </p:spPr>
      </p:pic>
    </p:spTree>
    <p:extLst>
      <p:ext uri="{BB962C8B-B14F-4D97-AF65-F5344CB8AC3E}">
        <p14:creationId xmlns:p14="http://schemas.microsoft.com/office/powerpoint/2010/main" val="757342982"/>
      </p:ext>
    </p:extLst>
  </p:cSld>
  <p:clrMapOvr>
    <a:masterClrMapping/>
  </p:clrMapOvr>
  <p:extLst>
    <p:ext uri="{DCECCB84-F9BA-43D5-87BE-67443E8EF086}">
      <p15:sldGuideLst xmlns:p15="http://schemas.microsoft.com/office/powerpoint/2012/main">
        <p15:guide id="6" pos="271">
          <p15:clr>
            <a:srgbClr val="FBAE40"/>
          </p15:clr>
        </p15:guide>
        <p15:guide id="7" pos="5488">
          <p15:clr>
            <a:srgbClr val="FBAE40"/>
          </p15:clr>
        </p15:guide>
        <p15:guide id="8" orient="horz" pos="317">
          <p15:clr>
            <a:srgbClr val="FBAE40"/>
          </p15:clr>
        </p15:guide>
        <p15:guide id="9" orient="horz" pos="1594">
          <p15:clr>
            <a:srgbClr val="FBAE40"/>
          </p15:clr>
        </p15:guide>
        <p15:guide id="10" orient="horz" pos="1567">
          <p15:clr>
            <a:srgbClr val="FBAE40"/>
          </p15:clr>
        </p15:guide>
        <p15:guide id="11" orient="horz" pos="193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A6BD60-3B12-41E3-A8F6-42FFDE972E63}"/>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4"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C3A6BD60-3B12-41E3-A8F6-42FFDE972E63}"/>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546819-4A05-4387-BAA1-94FF54672D6D}"/>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Grå baggrund"/>
          <p:cNvSpPr/>
          <p:nvPr userDrawn="1"/>
        </p:nvSpPr>
        <p:spPr>
          <a:xfrm>
            <a:off x="1" y="1110392"/>
            <a:ext cx="12192000"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a:xfrm>
            <a:off x="577851" y="1371008"/>
            <a:ext cx="11038416" cy="4560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14"/>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8" name="Date Placeholder 7">
            <a:extLst>
              <a:ext uri="{FF2B5EF4-FFF2-40B4-BE49-F238E27FC236}">
                <a16:creationId xmlns:a16="http://schemas.microsoft.com/office/drawing/2014/main" id="{6D87ED0A-A3D8-4F4A-A196-7595A36A4E0F}"/>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Footer Placeholder 8">
            <a:extLst>
              <a:ext uri="{FF2B5EF4-FFF2-40B4-BE49-F238E27FC236}">
                <a16:creationId xmlns:a16="http://schemas.microsoft.com/office/drawing/2014/main" id="{0875E95C-C4E6-4CD0-A7E2-46D6189AEBAB}"/>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Slide Number Placeholder 10">
            <a:extLst>
              <a:ext uri="{FF2B5EF4-FFF2-40B4-BE49-F238E27FC236}">
                <a16:creationId xmlns:a16="http://schemas.microsoft.com/office/drawing/2014/main" id="{451F2DE0-1373-44A0-9FD9-F5984DD85E87}"/>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3" name="Title 12">
            <a:extLst>
              <a:ext uri="{FF2B5EF4-FFF2-40B4-BE49-F238E27FC236}">
                <a16:creationId xmlns:a16="http://schemas.microsoft.com/office/drawing/2014/main" id="{8D7B5B42-7771-478B-B707-451694DA946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2839191814"/>
      </p:ext>
    </p:extLst>
  </p:cSld>
  <p:clrMapOvr>
    <a:masterClrMapping/>
  </p:clrMapOvr>
  <p:extLst>
    <p:ext uri="{DCECCB84-F9BA-43D5-87BE-67443E8EF086}">
      <p15:sldGuideLst xmlns:p15="http://schemas.microsoft.com/office/powerpoint/2012/main">
        <p15:guide id="1" orient="horz" pos="647">
          <p15:clr>
            <a:srgbClr val="FBAE40"/>
          </p15:clr>
        </p15:guide>
        <p15:guide id="2" pos="2880">
          <p15:clr>
            <a:srgbClr val="FBAE40"/>
          </p15:clr>
        </p15:guide>
        <p15:guide id="3" orient="horz" pos="522">
          <p15:clr>
            <a:srgbClr val="FBAE40"/>
          </p15:clr>
        </p15:guide>
        <p15:guide id="4" orient="horz" pos="158">
          <p15:clr>
            <a:srgbClr val="FBAE40"/>
          </p15:clr>
        </p15:guide>
        <p15:guide id="5" orient="horz" pos="2803">
          <p15:clr>
            <a:srgbClr val="FBAE40"/>
          </p15:clr>
        </p15:guide>
        <p15:guide id="6" pos="272">
          <p15:clr>
            <a:srgbClr val="FBAE40"/>
          </p15:clr>
        </p15:guide>
        <p15:guide id="7" pos="54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A6BD60-3B12-41E3-A8F6-42FFDE972E63}"/>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098"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C3A6BD60-3B12-41E3-A8F6-42FFDE972E63}"/>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546819-4A05-4387-BAA1-94FF54672D6D}"/>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a:xfrm>
            <a:off x="577851" y="1371008"/>
            <a:ext cx="11038416" cy="4560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14"/>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8" name="Date Placeholder 7">
            <a:extLst>
              <a:ext uri="{FF2B5EF4-FFF2-40B4-BE49-F238E27FC236}">
                <a16:creationId xmlns:a16="http://schemas.microsoft.com/office/drawing/2014/main" id="{6D87ED0A-A3D8-4F4A-A196-7595A36A4E0F}"/>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Footer Placeholder 8">
            <a:extLst>
              <a:ext uri="{FF2B5EF4-FFF2-40B4-BE49-F238E27FC236}">
                <a16:creationId xmlns:a16="http://schemas.microsoft.com/office/drawing/2014/main" id="{0875E95C-C4E6-4CD0-A7E2-46D6189AEBAB}"/>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Slide Number Placeholder 10">
            <a:extLst>
              <a:ext uri="{FF2B5EF4-FFF2-40B4-BE49-F238E27FC236}">
                <a16:creationId xmlns:a16="http://schemas.microsoft.com/office/drawing/2014/main" id="{451F2DE0-1373-44A0-9FD9-F5984DD85E87}"/>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3" name="Title 12">
            <a:extLst>
              <a:ext uri="{FF2B5EF4-FFF2-40B4-BE49-F238E27FC236}">
                <a16:creationId xmlns:a16="http://schemas.microsoft.com/office/drawing/2014/main" id="{8D7B5B42-7771-478B-B707-451694DA946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941684802"/>
      </p:ext>
    </p:extLst>
  </p:cSld>
  <p:clrMapOvr>
    <a:masterClrMapping/>
  </p:clrMapOvr>
  <p:extLst>
    <p:ext uri="{DCECCB84-F9BA-43D5-87BE-67443E8EF086}">
      <p15:sldGuideLst xmlns:p15="http://schemas.microsoft.com/office/powerpoint/2012/main">
        <p15:guide id="1" orient="horz" pos="647">
          <p15:clr>
            <a:srgbClr val="FBAE40"/>
          </p15:clr>
        </p15:guide>
        <p15:guide id="2" pos="2880">
          <p15:clr>
            <a:srgbClr val="FBAE40"/>
          </p15:clr>
        </p15:guide>
        <p15:guide id="3" orient="horz" pos="522">
          <p15:clr>
            <a:srgbClr val="FBAE40"/>
          </p15:clr>
        </p15:guide>
        <p15:guide id="4" orient="horz" pos="158">
          <p15:clr>
            <a:srgbClr val="FBAE40"/>
          </p15:clr>
        </p15:guide>
        <p15:guide id="5" orient="horz" pos="2803">
          <p15:clr>
            <a:srgbClr val="FBAE40"/>
          </p15:clr>
        </p15:guide>
        <p15:guide id="6" pos="272">
          <p15:clr>
            <a:srgbClr val="FBAE40"/>
          </p15:clr>
        </p15:guide>
        <p15:guide id="7" pos="54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03534F-97C6-4428-9220-5F8A71DCBE21}"/>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2103534F-97C6-4428-9220-5F8A71DCBE21}"/>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DD3C24-6568-43F3-B4B3-B244D34B6DFC}"/>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2"/>
          <p:cNvSpPr>
            <a:spLocks noGrp="1"/>
          </p:cNvSpPr>
          <p:nvPr>
            <p:ph idx="29" hasCustomPrompt="1"/>
          </p:nvPr>
        </p:nvSpPr>
        <p:spPr>
          <a:xfrm>
            <a:off x="6429581"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9F714630-8AA7-4D22-97B5-AFB4270C37B7}"/>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80C3D4E1-B541-409C-BF48-DBCCB98DC3DA}"/>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7BDD9F34-6784-45C2-81E2-98EE4E74DD2A}"/>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0BF032FD-2BC7-48E4-8FA2-9CF16107E191}"/>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6" name="Title 15">
            <a:extLst>
              <a:ext uri="{FF2B5EF4-FFF2-40B4-BE49-F238E27FC236}">
                <a16:creationId xmlns:a16="http://schemas.microsoft.com/office/drawing/2014/main" id="{3AF2ECDF-1B89-4873-8C29-702E24E546FE}"/>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14513852"/>
      </p:ext>
    </p:extLst>
  </p:cSld>
  <p:clrMapOvr>
    <a:masterClrMapping/>
  </p:clrMapOvr>
  <p:extLst>
    <p:ext uri="{DCECCB84-F9BA-43D5-87BE-67443E8EF086}">
      <p15:sldGuideLst xmlns:p15="http://schemas.microsoft.com/office/powerpoint/2012/main">
        <p15:guide id="1" orient="horz" pos="153">
          <p15:clr>
            <a:srgbClr val="FBAE40"/>
          </p15:clr>
        </p15:guide>
        <p15:guide id="2" pos="272">
          <p15:clr>
            <a:srgbClr val="FBAE40"/>
          </p15:clr>
        </p15:guide>
        <p15:guide id="3" pos="5488">
          <p15:clr>
            <a:srgbClr val="FBAE40"/>
          </p15:clr>
        </p15:guide>
        <p15:guide id="4" orient="horz" pos="519">
          <p15:clr>
            <a:srgbClr val="FBAE40"/>
          </p15:clr>
        </p15:guide>
        <p15:guide id="5" orient="horz" pos="647">
          <p15:clr>
            <a:srgbClr val="FBAE40"/>
          </p15:clr>
        </p15:guide>
        <p15:guide id="6" orient="horz" pos="2747">
          <p15:clr>
            <a:srgbClr val="FBAE40"/>
          </p15:clr>
        </p15:guide>
        <p15:guide id="7" pos="2721">
          <p15:clr>
            <a:srgbClr val="FBAE40"/>
          </p15:clr>
        </p15:guide>
        <p15:guide id="8" pos="303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713022-B176-4C51-8927-634F93DA557E}"/>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E4713022-B176-4C51-8927-634F93DA557E}"/>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2BA3EA-BA52-48A5-A9E4-4B0B6BE8FBAB}"/>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rgbClr val="644C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bg1"/>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2"/>
          <p:cNvSpPr>
            <a:spLocks noGrp="1"/>
          </p:cNvSpPr>
          <p:nvPr>
            <p:ph idx="29" hasCustomPrompt="1"/>
          </p:nvPr>
        </p:nvSpPr>
        <p:spPr>
          <a:xfrm>
            <a:off x="642957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4233939306"/>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3039">
          <p15:clr>
            <a:srgbClr val="FBAE40"/>
          </p15:clr>
        </p15:guide>
        <p15:guide id="8" pos="54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ntent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713022-B176-4C51-8927-634F93DA557E}"/>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170"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E4713022-B176-4C51-8927-634F93DA557E}"/>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2BA3EA-BA52-48A5-A9E4-4B0B6BE8FBAB}"/>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bg1"/>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bg1"/>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2"/>
          <p:cNvSpPr>
            <a:spLocks noGrp="1"/>
          </p:cNvSpPr>
          <p:nvPr>
            <p:ph idx="29" hasCustomPrompt="1"/>
          </p:nvPr>
        </p:nvSpPr>
        <p:spPr>
          <a:xfrm>
            <a:off x="642957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63675639"/>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3039">
          <p15:clr>
            <a:srgbClr val="FBAE40"/>
          </p15:clr>
        </p15:guide>
        <p15:guide id="8" pos="54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icture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AB6DF2-F633-4A65-A920-342873356B74}"/>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8194"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a16="http://schemas.microsoft.com/office/drawing/2014/main" id="{BAAB6DF2-F633-4A65-A920-342873356B74}"/>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305F4C-4618-43E2-B4AC-545BA76D18CE}"/>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rgbClr val="F5F6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1067"/>
              </a:spcBef>
              <a:defRPr sz="17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113DD5A5-D967-4803-8CBA-38F4E9006EDD}"/>
              </a:ext>
            </a:extLst>
          </p:cNvPr>
          <p:cNvSpPr>
            <a:spLocks noGrp="1"/>
          </p:cNvSpPr>
          <p:nvPr>
            <p:ph type="dt" sz="half" idx="3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DBDB7F10-1CB8-47D5-93F6-C24B91BAF18D}"/>
              </a:ext>
            </a:extLst>
          </p:cNvPr>
          <p:cNvSpPr>
            <a:spLocks noGrp="1"/>
          </p:cNvSpPr>
          <p:nvPr>
            <p:ph type="ftr" sz="quarter" idx="3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84DB9A7-08F6-4B36-9159-5E51888606E0}"/>
              </a:ext>
            </a:extLst>
          </p:cNvPr>
          <p:cNvSpPr>
            <a:spLocks noGrp="1"/>
          </p:cNvSpPr>
          <p:nvPr>
            <p:ph type="sldNum" sz="quarter"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205C9A02-46F5-4F1E-BC34-1CE77859B61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3" name="Picture Placeholder 2">
            <a:extLst>
              <a:ext uri="{FF2B5EF4-FFF2-40B4-BE49-F238E27FC236}">
                <a16:creationId xmlns:a16="http://schemas.microsoft.com/office/drawing/2014/main" id="{D45C5449-5351-4BC4-A062-46B47AB9E0AC}"/>
              </a:ext>
            </a:extLst>
          </p:cNvPr>
          <p:cNvSpPr>
            <a:spLocks noGrp="1"/>
          </p:cNvSpPr>
          <p:nvPr>
            <p:ph type="pic" sz="quarter" idx="33"/>
          </p:nvPr>
        </p:nvSpPr>
        <p:spPr>
          <a:xfrm>
            <a:off x="6153150" y="1104901"/>
            <a:ext cx="6038849" cy="4976284"/>
          </a:xfrm>
        </p:spPr>
        <p:txBody>
          <a:bodyPr anchor="ctr" anchorCtr="0"/>
          <a:lstStyle>
            <a:lvl1pPr algn="ctr">
              <a:defRPr sz="1200">
                <a:latin typeface="+mn-lt"/>
              </a:defRPr>
            </a:lvl1pPr>
          </a:lstStyle>
          <a:p>
            <a:r>
              <a:rPr lang="en-GB" dirty="0"/>
              <a:t>Click icon to add picture</a:t>
            </a:r>
          </a:p>
        </p:txBody>
      </p:sp>
    </p:spTree>
    <p:extLst>
      <p:ext uri="{BB962C8B-B14F-4D97-AF65-F5344CB8AC3E}">
        <p14:creationId xmlns:p14="http://schemas.microsoft.com/office/powerpoint/2010/main" val="4136525956"/>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5" orient="horz" pos="2736">
          <p15:clr>
            <a:srgbClr val="FBAE40"/>
          </p15:clr>
        </p15:guide>
        <p15:guide id="6" pos="2721">
          <p15:clr>
            <a:srgbClr val="FBAE40"/>
          </p15:clr>
        </p15:guide>
        <p15:guide id="7" pos="2907">
          <p15:clr>
            <a:srgbClr val="FBAE40"/>
          </p15:clr>
        </p15:guide>
        <p15:guide id="8" pos="5488">
          <p15:clr>
            <a:srgbClr val="FBAE40"/>
          </p15:clr>
        </p15:guide>
        <p15:guide id="9" orient="horz" pos="287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AC8B30-2E43-45A0-9668-9127BE8E1172}"/>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218" name="think-cell Slide" r:id="rId4" imgW="338" imgH="338" progId="TCLayout.ActiveDocument.1">
                  <p:embed/>
                </p:oleObj>
              </mc:Choice>
              <mc:Fallback>
                <p:oleObj name="think-cell Slide" r:id="rId4" imgW="338" imgH="338" progId="TCLayout.ActiveDocument.1">
                  <p:embed/>
                  <p:pic>
                    <p:nvPicPr>
                      <p:cNvPr id="3" name="Object 2" hidden="1">
                        <a:extLst>
                          <a:ext uri="{FF2B5EF4-FFF2-40B4-BE49-F238E27FC236}">
                            <a16:creationId xmlns:a16="http://schemas.microsoft.com/office/drawing/2014/main" id="{4CAC8B30-2E43-45A0-9668-9127BE8E1172}"/>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0" name="Grå baggrund 1">
            <a:extLst>
              <a:ext uri="{FF2B5EF4-FFF2-40B4-BE49-F238E27FC236}">
                <a16:creationId xmlns:a16="http://schemas.microsoft.com/office/drawing/2014/main" id="{01B2B125-6B35-454E-8035-48AC7433FD8F}"/>
              </a:ext>
            </a:extLst>
          </p:cNvPr>
          <p:cNvSpPr/>
          <p:nvPr userDrawn="1"/>
        </p:nvSpPr>
        <p:spPr>
          <a:xfrm>
            <a:off x="1"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4" name="Grå baggrund 2">
            <a:extLst>
              <a:ext uri="{FF2B5EF4-FFF2-40B4-BE49-F238E27FC236}">
                <a16:creationId xmlns:a16="http://schemas.microsoft.com/office/drawing/2014/main" id="{39ED60BB-9E72-4727-8CDB-2A8DF2911BB2}"/>
              </a:ext>
            </a:extLst>
          </p:cNvPr>
          <p:cNvSpPr/>
          <p:nvPr userDrawn="1"/>
        </p:nvSpPr>
        <p:spPr>
          <a:xfrm>
            <a:off x="1"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eaLnBrk="1">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11" name="Content Placeholder 2">
            <a:extLst>
              <a:ext uri="{FF2B5EF4-FFF2-40B4-BE49-F238E27FC236}">
                <a16:creationId xmlns:a16="http://schemas.microsoft.com/office/drawing/2014/main" id="{F620C479-51CF-4825-94BD-069C67AE9DC8}"/>
              </a:ext>
            </a:extLst>
          </p:cNvPr>
          <p:cNvSpPr>
            <a:spLocks noGrp="1"/>
          </p:cNvSpPr>
          <p:nvPr>
            <p:ph idx="29" hasCustomPrompt="1"/>
          </p:nvPr>
        </p:nvSpPr>
        <p:spPr>
          <a:xfrm>
            <a:off x="6435067" y="1371025"/>
            <a:ext cx="5184000" cy="4442867"/>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000"/>
              </a:spcBef>
              <a:defRPr sz="1733">
                <a:solidFill>
                  <a:schemeClr val="tx2"/>
                </a:solidFill>
                <a:latin typeface="Orsted Sans Office" panose="00000500000000000000" pitchFamily="2" charset="0"/>
              </a:defRPr>
            </a:lvl2pPr>
            <a:lvl3pPr>
              <a:lnSpc>
                <a:spcPct val="95000"/>
              </a:lnSpc>
              <a:spcBef>
                <a:spcPts val="2000"/>
              </a:spcBef>
              <a:defRPr sz="1733">
                <a:solidFill>
                  <a:schemeClr val="tx2"/>
                </a:solidFill>
                <a:latin typeface="Orsted Sans Office" panose="00000500000000000000" pitchFamily="2" charset="0"/>
              </a:defRPr>
            </a:lvl3pPr>
            <a:lvl4pPr>
              <a:lnSpc>
                <a:spcPct val="95000"/>
              </a:lnSpc>
              <a:spcBef>
                <a:spcPts val="2000"/>
              </a:spcBef>
              <a:defRPr sz="1733">
                <a:solidFill>
                  <a:schemeClr val="tx2"/>
                </a:solidFill>
                <a:latin typeface="Orsted Sans Office" panose="00000500000000000000" pitchFamily="2" charset="0"/>
              </a:defRPr>
            </a:lvl4pPr>
            <a:lvl5pPr>
              <a:lnSpc>
                <a:spcPct val="95000"/>
              </a:lnSpc>
              <a:spcBef>
                <a:spcPts val="20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6" name="Content Placeholder 2">
            <a:extLst>
              <a:ext uri="{FF2B5EF4-FFF2-40B4-BE49-F238E27FC236}">
                <a16:creationId xmlns:a16="http://schemas.microsoft.com/office/drawing/2014/main" id="{F8A859BB-4097-4B5C-9389-6FAEBA760E81}"/>
              </a:ext>
            </a:extLst>
          </p:cNvPr>
          <p:cNvSpPr>
            <a:spLocks noGrp="1"/>
          </p:cNvSpPr>
          <p:nvPr>
            <p:ph idx="1" hasCustomPrompt="1"/>
          </p:nvPr>
        </p:nvSpPr>
        <p:spPr>
          <a:xfrm>
            <a:off x="573881" y="1371025"/>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7" name="Content Placeholder 2">
            <a:extLst>
              <a:ext uri="{FF2B5EF4-FFF2-40B4-BE49-F238E27FC236}">
                <a16:creationId xmlns:a16="http://schemas.microsoft.com/office/drawing/2014/main" id="{418D3D8A-091D-4BFB-A5DB-F4E694271B33}"/>
              </a:ext>
            </a:extLst>
          </p:cNvPr>
          <p:cNvSpPr>
            <a:spLocks noGrp="1"/>
          </p:cNvSpPr>
          <p:nvPr>
            <p:ph idx="31" hasCustomPrompt="1"/>
          </p:nvPr>
        </p:nvSpPr>
        <p:spPr>
          <a:xfrm>
            <a:off x="575999" y="3893569"/>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2" name="Text Placeholder 14">
            <a:extLst>
              <a:ext uri="{FF2B5EF4-FFF2-40B4-BE49-F238E27FC236}">
                <a16:creationId xmlns:a16="http://schemas.microsoft.com/office/drawing/2014/main" id="{0567A9AF-7741-4EE2-9D70-D2F0624DC480}"/>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7" name="Date Placeholder 6">
            <a:extLst>
              <a:ext uri="{FF2B5EF4-FFF2-40B4-BE49-F238E27FC236}">
                <a16:creationId xmlns:a16="http://schemas.microsoft.com/office/drawing/2014/main" id="{D39F695E-0D3E-4FDD-B9E8-D543EDF56706}"/>
              </a:ext>
            </a:extLst>
          </p:cNvPr>
          <p:cNvSpPr>
            <a:spLocks noGrp="1"/>
          </p:cNvSpPr>
          <p:nvPr>
            <p:ph type="dt" sz="half" idx="32"/>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Footer Placeholder 7">
            <a:extLst>
              <a:ext uri="{FF2B5EF4-FFF2-40B4-BE49-F238E27FC236}">
                <a16:creationId xmlns:a16="http://schemas.microsoft.com/office/drawing/2014/main" id="{412467ED-AEE3-4363-ACE4-3CEA2F8BFF1D}"/>
              </a:ext>
            </a:extLst>
          </p:cNvPr>
          <p:cNvSpPr>
            <a:spLocks noGrp="1"/>
          </p:cNvSpPr>
          <p:nvPr>
            <p:ph type="ftr" sz="quarter" idx="33"/>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Slide Number Placeholder 8">
            <a:extLst>
              <a:ext uri="{FF2B5EF4-FFF2-40B4-BE49-F238E27FC236}">
                <a16:creationId xmlns:a16="http://schemas.microsoft.com/office/drawing/2014/main" id="{8D494535-49FD-4CA1-8126-68102801E2BC}"/>
              </a:ext>
            </a:extLst>
          </p:cNvPr>
          <p:cNvSpPr>
            <a:spLocks noGrp="1"/>
          </p:cNvSpPr>
          <p:nvPr>
            <p:ph type="sldNum" sz="quarter" idx="3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677716770"/>
      </p:ext>
    </p:extLst>
  </p:cSld>
  <p:clrMapOvr>
    <a:masterClrMapping/>
  </p:clrMapOvr>
  <p:extLst>
    <p:ext uri="{DCECCB84-F9BA-43D5-87BE-67443E8EF086}">
      <p15:sldGuideLst xmlns:p15="http://schemas.microsoft.com/office/powerpoint/2012/main">
        <p15:guide id="1" orient="horz" pos="157">
          <p15:clr>
            <a:srgbClr val="FBAE40"/>
          </p15:clr>
        </p15:guide>
        <p15:guide id="2" pos="272">
          <p15:clr>
            <a:srgbClr val="FBAE40"/>
          </p15:clr>
        </p15:guide>
        <p15:guide id="3" pos="5489">
          <p15:clr>
            <a:srgbClr val="FBAE40"/>
          </p15:clr>
        </p15:guide>
        <p15:guide id="4" orient="horz" pos="522">
          <p15:clr>
            <a:srgbClr val="FBAE40"/>
          </p15:clr>
        </p15:guide>
        <p15:guide id="5" orient="horz" pos="647">
          <p15:clr>
            <a:srgbClr val="FBAE40"/>
          </p15:clr>
        </p15:guide>
        <p15:guide id="6" orient="horz" pos="1555">
          <p15:clr>
            <a:srgbClr val="FBAE40"/>
          </p15:clr>
        </p15:guide>
        <p15:guide id="7" orient="horz" pos="2747">
          <p15:clr>
            <a:srgbClr val="FBAE40"/>
          </p15:clr>
        </p15:guide>
        <p15:guide id="8" orient="horz" pos="1839">
          <p15:clr>
            <a:srgbClr val="FBAE40"/>
          </p15:clr>
        </p15:guide>
        <p15:guide id="9" pos="2721">
          <p15:clr>
            <a:srgbClr val="FBAE40"/>
          </p15:clr>
        </p15:guide>
        <p15:guide id="10" pos="30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hree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CE1261-4BC7-47C2-8877-843B910A6BF6}"/>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42" name="think-cell Slide" r:id="rId4" imgW="338" imgH="338" progId="TCLayout.ActiveDocument.1">
                  <p:embed/>
                </p:oleObj>
              </mc:Choice>
              <mc:Fallback>
                <p:oleObj name="think-cell Slide" r:id="rId4" imgW="338" imgH="338" progId="TCLayout.ActiveDocument.1">
                  <p:embed/>
                  <p:pic>
                    <p:nvPicPr>
                      <p:cNvPr id="3" name="Object 2" hidden="1">
                        <a:extLst>
                          <a:ext uri="{FF2B5EF4-FFF2-40B4-BE49-F238E27FC236}">
                            <a16:creationId xmlns:a16="http://schemas.microsoft.com/office/drawing/2014/main" id="{91CE1261-4BC7-47C2-8877-843B910A6BF6}"/>
                          </a:ext>
                        </a:extLst>
                      </p:cNvPr>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1" name="Grå baggrund 3">
            <a:extLst>
              <a:ext uri="{FF2B5EF4-FFF2-40B4-BE49-F238E27FC236}">
                <a16:creationId xmlns:a16="http://schemas.microsoft.com/office/drawing/2014/main" id="{8FFB5C05-F3FA-418B-B7EB-104AB9586026}"/>
              </a:ext>
            </a:extLst>
          </p:cNvPr>
          <p:cNvSpPr/>
          <p:nvPr userDrawn="1"/>
        </p:nvSpPr>
        <p:spPr>
          <a:xfrm>
            <a:off x="6157685"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5" name="Grå baggrund 4">
            <a:extLst>
              <a:ext uri="{FF2B5EF4-FFF2-40B4-BE49-F238E27FC236}">
                <a16:creationId xmlns:a16="http://schemas.microsoft.com/office/drawing/2014/main" id="{78993520-EB69-4830-94B5-D53B7E70DCD1}"/>
              </a:ext>
            </a:extLst>
          </p:cNvPr>
          <p:cNvSpPr/>
          <p:nvPr userDrawn="1"/>
        </p:nvSpPr>
        <p:spPr>
          <a:xfrm>
            <a:off x="6157685"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2" name="Grå baggrund 1"/>
          <p:cNvSpPr/>
          <p:nvPr userDrawn="1"/>
        </p:nvSpPr>
        <p:spPr>
          <a:xfrm>
            <a:off x="1" y="1110392"/>
            <a:ext cx="6034529" cy="49640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lvl1pPr eaLnBrk="1">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
        <p:nvSpPr>
          <p:cNvPr id="14" name="Content Placeholder 2"/>
          <p:cNvSpPr>
            <a:spLocks noGrp="1"/>
          </p:cNvSpPr>
          <p:nvPr>
            <p:ph idx="1" hasCustomPrompt="1"/>
          </p:nvPr>
        </p:nvSpPr>
        <p:spPr>
          <a:xfrm>
            <a:off x="575999" y="1371025"/>
            <a:ext cx="5184000" cy="4416000"/>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000"/>
              </a:spcBef>
              <a:defRPr sz="1733">
                <a:solidFill>
                  <a:schemeClr val="tx2"/>
                </a:solidFill>
                <a:latin typeface="Orsted Sans Office" panose="00000500000000000000" pitchFamily="2" charset="0"/>
              </a:defRPr>
            </a:lvl2pPr>
            <a:lvl3pPr>
              <a:lnSpc>
                <a:spcPct val="95000"/>
              </a:lnSpc>
              <a:spcBef>
                <a:spcPts val="2000"/>
              </a:spcBef>
              <a:defRPr sz="1733">
                <a:solidFill>
                  <a:schemeClr val="tx2"/>
                </a:solidFill>
                <a:latin typeface="Orsted Sans Office" panose="00000500000000000000" pitchFamily="2" charset="0"/>
              </a:defRPr>
            </a:lvl3pPr>
            <a:lvl4pPr>
              <a:lnSpc>
                <a:spcPct val="95000"/>
              </a:lnSpc>
              <a:spcBef>
                <a:spcPts val="2000"/>
              </a:spcBef>
              <a:defRPr sz="1733">
                <a:solidFill>
                  <a:schemeClr val="tx2"/>
                </a:solidFill>
                <a:latin typeface="Orsted Sans Office" panose="00000500000000000000" pitchFamily="2" charset="0"/>
              </a:defRPr>
            </a:lvl4pPr>
            <a:lvl5pPr>
              <a:lnSpc>
                <a:spcPct val="95000"/>
              </a:lnSpc>
              <a:spcBef>
                <a:spcPts val="20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9" name="Content Placeholder 2">
            <a:extLst>
              <a:ext uri="{FF2B5EF4-FFF2-40B4-BE49-F238E27FC236}">
                <a16:creationId xmlns:a16="http://schemas.microsoft.com/office/drawing/2014/main" id="{A57738C9-DA24-4CF0-8DAD-EA13572AF5D6}"/>
              </a:ext>
            </a:extLst>
          </p:cNvPr>
          <p:cNvSpPr>
            <a:spLocks noGrp="1"/>
          </p:cNvSpPr>
          <p:nvPr>
            <p:ph idx="32" hasCustomPrompt="1"/>
          </p:nvPr>
        </p:nvSpPr>
        <p:spPr>
          <a:xfrm>
            <a:off x="6433895" y="3866703"/>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0" name="Content Placeholder 2">
            <a:extLst>
              <a:ext uri="{FF2B5EF4-FFF2-40B4-BE49-F238E27FC236}">
                <a16:creationId xmlns:a16="http://schemas.microsoft.com/office/drawing/2014/main" id="{34BB4B54-94C1-4B8F-955D-4A138B4885B3}"/>
              </a:ext>
            </a:extLst>
          </p:cNvPr>
          <p:cNvSpPr>
            <a:spLocks noGrp="1"/>
          </p:cNvSpPr>
          <p:nvPr>
            <p:ph idx="33" hasCustomPrompt="1"/>
          </p:nvPr>
        </p:nvSpPr>
        <p:spPr>
          <a:xfrm>
            <a:off x="6433895" y="1371025"/>
            <a:ext cx="5184000" cy="1920323"/>
          </a:xfrm>
        </p:spPr>
        <p:txBody>
          <a:bodyPr/>
          <a:lstStyle>
            <a:lvl1pPr marL="287993" indent="-287993">
              <a:lnSpc>
                <a:spcPct val="95000"/>
              </a:lnSpc>
              <a:spcBef>
                <a:spcPts val="1067"/>
              </a:spcBef>
              <a:buFont typeface="Arial" panose="020B0604020202020204" pitchFamily="34" charset="0"/>
              <a:buChar char="–"/>
              <a:defRPr sz="17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733">
                <a:solidFill>
                  <a:schemeClr val="tx2"/>
                </a:solidFill>
                <a:latin typeface="Orsted Sans Office" panose="00000500000000000000" pitchFamily="2" charset="0"/>
              </a:defRPr>
            </a:lvl2pPr>
            <a:lvl3pPr>
              <a:lnSpc>
                <a:spcPct val="95000"/>
              </a:lnSpc>
              <a:spcBef>
                <a:spcPts val="800"/>
              </a:spcBef>
              <a:defRPr sz="1733">
                <a:solidFill>
                  <a:schemeClr val="tx2"/>
                </a:solidFill>
                <a:latin typeface="Orsted Sans Office" panose="00000500000000000000" pitchFamily="2" charset="0"/>
              </a:defRPr>
            </a:lvl3pPr>
            <a:lvl4pPr>
              <a:lnSpc>
                <a:spcPct val="95000"/>
              </a:lnSpc>
              <a:spcBef>
                <a:spcPts val="800"/>
              </a:spcBef>
              <a:defRPr sz="1733">
                <a:solidFill>
                  <a:schemeClr val="tx2"/>
                </a:solidFill>
                <a:latin typeface="Orsted Sans Office" panose="00000500000000000000" pitchFamily="2" charset="0"/>
              </a:defRPr>
            </a:lvl4pPr>
            <a:lvl5pPr>
              <a:lnSpc>
                <a:spcPct val="95000"/>
              </a:lnSpc>
              <a:spcBef>
                <a:spcPts val="800"/>
              </a:spcBef>
              <a:defRPr sz="1733">
                <a:solidFill>
                  <a:schemeClr val="tx2"/>
                </a:solidFill>
                <a:latin typeface="Orsted Sans Office" panose="00000500000000000000" pitchFamily="2" charset="0"/>
              </a:defRPr>
            </a:lvl5pPr>
          </a:lstStyle>
          <a:p>
            <a:pPr lvl="0"/>
            <a:r>
              <a:rPr lang="en-GB" dirty="0"/>
              <a:t>Click to add text </a:t>
            </a:r>
            <a:endParaRPr lang="en-GB" noProof="0" dirty="0"/>
          </a:p>
        </p:txBody>
      </p:sp>
      <p:sp>
        <p:nvSpPr>
          <p:cNvPr id="13" name="Text Placeholder 14">
            <a:extLst>
              <a:ext uri="{FF2B5EF4-FFF2-40B4-BE49-F238E27FC236}">
                <a16:creationId xmlns:a16="http://schemas.microsoft.com/office/drawing/2014/main" id="{32334051-2DCD-4BF5-8E3B-66EFA5476E02}"/>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7" name="Date Placeholder 6">
            <a:extLst>
              <a:ext uri="{FF2B5EF4-FFF2-40B4-BE49-F238E27FC236}">
                <a16:creationId xmlns:a16="http://schemas.microsoft.com/office/drawing/2014/main" id="{25B9EBBF-7DC2-4775-93C3-5633EE2D8A78}"/>
              </a:ext>
            </a:extLst>
          </p:cNvPr>
          <p:cNvSpPr>
            <a:spLocks noGrp="1"/>
          </p:cNvSpPr>
          <p:nvPr>
            <p:ph type="dt" sz="half" idx="3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Footer Placeholder 7">
            <a:extLst>
              <a:ext uri="{FF2B5EF4-FFF2-40B4-BE49-F238E27FC236}">
                <a16:creationId xmlns:a16="http://schemas.microsoft.com/office/drawing/2014/main" id="{EDA77958-D1EC-4B20-B77D-1687DE4961AC}"/>
              </a:ext>
            </a:extLst>
          </p:cNvPr>
          <p:cNvSpPr>
            <a:spLocks noGrp="1"/>
          </p:cNvSpPr>
          <p:nvPr>
            <p:ph type="ftr" sz="quarter" idx="35"/>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6" name="Slide Number Placeholder 15">
            <a:extLst>
              <a:ext uri="{FF2B5EF4-FFF2-40B4-BE49-F238E27FC236}">
                <a16:creationId xmlns:a16="http://schemas.microsoft.com/office/drawing/2014/main" id="{85EB232F-6CFF-4FB5-A0AA-03B7A38444A8}"/>
              </a:ext>
            </a:extLst>
          </p:cNvPr>
          <p:cNvSpPr>
            <a:spLocks noGrp="1"/>
          </p:cNvSpPr>
          <p:nvPr>
            <p:ph type="sldNum" sz="quarter" idx="36"/>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385818598"/>
      </p:ext>
    </p:extLst>
  </p:cSld>
  <p:clrMapOvr>
    <a:masterClrMapping/>
  </p:clrMapOvr>
  <p:extLst>
    <p:ext uri="{DCECCB84-F9BA-43D5-87BE-67443E8EF086}">
      <p15:sldGuideLst xmlns:p15="http://schemas.microsoft.com/office/powerpoint/2012/main">
        <p15:guide id="1" orient="horz" pos="153">
          <p15:clr>
            <a:srgbClr val="FBAE40"/>
          </p15:clr>
        </p15:guide>
        <p15:guide id="2" pos="272">
          <p15:clr>
            <a:srgbClr val="FBAE40"/>
          </p15:clr>
        </p15:guide>
        <p15:guide id="3" pos="2721">
          <p15:clr>
            <a:srgbClr val="FBAE40"/>
          </p15:clr>
        </p15:guide>
        <p15:guide id="4" pos="3039">
          <p15:clr>
            <a:srgbClr val="FBAE40"/>
          </p15:clr>
        </p15:guide>
        <p15:guide id="5" pos="5489">
          <p15:clr>
            <a:srgbClr val="FBAE40"/>
          </p15:clr>
        </p15:guide>
        <p15:guide id="6" orient="horz" pos="523">
          <p15:clr>
            <a:srgbClr val="FBAE40"/>
          </p15:clr>
        </p15:guide>
        <p15:guide id="7" orient="horz" pos="647">
          <p15:clr>
            <a:srgbClr val="FBAE40"/>
          </p15:clr>
        </p15:guide>
        <p15:guide id="8" orient="horz" pos="1555">
          <p15:clr>
            <a:srgbClr val="FBAE40"/>
          </p15:clr>
        </p15:guide>
        <p15:guide id="9" orient="horz" pos="1826">
          <p15:clr>
            <a:srgbClr val="FBAE40"/>
          </p15:clr>
        </p15:guide>
        <p15:guide id="10" orient="horz" pos="275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spid="_x0000_s11266" name="think-cell Slide" r:id="rId5" imgW="592" imgH="595" progId="TCLayout.ActiveDocument.1">
                  <p:embed/>
                </p:oleObj>
              </mc:Choice>
              <mc:Fallback>
                <p:oleObj name="think-cell Slide" r:id="rId5" imgW="592" imgH="595" progId="TCLayout.ActiveDocument.1">
                  <p:embed/>
                  <p:pic>
                    <p:nvPicPr>
                      <p:cNvPr id="6" name="Object 5" hidden="1"/>
                      <p:cNvPicPr/>
                      <p:nvPr/>
                    </p:nvPicPr>
                    <p:blipFill>
                      <a:blip r:embed="rId6"/>
                      <a:stretch>
                        <a:fillRect/>
                      </a:stretch>
                    </p:blipFill>
                    <p:spPr>
                      <a:xfrm>
                        <a:off x="1813" y="1441"/>
                        <a:ext cx="1809" cy="144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75BC44-A83C-48EC-BEA8-6C3656C38304}"/>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Grå baggrund 1"/>
          <p:cNvSpPr/>
          <p:nvPr userDrawn="1"/>
        </p:nvSpPr>
        <p:spPr>
          <a:xfrm>
            <a:off x="1"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8" name="Grå baggrund 2"/>
          <p:cNvSpPr/>
          <p:nvPr userDrawn="1"/>
        </p:nvSpPr>
        <p:spPr>
          <a:xfrm>
            <a:off x="1"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3" name="Grå baggrund 3"/>
          <p:cNvSpPr/>
          <p:nvPr userDrawn="1"/>
        </p:nvSpPr>
        <p:spPr>
          <a:xfrm>
            <a:off x="6157685" y="1110390"/>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9" name="Grå baggrund 4"/>
          <p:cNvSpPr/>
          <p:nvPr userDrawn="1"/>
        </p:nvSpPr>
        <p:spPr>
          <a:xfrm>
            <a:off x="6157685" y="3641428"/>
            <a:ext cx="6034529" cy="24330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800"/>
              </a:spcBef>
            </a:pPr>
            <a:endParaRPr lang="en-GB" sz="1333" noProof="0" dirty="0">
              <a:latin typeface="Arial" panose="020B0604020202020204" pitchFamily="34" charset="0"/>
              <a:cs typeface="Arial" panose="020B0604020202020204" pitchFamily="34" charset="0"/>
              <a:sym typeface="Arial" panose="020B0604020202020204" pitchFamily="34" charset="0"/>
            </a:endParaRPr>
          </a:p>
        </p:txBody>
      </p:sp>
      <p:sp>
        <p:nvSpPr>
          <p:cNvPr id="16" name="Content Placeholder 2"/>
          <p:cNvSpPr>
            <a:spLocks noGrp="1"/>
          </p:cNvSpPr>
          <p:nvPr>
            <p:ph idx="1" hasCustomPrompt="1"/>
          </p:nvPr>
        </p:nvSpPr>
        <p:spPr>
          <a:xfrm>
            <a:off x="575999" y="1371025"/>
            <a:ext cx="5183452"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Content Placeholder 2"/>
          <p:cNvSpPr>
            <a:spLocks noGrp="1"/>
          </p:cNvSpPr>
          <p:nvPr>
            <p:ph idx="31" hasCustomPrompt="1"/>
          </p:nvPr>
        </p:nvSpPr>
        <p:spPr>
          <a:xfrm>
            <a:off x="575999" y="3894171"/>
            <a:ext cx="5183452"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Content Placeholder 2"/>
          <p:cNvSpPr>
            <a:spLocks noGrp="1"/>
          </p:cNvSpPr>
          <p:nvPr>
            <p:ph idx="32" hasCustomPrompt="1"/>
          </p:nvPr>
        </p:nvSpPr>
        <p:spPr>
          <a:xfrm>
            <a:off x="6432550" y="3894171"/>
            <a:ext cx="5181029"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p:cNvSpPr>
            <a:spLocks noGrp="1"/>
          </p:cNvSpPr>
          <p:nvPr>
            <p:ph idx="33" hasCustomPrompt="1"/>
          </p:nvPr>
        </p:nvSpPr>
        <p:spPr>
          <a:xfrm>
            <a:off x="6432550" y="1371025"/>
            <a:ext cx="5181028" cy="1920323"/>
          </a:xfrm>
        </p:spPr>
        <p:txBody>
          <a:bodyPr/>
          <a:lstStyle>
            <a:lvl1pPr marL="287993" indent="-287993">
              <a:lnSpc>
                <a:spcPct val="95000"/>
              </a:lnSpc>
              <a:spcBef>
                <a:spcPts val="800"/>
              </a:spcBef>
              <a:buFont typeface="Arial" panose="020B0604020202020204" pitchFamily="34" charset="0"/>
              <a:buChar char="–"/>
              <a:defRPr sz="1333" b="0">
                <a:solidFill>
                  <a:schemeClr val="tx2"/>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2pPr>
            <a:lvl3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3pPr>
            <a:lvl4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4pPr>
            <a:lvl5pPr>
              <a:lnSpc>
                <a:spcPct val="95000"/>
              </a:lnSpc>
              <a:spcBef>
                <a:spcPts val="800"/>
              </a:spcBef>
              <a:defRPr sz="1333">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4">
            <a:extLst>
              <a:ext uri="{FF2B5EF4-FFF2-40B4-BE49-F238E27FC236}">
                <a16:creationId xmlns:a16="http://schemas.microsoft.com/office/drawing/2014/main" id="{DBB1C826-8422-4628-93A8-315ECBAB1362}"/>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7" name="Date Placeholder 6">
            <a:extLst>
              <a:ext uri="{FF2B5EF4-FFF2-40B4-BE49-F238E27FC236}">
                <a16:creationId xmlns:a16="http://schemas.microsoft.com/office/drawing/2014/main" id="{933B0E5D-0517-4B25-9FCC-D7B9FC98149A}"/>
              </a:ext>
            </a:extLst>
          </p:cNvPr>
          <p:cNvSpPr>
            <a:spLocks noGrp="1"/>
          </p:cNvSpPr>
          <p:nvPr>
            <p:ph type="dt" sz="half" idx="3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0" name="Footer Placeholder 9">
            <a:extLst>
              <a:ext uri="{FF2B5EF4-FFF2-40B4-BE49-F238E27FC236}">
                <a16:creationId xmlns:a16="http://schemas.microsoft.com/office/drawing/2014/main" id="{349165C3-E25F-41B6-BC7F-347083ABD968}"/>
              </a:ext>
            </a:extLst>
          </p:cNvPr>
          <p:cNvSpPr>
            <a:spLocks noGrp="1"/>
          </p:cNvSpPr>
          <p:nvPr>
            <p:ph type="ftr" sz="quarter" idx="35"/>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Slide Number Placeholder 10">
            <a:extLst>
              <a:ext uri="{FF2B5EF4-FFF2-40B4-BE49-F238E27FC236}">
                <a16:creationId xmlns:a16="http://schemas.microsoft.com/office/drawing/2014/main" id="{BDE8F254-B60D-4782-823F-CC065B311C0A}"/>
              </a:ext>
            </a:extLst>
          </p:cNvPr>
          <p:cNvSpPr>
            <a:spLocks noGrp="1"/>
          </p:cNvSpPr>
          <p:nvPr>
            <p:ph type="sldNum" sz="quarter" idx="36"/>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7" name="Title 16">
            <a:extLst>
              <a:ext uri="{FF2B5EF4-FFF2-40B4-BE49-F238E27FC236}">
                <a16:creationId xmlns:a16="http://schemas.microsoft.com/office/drawing/2014/main" id="{B6D4C96D-A5C6-462E-A726-3A3CDB7C1BF6}"/>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1831040761"/>
      </p:ext>
    </p:extLst>
  </p:cSld>
  <p:clrMapOvr>
    <a:masterClrMapping/>
  </p:clrMapOvr>
  <p:extLst>
    <p:ext uri="{DCECCB84-F9BA-43D5-87BE-67443E8EF086}">
      <p15:sldGuideLst xmlns:p15="http://schemas.microsoft.com/office/powerpoint/2012/main">
        <p15:guide id="1" orient="horz" pos="157">
          <p15:clr>
            <a:srgbClr val="FBAE40"/>
          </p15:clr>
        </p15:guide>
        <p15:guide id="2" pos="2721">
          <p15:clr>
            <a:srgbClr val="FBAE40"/>
          </p15:clr>
        </p15:guide>
        <p15:guide id="3" pos="272">
          <p15:clr>
            <a:srgbClr val="FBAE40"/>
          </p15:clr>
        </p15:guide>
        <p15:guide id="4" pos="3039">
          <p15:clr>
            <a:srgbClr val="FBAE40"/>
          </p15:clr>
        </p15:guide>
        <p15:guide id="5" pos="5489">
          <p15:clr>
            <a:srgbClr val="FBAE40"/>
          </p15:clr>
        </p15:guide>
        <p15:guide id="6" orient="horz" pos="522">
          <p15:clr>
            <a:srgbClr val="FBAE40"/>
          </p15:clr>
        </p15:guide>
        <p15:guide id="7" orient="horz" pos="647">
          <p15:clr>
            <a:srgbClr val="FBAE40"/>
          </p15:clr>
        </p15:guide>
        <p15:guide id="8" orient="horz" pos="1556">
          <p15:clr>
            <a:srgbClr val="FBAE40"/>
          </p15:clr>
        </p15:guide>
        <p15:guide id="9" orient="horz" pos="1839">
          <p15:clr>
            <a:srgbClr val="FBAE40"/>
          </p15:clr>
        </p15:guide>
        <p15:guide id="10" orient="horz" pos="275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Picture_BG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5F127328-5914-8746-9676-46AEF2593FFE}"/>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5" name="Title 1">
            <a:extLst>
              <a:ext uri="{FF2B5EF4-FFF2-40B4-BE49-F238E27FC236}">
                <a16:creationId xmlns:a16="http://schemas.microsoft.com/office/drawing/2014/main" id="{D545E6C8-F8C7-574A-9C5C-305FA222624F}"/>
              </a:ext>
            </a:extLst>
          </p:cNvPr>
          <p:cNvSpPr>
            <a:spLocks noGrp="1"/>
          </p:cNvSpPr>
          <p:nvPr>
            <p:ph type="title"/>
          </p:nvPr>
        </p:nvSpPr>
        <p:spPr>
          <a:xfrm>
            <a:off x="527568" y="2688964"/>
            <a:ext cx="4856568" cy="1480071"/>
          </a:xfrm>
          <a:prstGeom prst="rect">
            <a:avLst/>
          </a:prstGeom>
        </p:spPr>
        <p:txBody>
          <a:bodyPr anchor="b"/>
          <a:lstStyle>
            <a:lvl1pPr>
              <a:defRPr sz="4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pic>
        <p:nvPicPr>
          <p:cNvPr id="6" name="Picture 5">
            <a:extLst>
              <a:ext uri="{FF2B5EF4-FFF2-40B4-BE49-F238E27FC236}">
                <a16:creationId xmlns:a16="http://schemas.microsoft.com/office/drawing/2014/main" id="{6DB78912-ED94-0848-975B-CD0C55ECCFF5}"/>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41539022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2290"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6CD2737-B5B2-4E56-A269-0F225682A465}"/>
              </a:ext>
            </a:extLst>
          </p:cNvPr>
          <p:cNvSpPr/>
          <p:nvPr userDrawn="1">
            <p:custDataLst>
              <p:tags r:id="rId3"/>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0EB9224E-8240-41A4-8463-E8525C11C280}"/>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Footer Placeholder 7">
            <a:extLst>
              <a:ext uri="{FF2B5EF4-FFF2-40B4-BE49-F238E27FC236}">
                <a16:creationId xmlns:a16="http://schemas.microsoft.com/office/drawing/2014/main" id="{F68843D8-4A5E-4D36-85EC-8E0B3ADB246A}"/>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9" name="Slide Number Placeholder 8">
            <a:extLst>
              <a:ext uri="{FF2B5EF4-FFF2-40B4-BE49-F238E27FC236}">
                <a16:creationId xmlns:a16="http://schemas.microsoft.com/office/drawing/2014/main" id="{CE7AC4BD-9E46-441A-8377-B511306FE68D}"/>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
        <p:nvSpPr>
          <p:cNvPr id="10" name="Title 9">
            <a:extLst>
              <a:ext uri="{FF2B5EF4-FFF2-40B4-BE49-F238E27FC236}">
                <a16:creationId xmlns:a16="http://schemas.microsoft.com/office/drawing/2014/main" id="{4E76D947-08D5-4897-BC99-FA8B3E3B5C0A}"/>
              </a:ext>
            </a:extLst>
          </p:cNvPr>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733269389"/>
      </p:ext>
    </p:extLst>
  </p:cSld>
  <p:clrMapOvr>
    <a:masterClrMapping/>
  </p:clrMapOvr>
  <p:extLst>
    <p:ext uri="{DCECCB84-F9BA-43D5-87BE-67443E8EF086}">
      <p15:sldGuideLst xmlns:p15="http://schemas.microsoft.com/office/powerpoint/2012/main">
        <p15:guide id="1" orient="horz" pos="523">
          <p15:clr>
            <a:srgbClr val="FBAE40"/>
          </p15:clr>
        </p15:guide>
        <p15:guide id="2" pos="272">
          <p15:clr>
            <a:srgbClr val="FBAE40"/>
          </p15:clr>
        </p15:guide>
        <p15:guide id="3" pos="5488">
          <p15:clr>
            <a:srgbClr val="FBAE40"/>
          </p15:clr>
        </p15:guide>
        <p15:guide id="4" orient="horz" pos="157">
          <p15:clr>
            <a:srgbClr val="FBAE40"/>
          </p15:clr>
        </p15:guide>
        <p15:guide id="5" orient="horz" pos="275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userDrawn="1">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314"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997921" y="6081601"/>
            <a:ext cx="5530109" cy="489879"/>
          </a:xfrm>
        </p:spPr>
        <p:txBody>
          <a:bodyPr anchor="b" anchorCtr="0"/>
          <a:lstStyle>
            <a:lvl1pPr>
              <a:lnSpc>
                <a:spcPct val="95000"/>
              </a:lnSpc>
              <a:spcBef>
                <a:spcPts val="0"/>
              </a:spcBef>
              <a:defRPr sz="933" b="0" baseline="0">
                <a:solidFill>
                  <a:schemeClr val="accent6"/>
                </a:solidFill>
                <a:latin typeface="Arial" panose="020B0604020202020204" pitchFamily="34" charset="0"/>
                <a:cs typeface="Arial" panose="020B0604020202020204" pitchFamily="34" charset="0"/>
                <a:sym typeface="Arial" panose="020B0604020202020204" pitchFamily="34"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6" name="Date Placeholder 5">
            <a:extLst>
              <a:ext uri="{FF2B5EF4-FFF2-40B4-BE49-F238E27FC236}">
                <a16:creationId xmlns:a16="http://schemas.microsoft.com/office/drawing/2014/main" id="{8167CA36-0CF7-457F-AD35-0DBF8E3E5CE6}"/>
              </a:ext>
            </a:extLst>
          </p:cNvPr>
          <p:cNvSpPr>
            <a:spLocks noGrp="1"/>
          </p:cNvSpPr>
          <p:nvPr>
            <p:ph type="dt" sz="half" idx="2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7" name="Footer Placeholder 6">
            <a:extLst>
              <a:ext uri="{FF2B5EF4-FFF2-40B4-BE49-F238E27FC236}">
                <a16:creationId xmlns:a16="http://schemas.microsoft.com/office/drawing/2014/main" id="{4BDA414A-DE28-4361-92F3-1B3D83E25A91}"/>
              </a:ext>
            </a:extLst>
          </p:cNvPr>
          <p:cNvSpPr>
            <a:spLocks noGrp="1"/>
          </p:cNvSpPr>
          <p:nvPr>
            <p:ph type="ftr" sz="quarter" idx="28"/>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8" name="Slide Number Placeholder 7">
            <a:extLst>
              <a:ext uri="{FF2B5EF4-FFF2-40B4-BE49-F238E27FC236}">
                <a16:creationId xmlns:a16="http://schemas.microsoft.com/office/drawing/2014/main" id="{90414FBA-DB0C-42EF-BD64-F06FD3927723}"/>
              </a:ext>
            </a:extLst>
          </p:cNvPr>
          <p:cNvSpPr>
            <a:spLocks noGrp="1"/>
          </p:cNvSpPr>
          <p:nvPr>
            <p:ph type="sldNum" sz="quarter" idx="2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spTree>
    <p:extLst>
      <p:ext uri="{BB962C8B-B14F-4D97-AF65-F5344CB8AC3E}">
        <p14:creationId xmlns:p14="http://schemas.microsoft.com/office/powerpoint/2010/main" val="158956936"/>
      </p:ext>
    </p:extLst>
  </p:cSld>
  <p:clrMapOvr>
    <a:masterClrMapping/>
  </p:clrMapOvr>
  <p:extLst>
    <p:ext uri="{DCECCB84-F9BA-43D5-87BE-67443E8EF086}">
      <p15:sldGuideLst xmlns:p15="http://schemas.microsoft.com/office/powerpoint/2012/main">
        <p15:guide id="1" pos="272">
          <p15:clr>
            <a:srgbClr val="FBAE40"/>
          </p15:clr>
        </p15:guide>
        <p15:guide id="2" pos="5488">
          <p15:clr>
            <a:srgbClr val="FBAE40"/>
          </p15:clr>
        </p15:guide>
        <p15:guide id="3" orient="horz" pos="146">
          <p15:clr>
            <a:srgbClr val="FBAE40"/>
          </p15:clr>
        </p15:guide>
        <p15:guide id="4" orient="horz" pos="531">
          <p15:clr>
            <a:srgbClr val="FBAE40"/>
          </p15:clr>
        </p15:guide>
        <p15:guide id="5" orient="horz" pos="645">
          <p15:clr>
            <a:srgbClr val="FBAE40"/>
          </p15:clr>
        </p15:guide>
        <p15:guide id="6" orient="horz" pos="275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62847" y="1414222"/>
            <a:ext cx="11266309" cy="161411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5D2633F-9E37-4580-B197-799DECA1053C}" type="slidenum">
              <a:rPr lang="en-US" altLang="en-US"/>
              <a:pPr>
                <a:defRPr/>
              </a:pPr>
              <a:t>‹#›</a:t>
            </a:fld>
            <a:endParaRPr lang="en-US" altLang="en-US" dirty="0"/>
          </a:p>
        </p:txBody>
      </p:sp>
      <p:pic>
        <p:nvPicPr>
          <p:cNvPr id="7" name="Picture 6">
            <a:extLst>
              <a:ext uri="{FF2B5EF4-FFF2-40B4-BE49-F238E27FC236}">
                <a16:creationId xmlns:a16="http://schemas.microsoft.com/office/drawing/2014/main" id="{F83ADA77-B896-2D48-9696-76496C616AFA}"/>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12596991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8265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7381" y="1556795"/>
            <a:ext cx="10972800" cy="3382955"/>
          </a:xfrm>
          <a:prstGeom prst="rect">
            <a:avLst/>
          </a:prstGeom>
        </p:spPr>
        <p:txBody>
          <a:bodyPr/>
          <a:lstStyle>
            <a:lvl1pPr>
              <a:defRPr>
                <a:solidFill>
                  <a:srgbClr val="495965"/>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495965"/>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495965"/>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495965"/>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495965"/>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5">
            <a:extLst>
              <a:ext uri="{FF2B5EF4-FFF2-40B4-BE49-F238E27FC236}">
                <a16:creationId xmlns:a16="http://schemas.microsoft.com/office/drawing/2014/main" id="{F3779063-46DA-7342-B97D-58A965EE6D99}"/>
              </a:ext>
            </a:extLst>
          </p:cNvPr>
          <p:cNvSpPr>
            <a:spLocks noGrp="1"/>
          </p:cNvSpPr>
          <p:nvPr>
            <p:ph type="sldNum" sz="quarter" idx="4"/>
          </p:nvPr>
        </p:nvSpPr>
        <p:spPr>
          <a:xfrm>
            <a:off x="11604128" y="6525347"/>
            <a:ext cx="2844800" cy="268139"/>
          </a:xfrm>
          <a:prstGeom prst="rect">
            <a:avLst/>
          </a:prstGeom>
        </p:spPr>
        <p:txBody>
          <a:bodyPr/>
          <a:lstStyle>
            <a:lvl1pPr>
              <a:defRPr sz="675">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fld id="{2D0DF9ED-8BA0-410B-84D1-2D8774E69E9E}" type="slidenum">
              <a:rPr lang="en-GB" altLang="en-US" smtClean="0"/>
              <a:pPr/>
              <a:t>‹#›</a:t>
            </a:fld>
            <a:endParaRPr lang="en-GB" altLang="en-US" dirty="0"/>
          </a:p>
        </p:txBody>
      </p:sp>
      <p:sp>
        <p:nvSpPr>
          <p:cNvPr id="11" name="Title 1"/>
          <p:cNvSpPr>
            <a:spLocks noGrp="1"/>
          </p:cNvSpPr>
          <p:nvPr>
            <p:ph type="title" hasCustomPrompt="1"/>
          </p:nvPr>
        </p:nvSpPr>
        <p:spPr>
          <a:xfrm>
            <a:off x="3791745" y="260649"/>
            <a:ext cx="8160907" cy="288032"/>
          </a:xfrm>
          <a:prstGeom prst="rect">
            <a:avLst/>
          </a:prstGeom>
        </p:spPr>
        <p:txBody>
          <a:bodyPr tIns="72000"/>
          <a:lstStyle>
            <a:lvl1pPr algn="r">
              <a:defRPr sz="1013" b="1" baseline="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lace title here, please do not move the position of this box</a:t>
            </a:r>
            <a:endParaRPr lang="en-GB" dirty="0"/>
          </a:p>
        </p:txBody>
      </p:sp>
    </p:spTree>
    <p:extLst>
      <p:ext uri="{BB962C8B-B14F-4D97-AF65-F5344CB8AC3E}">
        <p14:creationId xmlns:p14="http://schemas.microsoft.com/office/powerpoint/2010/main" val="11218438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83767" y="288000"/>
            <a:ext cx="7996469" cy="288032"/>
          </a:xfrm>
          <a:prstGeom prst="rect">
            <a:avLst/>
          </a:prstGeom>
        </p:spPr>
        <p:txBody>
          <a:bodyPr/>
          <a:lstStyle>
            <a:lvl1pPr algn="r">
              <a:defRPr sz="1013" b="1" baseline="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lace title here, please do not move the position of this box</a:t>
            </a:r>
            <a:endParaRPr lang="en-GB" dirty="0"/>
          </a:p>
        </p:txBody>
      </p:sp>
      <p:sp>
        <p:nvSpPr>
          <p:cNvPr id="4" name="Slide Number Placeholder 5">
            <a:extLst>
              <a:ext uri="{FF2B5EF4-FFF2-40B4-BE49-F238E27FC236}">
                <a16:creationId xmlns:a16="http://schemas.microsoft.com/office/drawing/2014/main" id="{49EB0159-7AC8-4246-BB9E-B60FC531E7A2}"/>
              </a:ext>
            </a:extLst>
          </p:cNvPr>
          <p:cNvSpPr>
            <a:spLocks noGrp="1"/>
          </p:cNvSpPr>
          <p:nvPr>
            <p:ph type="sldNum" sz="quarter" idx="4"/>
          </p:nvPr>
        </p:nvSpPr>
        <p:spPr>
          <a:xfrm>
            <a:off x="11604128" y="6525347"/>
            <a:ext cx="2844800" cy="268139"/>
          </a:xfrm>
          <a:prstGeom prst="rect">
            <a:avLst/>
          </a:prstGeom>
        </p:spPr>
        <p:txBody>
          <a:bodyPr/>
          <a:lstStyle>
            <a:lvl1pPr>
              <a:defRPr sz="675">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fld id="{2D0DF9ED-8BA0-410B-84D1-2D8774E69E9E}" type="slidenum">
              <a:rPr lang="en-GB" altLang="en-US" smtClean="0"/>
              <a:pPr/>
              <a:t>‹#›</a:t>
            </a:fld>
            <a:endParaRPr lang="en-GB" altLang="en-US" dirty="0"/>
          </a:p>
        </p:txBody>
      </p:sp>
      <p:sp>
        <p:nvSpPr>
          <p:cNvPr id="10" name="Content Placeholder 2"/>
          <p:cNvSpPr>
            <a:spLocks noGrp="1"/>
          </p:cNvSpPr>
          <p:nvPr>
            <p:ph idx="1" hasCustomPrompt="1"/>
          </p:nvPr>
        </p:nvSpPr>
        <p:spPr>
          <a:xfrm>
            <a:off x="527381" y="1556795"/>
            <a:ext cx="10972800" cy="3382955"/>
          </a:xfrm>
          <a:prstGeom prst="rect">
            <a:avLst/>
          </a:prstGeom>
        </p:spPr>
        <p:txBody>
          <a:bodyPr/>
          <a:lstStyle>
            <a:lvl1pPr marL="0" indent="0">
              <a:buNone/>
              <a:defRPr sz="2100">
                <a:solidFill>
                  <a:srgbClr val="495965"/>
                </a:solidFill>
                <a:latin typeface="Verdana" panose="020B0604030504040204" pitchFamily="34" charset="0"/>
                <a:ea typeface="Verdana" panose="020B0604030504040204" pitchFamily="34" charset="0"/>
                <a:cs typeface="Verdana" panose="020B0604030504040204" pitchFamily="34" charset="0"/>
              </a:defRPr>
            </a:lvl1pPr>
            <a:lvl2pPr marL="342900" indent="0">
              <a:buNone/>
              <a:defRPr>
                <a:latin typeface="Verdana" panose="020B0604030504040204" pitchFamily="34" charset="0"/>
                <a:ea typeface="Verdana" panose="020B0604030504040204" pitchFamily="34" charset="0"/>
                <a:cs typeface="Verdana" panose="020B0604030504040204" pitchFamily="34" charset="0"/>
              </a:defRPr>
            </a:lvl2pPr>
            <a:lvl3pPr marL="685800" indent="0">
              <a:buNone/>
              <a:defRPr>
                <a:latin typeface="Verdana" panose="020B0604030504040204" pitchFamily="34" charset="0"/>
                <a:ea typeface="Verdana" panose="020B0604030504040204" pitchFamily="34" charset="0"/>
                <a:cs typeface="Verdana" panose="020B0604030504040204" pitchFamily="34" charset="0"/>
              </a:defRPr>
            </a:lvl3pPr>
            <a:lvl4pPr marL="1028700" indent="0">
              <a:buNone/>
              <a:defRPr>
                <a:latin typeface="Verdana" panose="020B0604030504040204" pitchFamily="34" charset="0"/>
                <a:ea typeface="Verdana" panose="020B0604030504040204" pitchFamily="34" charset="0"/>
                <a:cs typeface="Verdana" panose="020B0604030504040204" pitchFamily="34" charset="0"/>
              </a:defRPr>
            </a:lvl4pPr>
            <a:lvl5pPr marL="1371600"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ext here…</a:t>
            </a:r>
          </a:p>
        </p:txBody>
      </p:sp>
    </p:spTree>
    <p:extLst>
      <p:ext uri="{BB962C8B-B14F-4D97-AF65-F5344CB8AC3E}">
        <p14:creationId xmlns:p14="http://schemas.microsoft.com/office/powerpoint/2010/main" val="11541646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7756" y="288000"/>
            <a:ext cx="8115333" cy="288032"/>
          </a:xfrm>
          <a:prstGeom prst="rect">
            <a:avLst/>
          </a:prstGeom>
        </p:spPr>
        <p:txBody>
          <a:bodyPr/>
          <a:lstStyle>
            <a:lvl1pPr algn="r">
              <a:defRPr sz="1013" b="1" baseline="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lace title here, please do not move the position of this box</a:t>
            </a:r>
            <a:endParaRPr lang="en-GB" dirty="0"/>
          </a:p>
        </p:txBody>
      </p:sp>
      <p:sp>
        <p:nvSpPr>
          <p:cNvPr id="3" name="Slide Number Placeholder 2"/>
          <p:cNvSpPr>
            <a:spLocks noGrp="1"/>
          </p:cNvSpPr>
          <p:nvPr>
            <p:ph type="sldNum" sz="quarter" idx="10"/>
          </p:nvPr>
        </p:nvSpPr>
        <p:spPr/>
        <p:txBody>
          <a:bodyPr/>
          <a:lstStyle/>
          <a:p>
            <a:fld id="{2D0DF9ED-8BA0-410B-84D1-2D8774E69E9E}" type="slidenum">
              <a:rPr lang="en-GB" altLang="en-US" smtClean="0"/>
              <a:pPr/>
              <a:t>‹#›</a:t>
            </a:fld>
            <a:endParaRPr lang="en-GB" altLang="en-US" dirty="0"/>
          </a:p>
        </p:txBody>
      </p:sp>
      <p:sp>
        <p:nvSpPr>
          <p:cNvPr id="4" name="Content Placeholder 2"/>
          <p:cNvSpPr>
            <a:spLocks noGrp="1"/>
          </p:cNvSpPr>
          <p:nvPr>
            <p:ph idx="1" hasCustomPrompt="1"/>
          </p:nvPr>
        </p:nvSpPr>
        <p:spPr>
          <a:xfrm>
            <a:off x="527381" y="1556795"/>
            <a:ext cx="10972800" cy="3382955"/>
          </a:xfrm>
          <a:prstGeom prst="rect">
            <a:avLst/>
          </a:prstGeom>
        </p:spPr>
        <p:txBody>
          <a:bodyPr/>
          <a:lstStyle>
            <a:lvl1pPr marL="0" indent="0">
              <a:buNone/>
              <a:defRPr sz="2100">
                <a:solidFill>
                  <a:srgbClr val="495965"/>
                </a:solidFill>
                <a:latin typeface="Verdana" panose="020B0604030504040204" pitchFamily="34" charset="0"/>
                <a:ea typeface="Verdana" panose="020B0604030504040204" pitchFamily="34" charset="0"/>
                <a:cs typeface="Verdana" panose="020B0604030504040204" pitchFamily="34" charset="0"/>
              </a:defRPr>
            </a:lvl1pPr>
            <a:lvl2pPr marL="342900" indent="0">
              <a:buNone/>
              <a:defRPr>
                <a:latin typeface="Verdana" panose="020B0604030504040204" pitchFamily="34" charset="0"/>
                <a:ea typeface="Verdana" panose="020B0604030504040204" pitchFamily="34" charset="0"/>
                <a:cs typeface="Verdana" panose="020B0604030504040204" pitchFamily="34" charset="0"/>
              </a:defRPr>
            </a:lvl2pPr>
            <a:lvl3pPr marL="685800" indent="0">
              <a:buNone/>
              <a:defRPr>
                <a:latin typeface="Verdana" panose="020B0604030504040204" pitchFamily="34" charset="0"/>
                <a:ea typeface="Verdana" panose="020B0604030504040204" pitchFamily="34" charset="0"/>
                <a:cs typeface="Verdana" panose="020B0604030504040204" pitchFamily="34" charset="0"/>
              </a:defRPr>
            </a:lvl3pPr>
            <a:lvl4pPr marL="1028700" indent="0">
              <a:buNone/>
              <a:defRPr>
                <a:latin typeface="Verdana" panose="020B0604030504040204" pitchFamily="34" charset="0"/>
                <a:ea typeface="Verdana" panose="020B0604030504040204" pitchFamily="34" charset="0"/>
                <a:cs typeface="Verdana" panose="020B0604030504040204" pitchFamily="34" charset="0"/>
              </a:defRPr>
            </a:lvl4pPr>
            <a:lvl5pPr marL="1371600"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ext here…</a:t>
            </a:r>
          </a:p>
        </p:txBody>
      </p:sp>
    </p:spTree>
    <p:extLst>
      <p:ext uri="{BB962C8B-B14F-4D97-AF65-F5344CB8AC3E}">
        <p14:creationId xmlns:p14="http://schemas.microsoft.com/office/powerpoint/2010/main" val="38465861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66712" y="1428736"/>
            <a:ext cx="10972800" cy="1143000"/>
          </a:xfrm>
          <a:prstGeom prst="rect">
            <a:avLst/>
          </a:prstGeom>
        </p:spPr>
        <p:txBody>
          <a:bodyPr/>
          <a:lstStyle/>
          <a:p>
            <a:r>
              <a:rPr lang="en-US"/>
              <a:t>Click to edit Master title style</a:t>
            </a:r>
            <a:endParaRPr lang="en-GB"/>
          </a:p>
        </p:txBody>
      </p:sp>
      <p:sp>
        <p:nvSpPr>
          <p:cNvPr id="5" name="Slide Number Placeholder 4"/>
          <p:cNvSpPr>
            <a:spLocks noGrp="1"/>
          </p:cNvSpPr>
          <p:nvPr>
            <p:ph type="sldNum" sz="quarter" idx="12"/>
          </p:nvPr>
        </p:nvSpPr>
        <p:spPr>
          <a:xfrm>
            <a:off x="8737600" y="6356353"/>
            <a:ext cx="2844800" cy="365125"/>
          </a:xfrm>
          <a:prstGeom prst="rect">
            <a:avLst/>
          </a:prstGeom>
        </p:spPr>
        <p:txBody>
          <a:bodyPr/>
          <a:lstStyle/>
          <a:p>
            <a:fld id="{21E4C87E-3570-4FE7-8CB1-A6A8D61B2A20}"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5947238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7381" y="1556793"/>
            <a:ext cx="10972800" cy="3382955"/>
          </a:xfrm>
          <a:prstGeom prst="rect">
            <a:avLst/>
          </a:prstGeom>
        </p:spPr>
        <p:txBody>
          <a:bodyPr/>
          <a:lstStyle>
            <a:lvl1pPr>
              <a:defRPr>
                <a:solidFill>
                  <a:srgbClr val="495965"/>
                </a:solidFill>
                <a:latin typeface="Verdana" panose="020B0604030504040204" pitchFamily="34" charset="0"/>
                <a:ea typeface="Verdana" panose="020B0604030504040204" pitchFamily="34" charset="0"/>
                <a:cs typeface="Verdana" panose="020B0604030504040204" pitchFamily="34" charset="0"/>
              </a:defRPr>
            </a:lvl1pPr>
            <a:lvl2pPr>
              <a:defRPr>
                <a:solidFill>
                  <a:srgbClr val="495965"/>
                </a:solidFill>
                <a:latin typeface="Verdana" panose="020B0604030504040204" pitchFamily="34" charset="0"/>
                <a:ea typeface="Verdana" panose="020B0604030504040204" pitchFamily="34" charset="0"/>
                <a:cs typeface="Verdana" panose="020B0604030504040204" pitchFamily="34" charset="0"/>
              </a:defRPr>
            </a:lvl2pPr>
            <a:lvl3pPr>
              <a:defRPr>
                <a:solidFill>
                  <a:srgbClr val="495965"/>
                </a:solidFill>
                <a:latin typeface="Verdana" panose="020B0604030504040204" pitchFamily="34" charset="0"/>
                <a:ea typeface="Verdana" panose="020B0604030504040204" pitchFamily="34" charset="0"/>
                <a:cs typeface="Verdana" panose="020B0604030504040204" pitchFamily="34" charset="0"/>
              </a:defRPr>
            </a:lvl3pPr>
            <a:lvl4pPr>
              <a:defRPr>
                <a:solidFill>
                  <a:srgbClr val="495965"/>
                </a:solidFill>
                <a:latin typeface="Verdana" panose="020B0604030504040204" pitchFamily="34" charset="0"/>
                <a:ea typeface="Verdana" panose="020B0604030504040204" pitchFamily="34" charset="0"/>
                <a:cs typeface="Verdana" panose="020B0604030504040204" pitchFamily="34" charset="0"/>
              </a:defRPr>
            </a:lvl4pPr>
            <a:lvl5pPr>
              <a:defRPr>
                <a:solidFill>
                  <a:srgbClr val="495965"/>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5">
            <a:extLst>
              <a:ext uri="{FF2B5EF4-FFF2-40B4-BE49-F238E27FC236}">
                <a16:creationId xmlns:a16="http://schemas.microsoft.com/office/drawing/2014/main" id="{F3779063-46DA-7342-B97D-58A965EE6D99}"/>
              </a:ext>
            </a:extLst>
          </p:cNvPr>
          <p:cNvSpPr>
            <a:spLocks noGrp="1"/>
          </p:cNvSpPr>
          <p:nvPr>
            <p:ph type="sldNum" sz="quarter" idx="4"/>
          </p:nvPr>
        </p:nvSpPr>
        <p:spPr>
          <a:xfrm>
            <a:off x="11604128" y="6525345"/>
            <a:ext cx="2844800" cy="268139"/>
          </a:xfrm>
          <a:prstGeom prst="rect">
            <a:avLst/>
          </a:prstGeom>
        </p:spPr>
        <p:txBody>
          <a:bodyPr/>
          <a:lstStyle>
            <a:lvl1pPr>
              <a:defRPr sz="90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fld id="{2D0DF9ED-8BA0-410B-84D1-2D8774E69E9E}" type="slidenum">
              <a:rPr lang="en-GB" altLang="en-US" smtClean="0"/>
              <a:pPr/>
              <a:t>‹#›</a:t>
            </a:fld>
            <a:endParaRPr lang="en-GB" altLang="en-US" dirty="0"/>
          </a:p>
        </p:txBody>
      </p:sp>
      <p:sp>
        <p:nvSpPr>
          <p:cNvPr id="11" name="Title 1"/>
          <p:cNvSpPr>
            <a:spLocks noGrp="1"/>
          </p:cNvSpPr>
          <p:nvPr>
            <p:ph type="title" hasCustomPrompt="1"/>
          </p:nvPr>
        </p:nvSpPr>
        <p:spPr>
          <a:xfrm>
            <a:off x="3791744" y="260649"/>
            <a:ext cx="8160907" cy="288032"/>
          </a:xfrm>
          <a:prstGeom prst="rect">
            <a:avLst/>
          </a:prstGeom>
        </p:spPr>
        <p:txBody>
          <a:bodyPr tIns="72000"/>
          <a:lstStyle>
            <a:lvl1pPr algn="r">
              <a:defRPr sz="1350" b="1" baseline="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lace title here, please do not move the position of this box</a:t>
            </a:r>
            <a:endParaRPr lang="en-GB" dirty="0"/>
          </a:p>
        </p:txBody>
      </p:sp>
    </p:spTree>
    <p:extLst>
      <p:ext uri="{BB962C8B-B14F-4D97-AF65-F5344CB8AC3E}">
        <p14:creationId xmlns:p14="http://schemas.microsoft.com/office/powerpoint/2010/main" val="26619821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83766" y="288000"/>
            <a:ext cx="7996469" cy="288032"/>
          </a:xfrm>
          <a:prstGeom prst="rect">
            <a:avLst/>
          </a:prstGeom>
        </p:spPr>
        <p:txBody>
          <a:bodyPr/>
          <a:lstStyle>
            <a:lvl1pPr algn="r">
              <a:defRPr sz="1350" b="1" baseline="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lace title here, please do not move the position of this box</a:t>
            </a:r>
            <a:endParaRPr lang="en-GB" dirty="0"/>
          </a:p>
        </p:txBody>
      </p:sp>
      <p:sp>
        <p:nvSpPr>
          <p:cNvPr id="4" name="Slide Number Placeholder 5">
            <a:extLst>
              <a:ext uri="{FF2B5EF4-FFF2-40B4-BE49-F238E27FC236}">
                <a16:creationId xmlns:a16="http://schemas.microsoft.com/office/drawing/2014/main" id="{49EB0159-7AC8-4246-BB9E-B60FC531E7A2}"/>
              </a:ext>
            </a:extLst>
          </p:cNvPr>
          <p:cNvSpPr>
            <a:spLocks noGrp="1"/>
          </p:cNvSpPr>
          <p:nvPr>
            <p:ph type="sldNum" sz="quarter" idx="4"/>
          </p:nvPr>
        </p:nvSpPr>
        <p:spPr>
          <a:xfrm>
            <a:off x="11604128" y="6525345"/>
            <a:ext cx="2844800" cy="268139"/>
          </a:xfrm>
          <a:prstGeom prst="rect">
            <a:avLst/>
          </a:prstGeom>
        </p:spPr>
        <p:txBody>
          <a:bodyPr/>
          <a:lstStyle>
            <a:lvl1pPr>
              <a:defRPr sz="90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fld id="{2D0DF9ED-8BA0-410B-84D1-2D8774E69E9E}" type="slidenum">
              <a:rPr lang="en-GB" altLang="en-US" smtClean="0"/>
              <a:pPr/>
              <a:t>‹#›</a:t>
            </a:fld>
            <a:endParaRPr lang="en-GB" altLang="en-US" dirty="0"/>
          </a:p>
        </p:txBody>
      </p:sp>
      <p:sp>
        <p:nvSpPr>
          <p:cNvPr id="10" name="Content Placeholder 2"/>
          <p:cNvSpPr>
            <a:spLocks noGrp="1"/>
          </p:cNvSpPr>
          <p:nvPr>
            <p:ph idx="1" hasCustomPrompt="1"/>
          </p:nvPr>
        </p:nvSpPr>
        <p:spPr>
          <a:xfrm>
            <a:off x="527381" y="1556793"/>
            <a:ext cx="10972800" cy="3382955"/>
          </a:xfrm>
          <a:prstGeom prst="rect">
            <a:avLst/>
          </a:prstGeom>
        </p:spPr>
        <p:txBody>
          <a:bodyPr/>
          <a:lstStyle>
            <a:lvl1pPr marL="0" indent="0">
              <a:buNone/>
              <a:defRPr sz="2800">
                <a:solidFill>
                  <a:srgbClr val="495965"/>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a:latin typeface="Verdana" panose="020B0604030504040204" pitchFamily="34" charset="0"/>
                <a:ea typeface="Verdana" panose="020B0604030504040204" pitchFamily="34" charset="0"/>
                <a:cs typeface="Verdana" panose="020B0604030504040204" pitchFamily="34" charset="0"/>
              </a:defRPr>
            </a:lvl2pPr>
            <a:lvl3pPr marL="914400" indent="0">
              <a:buNone/>
              <a:defRPr>
                <a:latin typeface="Verdana" panose="020B0604030504040204" pitchFamily="34" charset="0"/>
                <a:ea typeface="Verdana" panose="020B0604030504040204" pitchFamily="34" charset="0"/>
                <a:cs typeface="Verdana" panose="020B0604030504040204" pitchFamily="34" charset="0"/>
              </a:defRPr>
            </a:lvl3pPr>
            <a:lvl4pPr marL="1371600" indent="0">
              <a:buNone/>
              <a:defRPr>
                <a:latin typeface="Verdana" panose="020B0604030504040204" pitchFamily="34" charset="0"/>
                <a:ea typeface="Verdana" panose="020B0604030504040204" pitchFamily="34" charset="0"/>
                <a:cs typeface="Verdana" panose="020B0604030504040204" pitchFamily="34" charset="0"/>
              </a:defRPr>
            </a:lvl4pPr>
            <a:lvl5pPr marL="1828800"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ext here…</a:t>
            </a:r>
          </a:p>
        </p:txBody>
      </p:sp>
    </p:spTree>
    <p:extLst>
      <p:ext uri="{BB962C8B-B14F-4D97-AF65-F5344CB8AC3E}">
        <p14:creationId xmlns:p14="http://schemas.microsoft.com/office/powerpoint/2010/main" val="15489278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 Spac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521267E-3022-A74A-971C-6C1E2121DF83}"/>
              </a:ext>
            </a:extLst>
          </p:cNvPr>
          <p:cNvPicPr>
            <a:picLocks noChangeAspect="1"/>
          </p:cNvPicPr>
          <p:nvPr/>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8E21D48B-0AA6-6545-8696-0290965D519C}"/>
              </a:ext>
            </a:extLst>
          </p:cNvPr>
          <p:cNvSpPr>
            <a:spLocks noGrp="1"/>
          </p:cNvSpPr>
          <p:nvPr>
            <p:ph type="title"/>
          </p:nvPr>
        </p:nvSpPr>
        <p:spPr>
          <a:xfrm>
            <a:off x="517629" y="1623373"/>
            <a:ext cx="3139971" cy="2166730"/>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2" name="Text Placeholder 11">
            <a:extLst>
              <a:ext uri="{FF2B5EF4-FFF2-40B4-BE49-F238E27FC236}">
                <a16:creationId xmlns:a16="http://schemas.microsoft.com/office/drawing/2014/main" id="{84AD00B6-DB3F-A94F-80AB-5497BFEDCD39}"/>
              </a:ext>
            </a:extLst>
          </p:cNvPr>
          <p:cNvSpPr>
            <a:spLocks noGrp="1"/>
          </p:cNvSpPr>
          <p:nvPr>
            <p:ph type="body" sz="quarter" idx="10" hasCustomPrompt="1"/>
          </p:nvPr>
        </p:nvSpPr>
        <p:spPr>
          <a:xfrm>
            <a:off x="3657600" y="1623373"/>
            <a:ext cx="3148908" cy="2932112"/>
          </a:xfrm>
          <a:prstGeom prst="rect">
            <a:avLst/>
          </a:prstGeom>
          <a:ln>
            <a:noFill/>
          </a:ln>
        </p:spPr>
        <p:txBody>
          <a:bodyPr/>
          <a:lstStyle>
            <a:lvl1pPr marL="0" indent="0">
              <a:buNone/>
              <a:defRPr sz="14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chemeClr val="tx1">
                    <a:lumMod val="65000"/>
                    <a:lumOff val="35000"/>
                  </a:schemeClr>
                </a:solidFill>
                <a:latin typeface="Helvetica Neue LT Std 45 Light" panose="020B0403020202020204" pitchFamily="34" charset="0"/>
              </a:defRPr>
            </a:lvl2pPr>
            <a:lvl3pPr marL="914377"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3pPr>
            <a:lvl4pPr marL="1371566"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r>
              <a:rPr lang="en-GB" dirty="0"/>
              <a:t>Second level</a:t>
            </a:r>
          </a:p>
          <a:p>
            <a:pPr lvl="1"/>
            <a:r>
              <a:rPr lang="en-GB" dirty="0"/>
              <a:t>Third level</a:t>
            </a:r>
          </a:p>
          <a:p>
            <a:pPr lvl="2"/>
            <a:r>
              <a:rPr lang="en-GB" dirty="0"/>
              <a:t>Fourth level</a:t>
            </a:r>
          </a:p>
          <a:p>
            <a:pPr lvl="3"/>
            <a:r>
              <a:rPr lang="en-GB" dirty="0"/>
              <a:t>Fifth level</a:t>
            </a:r>
            <a:endParaRPr lang="en-US" dirty="0"/>
          </a:p>
        </p:txBody>
      </p:sp>
      <p:pic>
        <p:nvPicPr>
          <p:cNvPr id="5" name="Picture 4">
            <a:extLst>
              <a:ext uri="{FF2B5EF4-FFF2-40B4-BE49-F238E27FC236}">
                <a16:creationId xmlns:a16="http://schemas.microsoft.com/office/drawing/2014/main" id="{D692D929-61E5-2249-9856-646EEDD981CC}"/>
              </a:ext>
            </a:extLst>
          </p:cNvPr>
          <p:cNvPicPr>
            <a:picLocks noChangeAspect="1"/>
          </p:cNvPicPr>
          <p:nvPr userDrawn="1"/>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3307081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7755" y="288000"/>
            <a:ext cx="8115333" cy="288032"/>
          </a:xfrm>
          <a:prstGeom prst="rect">
            <a:avLst/>
          </a:prstGeom>
        </p:spPr>
        <p:txBody>
          <a:bodyPr/>
          <a:lstStyle>
            <a:lvl1pPr algn="r">
              <a:defRPr sz="1350" b="1" baseline="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lace title here, please do not move the position of this box</a:t>
            </a:r>
            <a:endParaRPr lang="en-GB" dirty="0"/>
          </a:p>
        </p:txBody>
      </p:sp>
      <p:sp>
        <p:nvSpPr>
          <p:cNvPr id="3" name="Slide Number Placeholder 2"/>
          <p:cNvSpPr>
            <a:spLocks noGrp="1"/>
          </p:cNvSpPr>
          <p:nvPr>
            <p:ph type="sldNum" sz="quarter" idx="10"/>
          </p:nvPr>
        </p:nvSpPr>
        <p:spPr/>
        <p:txBody>
          <a:bodyPr/>
          <a:lstStyle/>
          <a:p>
            <a:fld id="{2D0DF9ED-8BA0-410B-84D1-2D8774E69E9E}" type="slidenum">
              <a:rPr lang="en-GB" altLang="en-US" smtClean="0"/>
              <a:pPr/>
              <a:t>‹#›</a:t>
            </a:fld>
            <a:endParaRPr lang="en-GB" altLang="en-US" dirty="0"/>
          </a:p>
        </p:txBody>
      </p:sp>
      <p:sp>
        <p:nvSpPr>
          <p:cNvPr id="4" name="Content Placeholder 2"/>
          <p:cNvSpPr>
            <a:spLocks noGrp="1"/>
          </p:cNvSpPr>
          <p:nvPr>
            <p:ph idx="1" hasCustomPrompt="1"/>
          </p:nvPr>
        </p:nvSpPr>
        <p:spPr>
          <a:xfrm>
            <a:off x="527381" y="1556793"/>
            <a:ext cx="10972800" cy="3382955"/>
          </a:xfrm>
          <a:prstGeom prst="rect">
            <a:avLst/>
          </a:prstGeom>
        </p:spPr>
        <p:txBody>
          <a:bodyPr/>
          <a:lstStyle>
            <a:lvl1pPr marL="0" indent="0">
              <a:buNone/>
              <a:defRPr sz="2800">
                <a:solidFill>
                  <a:srgbClr val="495965"/>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a:latin typeface="Verdana" panose="020B0604030504040204" pitchFamily="34" charset="0"/>
                <a:ea typeface="Verdana" panose="020B0604030504040204" pitchFamily="34" charset="0"/>
                <a:cs typeface="Verdana" panose="020B0604030504040204" pitchFamily="34" charset="0"/>
              </a:defRPr>
            </a:lvl2pPr>
            <a:lvl3pPr marL="914400" indent="0">
              <a:buNone/>
              <a:defRPr>
                <a:latin typeface="Verdana" panose="020B0604030504040204" pitchFamily="34" charset="0"/>
                <a:ea typeface="Verdana" panose="020B0604030504040204" pitchFamily="34" charset="0"/>
                <a:cs typeface="Verdana" panose="020B0604030504040204" pitchFamily="34" charset="0"/>
              </a:defRPr>
            </a:lvl3pPr>
            <a:lvl4pPr marL="1371600" indent="0">
              <a:buNone/>
              <a:defRPr>
                <a:latin typeface="Verdana" panose="020B0604030504040204" pitchFamily="34" charset="0"/>
                <a:ea typeface="Verdana" panose="020B0604030504040204" pitchFamily="34" charset="0"/>
                <a:cs typeface="Verdana" panose="020B0604030504040204" pitchFamily="34" charset="0"/>
              </a:defRPr>
            </a:lvl4pPr>
            <a:lvl5pPr marL="1828800" indent="0">
              <a:buNone/>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Add text here…</a:t>
            </a:r>
          </a:p>
        </p:txBody>
      </p:sp>
    </p:spTree>
    <p:extLst>
      <p:ext uri="{BB962C8B-B14F-4D97-AF65-F5344CB8AC3E}">
        <p14:creationId xmlns:p14="http://schemas.microsoft.com/office/powerpoint/2010/main" val="22208463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66712" y="1428736"/>
            <a:ext cx="10972800" cy="1143000"/>
          </a:xfrm>
          <a:prstGeom prst="rect">
            <a:avLst/>
          </a:prstGeom>
        </p:spPr>
        <p:txBody>
          <a:bodyPr/>
          <a:lstStyle/>
          <a:p>
            <a:r>
              <a:rPr lang="en-US"/>
              <a:t>Click to edit Master title style</a:t>
            </a:r>
            <a:endParaRPr lang="en-GB"/>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fld id="{21E4C87E-3570-4FE7-8CB1-A6A8D61B2A20}"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37379479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CE18BB-8A9A-4230-868D-0996713794E9}"/>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3" name="Text Placeholder 2">
            <a:extLst>
              <a:ext uri="{FF2B5EF4-FFF2-40B4-BE49-F238E27FC236}">
                <a16:creationId xmlns:a16="http://schemas.microsoft.com/office/drawing/2014/main" id="{3A043140-9E20-47E5-ADE6-D31C09457807}"/>
              </a:ext>
            </a:extLst>
          </p:cNvPr>
          <p:cNvSpPr>
            <a:spLocks noGrp="1"/>
          </p:cNvSpPr>
          <p:nvPr>
            <p:ph type="body" sz="quarter" idx="15"/>
          </p:nvPr>
        </p:nvSpPr>
        <p:spPr>
          <a:xfrm>
            <a:off x="431800" y="1416001"/>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6" name="Text Placeholder 2">
            <a:extLst>
              <a:ext uri="{FF2B5EF4-FFF2-40B4-BE49-F238E27FC236}">
                <a16:creationId xmlns:a16="http://schemas.microsoft.com/office/drawing/2014/main" id="{1825EDD5-C8D0-479D-8200-3E2F103CDD2A}"/>
              </a:ext>
            </a:extLst>
          </p:cNvPr>
          <p:cNvSpPr>
            <a:spLocks noGrp="1"/>
          </p:cNvSpPr>
          <p:nvPr>
            <p:ph type="body" sz="quarter" idx="16"/>
          </p:nvPr>
        </p:nvSpPr>
        <p:spPr>
          <a:xfrm>
            <a:off x="431800" y="1791735"/>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98FBF951-2FE8-4B4E-8C56-DDECA1E6F8E1}"/>
              </a:ext>
            </a:extLst>
          </p:cNvPr>
          <p:cNvSpPr/>
          <p:nvPr userDrawn="1"/>
        </p:nvSpPr>
        <p:spPr>
          <a:xfrm>
            <a:off x="12514257" y="-2970"/>
            <a:ext cx="2576459" cy="413022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a:p>
            <a:pPr>
              <a:spcAft>
                <a:spcPts val="136"/>
              </a:spcAft>
            </a:pPr>
            <a:r>
              <a:rPr lang="en-GB" sz="849" kern="1200" noProof="0" dirty="0">
                <a:solidFill>
                  <a:schemeClr val="bg1">
                    <a:lumMod val="50000"/>
                  </a:schemeClr>
                </a:solidFill>
                <a:latin typeface="+mn-lt"/>
                <a:ea typeface="+mn-ea"/>
                <a:cs typeface="+mn-cs"/>
              </a:rPr>
              <a:t>When you have placed your image you may need to change the colour of the text so it can be seen against the image. This can be changed to dark grey or white.</a:t>
            </a:r>
          </a:p>
        </p:txBody>
      </p:sp>
      <p:sp>
        <p:nvSpPr>
          <p:cNvPr id="7" name="Rectangle 6">
            <a:hlinkClick r:id="rId2"/>
            <a:extLst>
              <a:ext uri="{FF2B5EF4-FFF2-40B4-BE49-F238E27FC236}">
                <a16:creationId xmlns:a16="http://schemas.microsoft.com/office/drawing/2014/main" id="{0A0E5D64-357E-499F-BEC7-89044AF1284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3" name="Picture 12">
            <a:extLst>
              <a:ext uri="{FF2B5EF4-FFF2-40B4-BE49-F238E27FC236}">
                <a16:creationId xmlns:a16="http://schemas.microsoft.com/office/drawing/2014/main" id="{DC0E0B6B-9082-4BDB-A555-BA6DEB512DD5}"/>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4" name="Title 3">
            <a:extLst>
              <a:ext uri="{FF2B5EF4-FFF2-40B4-BE49-F238E27FC236}">
                <a16:creationId xmlns:a16="http://schemas.microsoft.com/office/drawing/2014/main" id="{85FE02F7-EA91-42A2-AC0B-ADF0B456DEC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Tree>
    <p:extLst>
      <p:ext uri="{BB962C8B-B14F-4D97-AF65-F5344CB8AC3E}">
        <p14:creationId xmlns:p14="http://schemas.microsoft.com/office/powerpoint/2010/main" val="280849426"/>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ey message lef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D4D86A5-6CC8-471F-8BD3-04C9F0CDCDD9}"/>
              </a:ext>
            </a:extLst>
          </p:cNvPr>
          <p:cNvSpPr>
            <a:spLocks noGrp="1"/>
          </p:cNvSpPr>
          <p:nvPr>
            <p:ph type="pic" sz="quarter" idx="16" hasCustomPrompt="1"/>
          </p:nvPr>
        </p:nvSpPr>
        <p:spPr>
          <a:xfrm>
            <a:off x="2706879" y="0"/>
            <a:ext cx="9485121" cy="6857037"/>
          </a:xfrm>
          <a:custGeom>
            <a:avLst/>
            <a:gdLst>
              <a:gd name="connsiteX0" fmla="*/ 925004 w 7113841"/>
              <a:gd name="connsiteY0" fmla="*/ 0 h 5142778"/>
              <a:gd name="connsiteX1" fmla="*/ 7113841 w 7113841"/>
              <a:gd name="connsiteY1" fmla="*/ 0 h 5142778"/>
              <a:gd name="connsiteX2" fmla="*/ 7113841 w 7113841"/>
              <a:gd name="connsiteY2" fmla="*/ 4345781 h 5142778"/>
              <a:gd name="connsiteX3" fmla="*/ 7113839 w 7113841"/>
              <a:gd name="connsiteY3" fmla="*/ 4345781 h 5142778"/>
              <a:gd name="connsiteX4" fmla="*/ 7113839 w 7113841"/>
              <a:gd name="connsiteY4" fmla="*/ 4344165 h 5142778"/>
              <a:gd name="connsiteX5" fmla="*/ 7065051 w 7113841"/>
              <a:gd name="connsiteY5" fmla="*/ 4326824 h 5142778"/>
              <a:gd name="connsiteX6" fmla="*/ 7016980 w 7113841"/>
              <a:gd name="connsiteY6" fmla="*/ 4310591 h 5142778"/>
              <a:gd name="connsiteX7" fmla="*/ 6969613 w 7113841"/>
              <a:gd name="connsiteY7" fmla="*/ 4295447 h 5142778"/>
              <a:gd name="connsiteX8" fmla="*/ 6922939 w 7113841"/>
              <a:gd name="connsiteY8" fmla="*/ 4281374 h 5142778"/>
              <a:gd name="connsiteX9" fmla="*/ 6876941 w 7113841"/>
              <a:gd name="connsiteY9" fmla="*/ 4268353 h 5142778"/>
              <a:gd name="connsiteX10" fmla="*/ 6831609 w 7113841"/>
              <a:gd name="connsiteY10" fmla="*/ 4256365 h 5142778"/>
              <a:gd name="connsiteX11" fmla="*/ 6786928 w 7113841"/>
              <a:gd name="connsiteY11" fmla="*/ 4245394 h 5142778"/>
              <a:gd name="connsiteX12" fmla="*/ 6742887 w 7113841"/>
              <a:gd name="connsiteY12" fmla="*/ 4235421 h 5142778"/>
              <a:gd name="connsiteX13" fmla="*/ 6699472 w 7113841"/>
              <a:gd name="connsiteY13" fmla="*/ 4226427 h 5142778"/>
              <a:gd name="connsiteX14" fmla="*/ 6656669 w 7113841"/>
              <a:gd name="connsiteY14" fmla="*/ 4218394 h 5142778"/>
              <a:gd name="connsiteX15" fmla="*/ 6614465 w 7113841"/>
              <a:gd name="connsiteY15" fmla="*/ 4211304 h 5142778"/>
              <a:gd name="connsiteX16" fmla="*/ 6572851 w 7113841"/>
              <a:gd name="connsiteY16" fmla="*/ 4205138 h 5142778"/>
              <a:gd name="connsiteX17" fmla="*/ 6552259 w 7113841"/>
              <a:gd name="connsiteY17" fmla="*/ 4202397 h 5142778"/>
              <a:gd name="connsiteX18" fmla="*/ 6531808 w 7113841"/>
              <a:gd name="connsiteY18" fmla="*/ 4199880 h 5142778"/>
              <a:gd name="connsiteX19" fmla="*/ 6511499 w 7113841"/>
              <a:gd name="connsiteY19" fmla="*/ 4197584 h 5142778"/>
              <a:gd name="connsiteX20" fmla="*/ 6491327 w 7113841"/>
              <a:gd name="connsiteY20" fmla="*/ 4195509 h 5142778"/>
              <a:gd name="connsiteX21" fmla="*/ 6471293 w 7113841"/>
              <a:gd name="connsiteY21" fmla="*/ 4193650 h 5142778"/>
              <a:gd name="connsiteX22" fmla="*/ 6451393 w 7113841"/>
              <a:gd name="connsiteY22" fmla="*/ 4192007 h 5142778"/>
              <a:gd name="connsiteX23" fmla="*/ 6431629 w 7113841"/>
              <a:gd name="connsiteY23" fmla="*/ 4190577 h 5142778"/>
              <a:gd name="connsiteX24" fmla="*/ 6411994 w 7113841"/>
              <a:gd name="connsiteY24" fmla="*/ 4189358 h 5142778"/>
              <a:gd name="connsiteX25" fmla="*/ 6392492 w 7113841"/>
              <a:gd name="connsiteY25" fmla="*/ 4188346 h 5142778"/>
              <a:gd name="connsiteX26" fmla="*/ 6373117 w 7113841"/>
              <a:gd name="connsiteY26" fmla="*/ 4187541 h 5142778"/>
              <a:gd name="connsiteX27" fmla="*/ 6353871 w 7113841"/>
              <a:gd name="connsiteY27" fmla="*/ 4186940 h 5142778"/>
              <a:gd name="connsiteX28" fmla="*/ 6334749 w 7113841"/>
              <a:gd name="connsiteY28" fmla="*/ 4186540 h 5142778"/>
              <a:gd name="connsiteX29" fmla="*/ 6315752 w 7113841"/>
              <a:gd name="connsiteY29" fmla="*/ 4186339 h 5142778"/>
              <a:gd name="connsiteX30" fmla="*/ 6296876 w 7113841"/>
              <a:gd name="connsiteY30" fmla="*/ 4186336 h 5142778"/>
              <a:gd name="connsiteX31" fmla="*/ 6278122 w 7113841"/>
              <a:gd name="connsiteY31" fmla="*/ 4186526 h 5142778"/>
              <a:gd name="connsiteX32" fmla="*/ 6259485 w 7113841"/>
              <a:gd name="connsiteY32" fmla="*/ 4186909 h 5142778"/>
              <a:gd name="connsiteX33" fmla="*/ 6240968 w 7113841"/>
              <a:gd name="connsiteY33" fmla="*/ 4187483 h 5142778"/>
              <a:gd name="connsiteX34" fmla="*/ 6222565 w 7113841"/>
              <a:gd name="connsiteY34" fmla="*/ 4188243 h 5142778"/>
              <a:gd name="connsiteX35" fmla="*/ 6204277 w 7113841"/>
              <a:gd name="connsiteY35" fmla="*/ 4189190 h 5142778"/>
              <a:gd name="connsiteX36" fmla="*/ 6186101 w 7113841"/>
              <a:gd name="connsiteY36" fmla="*/ 4190320 h 5142778"/>
              <a:gd name="connsiteX37" fmla="*/ 6168036 w 7113841"/>
              <a:gd name="connsiteY37" fmla="*/ 4191630 h 5142778"/>
              <a:gd name="connsiteX38" fmla="*/ 6150080 w 7113841"/>
              <a:gd name="connsiteY38" fmla="*/ 4193119 h 5142778"/>
              <a:gd name="connsiteX39" fmla="*/ 6132232 w 7113841"/>
              <a:gd name="connsiteY39" fmla="*/ 4194785 h 5142778"/>
              <a:gd name="connsiteX40" fmla="*/ 6114490 w 7113841"/>
              <a:gd name="connsiteY40" fmla="*/ 4196625 h 5142778"/>
              <a:gd name="connsiteX41" fmla="*/ 6096852 w 7113841"/>
              <a:gd name="connsiteY41" fmla="*/ 4198636 h 5142778"/>
              <a:gd name="connsiteX42" fmla="*/ 6079317 w 7113841"/>
              <a:gd name="connsiteY42" fmla="*/ 4200817 h 5142778"/>
              <a:gd name="connsiteX43" fmla="*/ 6061883 w 7113841"/>
              <a:gd name="connsiteY43" fmla="*/ 4203166 h 5142778"/>
              <a:gd name="connsiteX44" fmla="*/ 6044549 w 7113841"/>
              <a:gd name="connsiteY44" fmla="*/ 4205679 h 5142778"/>
              <a:gd name="connsiteX45" fmla="*/ 6027313 w 7113841"/>
              <a:gd name="connsiteY45" fmla="*/ 4208355 h 5142778"/>
              <a:gd name="connsiteX46" fmla="*/ 6010172 w 7113841"/>
              <a:gd name="connsiteY46" fmla="*/ 4211191 h 5142778"/>
              <a:gd name="connsiteX47" fmla="*/ 5976173 w 7113841"/>
              <a:gd name="connsiteY47" fmla="*/ 4217335 h 5142778"/>
              <a:gd name="connsiteX48" fmla="*/ 5942540 w 7113841"/>
              <a:gd name="connsiteY48" fmla="*/ 4224094 h 5142778"/>
              <a:gd name="connsiteX49" fmla="*/ 5892747 w 7113841"/>
              <a:gd name="connsiteY49" fmla="*/ 4235344 h 5142778"/>
              <a:gd name="connsiteX50" fmla="*/ 5859970 w 7113841"/>
              <a:gd name="connsiteY50" fmla="*/ 4243558 h 5142778"/>
              <a:gd name="connsiteX51" fmla="*/ 5827512 w 7113841"/>
              <a:gd name="connsiteY51" fmla="*/ 4252322 h 5142778"/>
              <a:gd name="connsiteX52" fmla="*/ 5795362 w 7113841"/>
              <a:gd name="connsiteY52" fmla="*/ 4261618 h 5142778"/>
              <a:gd name="connsiteX53" fmla="*/ 5763504 w 7113841"/>
              <a:gd name="connsiteY53" fmla="*/ 4271428 h 5142778"/>
              <a:gd name="connsiteX54" fmla="*/ 5731928 w 7113841"/>
              <a:gd name="connsiteY54" fmla="*/ 4281734 h 5142778"/>
              <a:gd name="connsiteX55" fmla="*/ 5700619 w 7113841"/>
              <a:gd name="connsiteY55" fmla="*/ 4292517 h 5142778"/>
              <a:gd name="connsiteX56" fmla="*/ 5669565 w 7113841"/>
              <a:gd name="connsiteY56" fmla="*/ 4303758 h 5142778"/>
              <a:gd name="connsiteX57" fmla="*/ 5638752 w 7113841"/>
              <a:gd name="connsiteY57" fmla="*/ 4315440 h 5142778"/>
              <a:gd name="connsiteX58" fmla="*/ 5608167 w 7113841"/>
              <a:gd name="connsiteY58" fmla="*/ 4327545 h 5142778"/>
              <a:gd name="connsiteX59" fmla="*/ 5577799 w 7113841"/>
              <a:gd name="connsiteY59" fmla="*/ 4340054 h 5142778"/>
              <a:gd name="connsiteX60" fmla="*/ 5547632 w 7113841"/>
              <a:gd name="connsiteY60" fmla="*/ 4352948 h 5142778"/>
              <a:gd name="connsiteX61" fmla="*/ 5517655 w 7113841"/>
              <a:gd name="connsiteY61" fmla="*/ 4366210 h 5142778"/>
              <a:gd name="connsiteX62" fmla="*/ 5487855 w 7113841"/>
              <a:gd name="connsiteY62" fmla="*/ 4379822 h 5142778"/>
              <a:gd name="connsiteX63" fmla="*/ 5443456 w 7113841"/>
              <a:gd name="connsiteY63" fmla="*/ 4400854 h 5142778"/>
              <a:gd name="connsiteX64" fmla="*/ 5399381 w 7113841"/>
              <a:gd name="connsiteY64" fmla="*/ 4422570 h 5142778"/>
              <a:gd name="connsiteX65" fmla="*/ 5355585 w 7113841"/>
              <a:gd name="connsiteY65" fmla="*/ 4444908 h 5142778"/>
              <a:gd name="connsiteX66" fmla="*/ 5312025 w 7113841"/>
              <a:gd name="connsiteY66" fmla="*/ 4467805 h 5142778"/>
              <a:gd name="connsiteX67" fmla="*/ 5254235 w 7113841"/>
              <a:gd name="connsiteY67" fmla="*/ 4499099 h 5142778"/>
              <a:gd name="connsiteX68" fmla="*/ 5167962 w 7113841"/>
              <a:gd name="connsiteY68" fmla="*/ 4547383 h 5142778"/>
              <a:gd name="connsiteX69" fmla="*/ 4952295 w 7113841"/>
              <a:gd name="connsiteY69" fmla="*/ 4672140 h 5142778"/>
              <a:gd name="connsiteX70" fmla="*/ 4791671 w 7113841"/>
              <a:gd name="connsiteY70" fmla="*/ 4763822 h 5142778"/>
              <a:gd name="connsiteX71" fmla="*/ 4717297 w 7113841"/>
              <a:gd name="connsiteY71" fmla="*/ 4804607 h 5142778"/>
              <a:gd name="connsiteX72" fmla="*/ 4656988 w 7113841"/>
              <a:gd name="connsiteY72" fmla="*/ 4836560 h 5142778"/>
              <a:gd name="connsiteX73" fmla="*/ 4611217 w 7113841"/>
              <a:gd name="connsiteY73" fmla="*/ 4860036 h 5142778"/>
              <a:gd name="connsiteX74" fmla="*/ 4564933 w 7113841"/>
              <a:gd name="connsiteY74" fmla="*/ 4883024 h 5142778"/>
              <a:gd name="connsiteX75" fmla="*/ 4518093 w 7113841"/>
              <a:gd name="connsiteY75" fmla="*/ 4905462 h 5142778"/>
              <a:gd name="connsiteX76" fmla="*/ 4470653 w 7113841"/>
              <a:gd name="connsiteY76" fmla="*/ 4927290 h 5142778"/>
              <a:gd name="connsiteX77" fmla="*/ 4438671 w 7113841"/>
              <a:gd name="connsiteY77" fmla="*/ 4941472 h 5142778"/>
              <a:gd name="connsiteX78" fmla="*/ 4406390 w 7113841"/>
              <a:gd name="connsiteY78" fmla="*/ 4955337 h 5142778"/>
              <a:gd name="connsiteX79" fmla="*/ 4373797 w 7113841"/>
              <a:gd name="connsiteY79" fmla="*/ 4968866 h 5142778"/>
              <a:gd name="connsiteX80" fmla="*/ 4340879 w 7113841"/>
              <a:gd name="connsiteY80" fmla="*/ 4982041 h 5142778"/>
              <a:gd name="connsiteX81" fmla="*/ 4307622 w 7113841"/>
              <a:gd name="connsiteY81" fmla="*/ 4994845 h 5142778"/>
              <a:gd name="connsiteX82" fmla="*/ 4274014 w 7113841"/>
              <a:gd name="connsiteY82" fmla="*/ 5007258 h 5142778"/>
              <a:gd name="connsiteX83" fmla="*/ 4240041 w 7113841"/>
              <a:gd name="connsiteY83" fmla="*/ 5019263 h 5142778"/>
              <a:gd name="connsiteX84" fmla="*/ 4205691 w 7113841"/>
              <a:gd name="connsiteY84" fmla="*/ 5030841 h 5142778"/>
              <a:gd name="connsiteX85" fmla="*/ 4170950 w 7113841"/>
              <a:gd name="connsiteY85" fmla="*/ 5041974 h 5142778"/>
              <a:gd name="connsiteX86" fmla="*/ 4135806 w 7113841"/>
              <a:gd name="connsiteY86" fmla="*/ 5052643 h 5142778"/>
              <a:gd name="connsiteX87" fmla="*/ 4100246 w 7113841"/>
              <a:gd name="connsiteY87" fmla="*/ 5062831 h 5142778"/>
              <a:gd name="connsiteX88" fmla="*/ 4064256 w 7113841"/>
              <a:gd name="connsiteY88" fmla="*/ 5072519 h 5142778"/>
              <a:gd name="connsiteX89" fmla="*/ 4027823 w 7113841"/>
              <a:gd name="connsiteY89" fmla="*/ 5081689 h 5142778"/>
              <a:gd name="connsiteX90" fmla="*/ 3990935 w 7113841"/>
              <a:gd name="connsiteY90" fmla="*/ 5090323 h 5142778"/>
              <a:gd name="connsiteX91" fmla="*/ 3953578 w 7113841"/>
              <a:gd name="connsiteY91" fmla="*/ 5098402 h 5142778"/>
              <a:gd name="connsiteX92" fmla="*/ 3915739 w 7113841"/>
              <a:gd name="connsiteY92" fmla="*/ 5105908 h 5142778"/>
              <a:gd name="connsiteX93" fmla="*/ 3877406 w 7113841"/>
              <a:gd name="connsiteY93" fmla="*/ 5112824 h 5142778"/>
              <a:gd name="connsiteX94" fmla="*/ 3838565 w 7113841"/>
              <a:gd name="connsiteY94" fmla="*/ 5119129 h 5142778"/>
              <a:gd name="connsiteX95" fmla="*/ 3799203 w 7113841"/>
              <a:gd name="connsiteY95" fmla="*/ 5124807 h 5142778"/>
              <a:gd name="connsiteX96" fmla="*/ 3759308 w 7113841"/>
              <a:gd name="connsiteY96" fmla="*/ 5129839 h 5142778"/>
              <a:gd name="connsiteX97" fmla="*/ 3718865 w 7113841"/>
              <a:gd name="connsiteY97" fmla="*/ 5134207 h 5142778"/>
              <a:gd name="connsiteX98" fmla="*/ 3677863 w 7113841"/>
              <a:gd name="connsiteY98" fmla="*/ 5137893 h 5142778"/>
              <a:gd name="connsiteX99" fmla="*/ 3636288 w 7113841"/>
              <a:gd name="connsiteY99" fmla="*/ 5140877 h 5142778"/>
              <a:gd name="connsiteX100" fmla="*/ 3600919 w 7113841"/>
              <a:gd name="connsiteY100" fmla="*/ 5142778 h 5142778"/>
              <a:gd name="connsiteX101" fmla="*/ 0 w 7113841"/>
              <a:gd name="connsiteY101" fmla="*/ 5142778 h 5142778"/>
              <a:gd name="connsiteX102" fmla="*/ 36355 w 7113841"/>
              <a:gd name="connsiteY102" fmla="*/ 5078128 h 5142778"/>
              <a:gd name="connsiteX103" fmla="*/ 85405 w 7113841"/>
              <a:gd name="connsiteY103" fmla="*/ 4991843 h 5142778"/>
              <a:gd name="connsiteX104" fmla="*/ 164324 w 7113841"/>
              <a:gd name="connsiteY104" fmla="*/ 4854690 h 5142778"/>
              <a:gd name="connsiteX105" fmla="*/ 381230 w 7113841"/>
              <a:gd name="connsiteY105" fmla="*/ 4481186 h 5142778"/>
              <a:gd name="connsiteX106" fmla="*/ 439596 w 7113841"/>
              <a:gd name="connsiteY106" fmla="*/ 4379712 h 5142778"/>
              <a:gd name="connsiteX107" fmla="*/ 478157 w 7113841"/>
              <a:gd name="connsiteY107" fmla="*/ 4312042 h 5142778"/>
              <a:gd name="connsiteX108" fmla="*/ 516383 w 7113841"/>
              <a:gd name="connsiteY108" fmla="*/ 4244314 h 5142778"/>
              <a:gd name="connsiteX109" fmla="*/ 544803 w 7113841"/>
              <a:gd name="connsiteY109" fmla="*/ 4193459 h 5142778"/>
              <a:gd name="connsiteX110" fmla="*/ 572987 w 7113841"/>
              <a:gd name="connsiteY110" fmla="*/ 4142538 h 5142778"/>
              <a:gd name="connsiteX111" fmla="*/ 591636 w 7113841"/>
              <a:gd name="connsiteY111" fmla="*/ 4108547 h 5142778"/>
              <a:gd name="connsiteX112" fmla="*/ 610163 w 7113841"/>
              <a:gd name="connsiteY112" fmla="*/ 4074516 h 5142778"/>
              <a:gd name="connsiteX113" fmla="*/ 628565 w 7113841"/>
              <a:gd name="connsiteY113" fmla="*/ 4040440 h 5142778"/>
              <a:gd name="connsiteX114" fmla="*/ 646835 w 7113841"/>
              <a:gd name="connsiteY114" fmla="*/ 4006315 h 5142778"/>
              <a:gd name="connsiteX115" fmla="*/ 664966 w 7113841"/>
              <a:gd name="connsiteY115" fmla="*/ 3972137 h 5142778"/>
              <a:gd name="connsiteX116" fmla="*/ 682954 w 7113841"/>
              <a:gd name="connsiteY116" fmla="*/ 3937902 h 5142778"/>
              <a:gd name="connsiteX117" fmla="*/ 691892 w 7113841"/>
              <a:gd name="connsiteY117" fmla="*/ 3920762 h 5142778"/>
              <a:gd name="connsiteX118" fmla="*/ 700791 w 7113841"/>
              <a:gd name="connsiteY118" fmla="*/ 3903606 h 5142778"/>
              <a:gd name="connsiteX119" fmla="*/ 709652 w 7113841"/>
              <a:gd name="connsiteY119" fmla="*/ 3886433 h 5142778"/>
              <a:gd name="connsiteX120" fmla="*/ 718472 w 7113841"/>
              <a:gd name="connsiteY120" fmla="*/ 3869243 h 5142778"/>
              <a:gd name="connsiteX121" fmla="*/ 727252 w 7113841"/>
              <a:gd name="connsiteY121" fmla="*/ 3852035 h 5142778"/>
              <a:gd name="connsiteX122" fmla="*/ 735991 w 7113841"/>
              <a:gd name="connsiteY122" fmla="*/ 3834810 h 5142778"/>
              <a:gd name="connsiteX123" fmla="*/ 744687 w 7113841"/>
              <a:gd name="connsiteY123" fmla="*/ 3817565 h 5142778"/>
              <a:gd name="connsiteX124" fmla="*/ 753341 w 7113841"/>
              <a:gd name="connsiteY124" fmla="*/ 3800302 h 5142778"/>
              <a:gd name="connsiteX125" fmla="*/ 761951 w 7113841"/>
              <a:gd name="connsiteY125" fmla="*/ 3783019 h 5142778"/>
              <a:gd name="connsiteX126" fmla="*/ 770517 w 7113841"/>
              <a:gd name="connsiteY126" fmla="*/ 3765715 h 5142778"/>
              <a:gd name="connsiteX127" fmla="*/ 779038 w 7113841"/>
              <a:gd name="connsiteY127" fmla="*/ 3748391 h 5142778"/>
              <a:gd name="connsiteX128" fmla="*/ 787512 w 7113841"/>
              <a:gd name="connsiteY128" fmla="*/ 3731046 h 5142778"/>
              <a:gd name="connsiteX129" fmla="*/ 795941 w 7113841"/>
              <a:gd name="connsiteY129" fmla="*/ 3713678 h 5142778"/>
              <a:gd name="connsiteX130" fmla="*/ 804322 w 7113841"/>
              <a:gd name="connsiteY130" fmla="*/ 3696288 h 5142778"/>
              <a:gd name="connsiteX131" fmla="*/ 812655 w 7113841"/>
              <a:gd name="connsiteY131" fmla="*/ 3678875 h 5142778"/>
              <a:gd name="connsiteX132" fmla="*/ 820938 w 7113841"/>
              <a:gd name="connsiteY132" fmla="*/ 3661439 h 5142778"/>
              <a:gd name="connsiteX133" fmla="*/ 829172 w 7113841"/>
              <a:gd name="connsiteY133" fmla="*/ 3643979 h 5142778"/>
              <a:gd name="connsiteX134" fmla="*/ 837357 w 7113841"/>
              <a:gd name="connsiteY134" fmla="*/ 3626494 h 5142778"/>
              <a:gd name="connsiteX135" fmla="*/ 845490 w 7113841"/>
              <a:gd name="connsiteY135" fmla="*/ 3608984 h 5142778"/>
              <a:gd name="connsiteX136" fmla="*/ 853571 w 7113841"/>
              <a:gd name="connsiteY136" fmla="*/ 3591449 h 5142778"/>
              <a:gd name="connsiteX137" fmla="*/ 861599 w 7113841"/>
              <a:gd name="connsiteY137" fmla="*/ 3573886 h 5142778"/>
              <a:gd name="connsiteX138" fmla="*/ 869574 w 7113841"/>
              <a:gd name="connsiteY138" fmla="*/ 3556298 h 5142778"/>
              <a:gd name="connsiteX139" fmla="*/ 877495 w 7113841"/>
              <a:gd name="connsiteY139" fmla="*/ 3538682 h 5142778"/>
              <a:gd name="connsiteX140" fmla="*/ 885361 w 7113841"/>
              <a:gd name="connsiteY140" fmla="*/ 3521039 h 5142778"/>
              <a:gd name="connsiteX141" fmla="*/ 893171 w 7113841"/>
              <a:gd name="connsiteY141" fmla="*/ 3503367 h 5142778"/>
              <a:gd name="connsiteX142" fmla="*/ 900925 w 7113841"/>
              <a:gd name="connsiteY142" fmla="*/ 3485666 h 5142778"/>
              <a:gd name="connsiteX143" fmla="*/ 908622 w 7113841"/>
              <a:gd name="connsiteY143" fmla="*/ 3467936 h 5142778"/>
              <a:gd name="connsiteX144" fmla="*/ 916260 w 7113841"/>
              <a:gd name="connsiteY144" fmla="*/ 3450176 h 5142778"/>
              <a:gd name="connsiteX145" fmla="*/ 923841 w 7113841"/>
              <a:gd name="connsiteY145" fmla="*/ 3432385 h 5142778"/>
              <a:gd name="connsiteX146" fmla="*/ 931361 w 7113841"/>
              <a:gd name="connsiteY146" fmla="*/ 3414563 h 5142778"/>
              <a:gd name="connsiteX147" fmla="*/ 938822 w 7113841"/>
              <a:gd name="connsiteY147" fmla="*/ 3396710 h 5142778"/>
              <a:gd name="connsiteX148" fmla="*/ 946221 w 7113841"/>
              <a:gd name="connsiteY148" fmla="*/ 3378825 h 5142778"/>
              <a:gd name="connsiteX149" fmla="*/ 953559 w 7113841"/>
              <a:gd name="connsiteY149" fmla="*/ 3360907 h 5142778"/>
              <a:gd name="connsiteX150" fmla="*/ 960835 w 7113841"/>
              <a:gd name="connsiteY150" fmla="*/ 3342956 h 5142778"/>
              <a:gd name="connsiteX151" fmla="*/ 968048 w 7113841"/>
              <a:gd name="connsiteY151" fmla="*/ 3324971 h 5142778"/>
              <a:gd name="connsiteX152" fmla="*/ 975195 w 7113841"/>
              <a:gd name="connsiteY152" fmla="*/ 3306952 h 5142778"/>
              <a:gd name="connsiteX153" fmla="*/ 982280 w 7113841"/>
              <a:gd name="connsiteY153" fmla="*/ 3288898 h 5142778"/>
              <a:gd name="connsiteX154" fmla="*/ 989297 w 7113841"/>
              <a:gd name="connsiteY154" fmla="*/ 3270809 h 5142778"/>
              <a:gd name="connsiteX155" fmla="*/ 996250 w 7113841"/>
              <a:gd name="connsiteY155" fmla="*/ 3252684 h 5142778"/>
              <a:gd name="connsiteX156" fmla="*/ 1003136 w 7113841"/>
              <a:gd name="connsiteY156" fmla="*/ 3234522 h 5142778"/>
              <a:gd name="connsiteX157" fmla="*/ 1009953 w 7113841"/>
              <a:gd name="connsiteY157" fmla="*/ 3216324 h 5142778"/>
              <a:gd name="connsiteX158" fmla="*/ 1016702 w 7113841"/>
              <a:gd name="connsiteY158" fmla="*/ 3198088 h 5142778"/>
              <a:gd name="connsiteX159" fmla="*/ 1023381 w 7113841"/>
              <a:gd name="connsiteY159" fmla="*/ 3179814 h 5142778"/>
              <a:gd name="connsiteX160" fmla="*/ 1029991 w 7113841"/>
              <a:gd name="connsiteY160" fmla="*/ 3161502 h 5142778"/>
              <a:gd name="connsiteX161" fmla="*/ 1036530 w 7113841"/>
              <a:gd name="connsiteY161" fmla="*/ 3143151 h 5142778"/>
              <a:gd name="connsiteX162" fmla="*/ 1042998 w 7113841"/>
              <a:gd name="connsiteY162" fmla="*/ 3124759 h 5142778"/>
              <a:gd name="connsiteX163" fmla="*/ 1049393 w 7113841"/>
              <a:gd name="connsiteY163" fmla="*/ 3106328 h 5142778"/>
              <a:gd name="connsiteX164" fmla="*/ 1055715 w 7113841"/>
              <a:gd name="connsiteY164" fmla="*/ 3087856 h 5142778"/>
              <a:gd name="connsiteX165" fmla="*/ 1061964 w 7113841"/>
              <a:gd name="connsiteY165" fmla="*/ 3069343 h 5142778"/>
              <a:gd name="connsiteX166" fmla="*/ 1068138 w 7113841"/>
              <a:gd name="connsiteY166" fmla="*/ 3050788 h 5142778"/>
              <a:gd name="connsiteX167" fmla="*/ 1074237 w 7113841"/>
              <a:gd name="connsiteY167" fmla="*/ 3032191 h 5142778"/>
              <a:gd name="connsiteX168" fmla="*/ 1080260 w 7113841"/>
              <a:gd name="connsiteY168" fmla="*/ 3013551 h 5142778"/>
              <a:gd name="connsiteX169" fmla="*/ 1086206 w 7113841"/>
              <a:gd name="connsiteY169" fmla="*/ 2994867 h 5142778"/>
              <a:gd name="connsiteX170" fmla="*/ 1092075 w 7113841"/>
              <a:gd name="connsiteY170" fmla="*/ 2976140 h 5142778"/>
              <a:gd name="connsiteX171" fmla="*/ 1097865 w 7113841"/>
              <a:gd name="connsiteY171" fmla="*/ 2957368 h 5142778"/>
              <a:gd name="connsiteX172" fmla="*/ 1103577 w 7113841"/>
              <a:gd name="connsiteY172" fmla="*/ 2938551 h 5142778"/>
              <a:gd name="connsiteX173" fmla="*/ 1109208 w 7113841"/>
              <a:gd name="connsiteY173" fmla="*/ 2919688 h 5142778"/>
              <a:gd name="connsiteX174" fmla="*/ 1114759 w 7113841"/>
              <a:gd name="connsiteY174" fmla="*/ 2900780 h 5142778"/>
              <a:gd name="connsiteX175" fmla="*/ 1120228 w 7113841"/>
              <a:gd name="connsiteY175" fmla="*/ 2881825 h 5142778"/>
              <a:gd name="connsiteX176" fmla="*/ 1125617 w 7113841"/>
              <a:gd name="connsiteY176" fmla="*/ 2862822 h 5142778"/>
              <a:gd name="connsiteX177" fmla="*/ 1130921 w 7113841"/>
              <a:gd name="connsiteY177" fmla="*/ 2843773 h 5142778"/>
              <a:gd name="connsiteX178" fmla="*/ 1136143 w 7113841"/>
              <a:gd name="connsiteY178" fmla="*/ 2824674 h 5142778"/>
              <a:gd name="connsiteX179" fmla="*/ 1141280 w 7113841"/>
              <a:gd name="connsiteY179" fmla="*/ 2805527 h 5142778"/>
              <a:gd name="connsiteX180" fmla="*/ 1146332 w 7113841"/>
              <a:gd name="connsiteY180" fmla="*/ 2786331 h 5142778"/>
              <a:gd name="connsiteX181" fmla="*/ 1151298 w 7113841"/>
              <a:gd name="connsiteY181" fmla="*/ 2767085 h 5142778"/>
              <a:gd name="connsiteX182" fmla="*/ 1156178 w 7113841"/>
              <a:gd name="connsiteY182" fmla="*/ 2747788 h 5142778"/>
              <a:gd name="connsiteX183" fmla="*/ 1160971 w 7113841"/>
              <a:gd name="connsiteY183" fmla="*/ 2728441 h 5142778"/>
              <a:gd name="connsiteX184" fmla="*/ 1165675 w 7113841"/>
              <a:gd name="connsiteY184" fmla="*/ 2709042 h 5142778"/>
              <a:gd name="connsiteX185" fmla="*/ 1170290 w 7113841"/>
              <a:gd name="connsiteY185" fmla="*/ 2689591 h 5142778"/>
              <a:gd name="connsiteX186" fmla="*/ 1174816 w 7113841"/>
              <a:gd name="connsiteY186" fmla="*/ 2670087 h 5142778"/>
              <a:gd name="connsiteX187" fmla="*/ 1179252 w 7113841"/>
              <a:gd name="connsiteY187" fmla="*/ 2650531 h 5142778"/>
              <a:gd name="connsiteX188" fmla="*/ 1183597 w 7113841"/>
              <a:gd name="connsiteY188" fmla="*/ 2630921 h 5142778"/>
              <a:gd name="connsiteX189" fmla="*/ 1187850 w 7113841"/>
              <a:gd name="connsiteY189" fmla="*/ 2611257 h 5142778"/>
              <a:gd name="connsiteX190" fmla="*/ 1192010 w 7113841"/>
              <a:gd name="connsiteY190" fmla="*/ 2591538 h 5142778"/>
              <a:gd name="connsiteX191" fmla="*/ 1196077 w 7113841"/>
              <a:gd name="connsiteY191" fmla="*/ 2571764 h 5142778"/>
              <a:gd name="connsiteX192" fmla="*/ 1200049 w 7113841"/>
              <a:gd name="connsiteY192" fmla="*/ 2551934 h 5142778"/>
              <a:gd name="connsiteX193" fmla="*/ 1203927 w 7113841"/>
              <a:gd name="connsiteY193" fmla="*/ 2532048 h 5142778"/>
              <a:gd name="connsiteX194" fmla="*/ 1207710 w 7113841"/>
              <a:gd name="connsiteY194" fmla="*/ 2512105 h 5142778"/>
              <a:gd name="connsiteX195" fmla="*/ 1211395 w 7113841"/>
              <a:gd name="connsiteY195" fmla="*/ 2492104 h 5142778"/>
              <a:gd name="connsiteX196" fmla="*/ 1214985 w 7113841"/>
              <a:gd name="connsiteY196" fmla="*/ 2472046 h 5142778"/>
              <a:gd name="connsiteX197" fmla="*/ 1218476 w 7113841"/>
              <a:gd name="connsiteY197" fmla="*/ 2451929 h 5142778"/>
              <a:gd name="connsiteX198" fmla="*/ 1221868 w 7113841"/>
              <a:gd name="connsiteY198" fmla="*/ 2431753 h 5142778"/>
              <a:gd name="connsiteX199" fmla="*/ 1225161 w 7113841"/>
              <a:gd name="connsiteY199" fmla="*/ 2411518 h 5142778"/>
              <a:gd name="connsiteX200" fmla="*/ 1228353 w 7113841"/>
              <a:gd name="connsiteY200" fmla="*/ 2391223 h 5142778"/>
              <a:gd name="connsiteX201" fmla="*/ 1231446 w 7113841"/>
              <a:gd name="connsiteY201" fmla="*/ 2370867 h 5142778"/>
              <a:gd name="connsiteX202" fmla="*/ 1234436 w 7113841"/>
              <a:gd name="connsiteY202" fmla="*/ 2350449 h 5142778"/>
              <a:gd name="connsiteX203" fmla="*/ 1237324 w 7113841"/>
              <a:gd name="connsiteY203" fmla="*/ 2329971 h 5142778"/>
              <a:gd name="connsiteX204" fmla="*/ 1240109 w 7113841"/>
              <a:gd name="connsiteY204" fmla="*/ 2309430 h 5142778"/>
              <a:gd name="connsiteX205" fmla="*/ 1242790 w 7113841"/>
              <a:gd name="connsiteY205" fmla="*/ 2288826 h 5142778"/>
              <a:gd name="connsiteX206" fmla="*/ 1245366 w 7113841"/>
              <a:gd name="connsiteY206" fmla="*/ 2268159 h 5142778"/>
              <a:gd name="connsiteX207" fmla="*/ 1247837 w 7113841"/>
              <a:gd name="connsiteY207" fmla="*/ 2247428 h 5142778"/>
              <a:gd name="connsiteX208" fmla="*/ 1250202 w 7113841"/>
              <a:gd name="connsiteY208" fmla="*/ 2226633 h 5142778"/>
              <a:gd name="connsiteX209" fmla="*/ 1252460 w 7113841"/>
              <a:gd name="connsiteY209" fmla="*/ 2205773 h 5142778"/>
              <a:gd name="connsiteX210" fmla="*/ 1254610 w 7113841"/>
              <a:gd name="connsiteY210" fmla="*/ 2184847 h 5142778"/>
              <a:gd name="connsiteX211" fmla="*/ 1256651 w 7113841"/>
              <a:gd name="connsiteY211" fmla="*/ 2163856 h 5142778"/>
              <a:gd name="connsiteX212" fmla="*/ 1258584 w 7113841"/>
              <a:gd name="connsiteY212" fmla="*/ 2142798 h 5142778"/>
              <a:gd name="connsiteX213" fmla="*/ 1260407 w 7113841"/>
              <a:gd name="connsiteY213" fmla="*/ 2121673 h 5142778"/>
              <a:gd name="connsiteX214" fmla="*/ 1262119 w 7113841"/>
              <a:gd name="connsiteY214" fmla="*/ 2100480 h 5142778"/>
              <a:gd name="connsiteX215" fmla="*/ 1263719 w 7113841"/>
              <a:gd name="connsiteY215" fmla="*/ 2079219 h 5142778"/>
              <a:gd name="connsiteX216" fmla="*/ 1265207 w 7113841"/>
              <a:gd name="connsiteY216" fmla="*/ 2057890 h 5142778"/>
              <a:gd name="connsiteX217" fmla="*/ 1266583 w 7113841"/>
              <a:gd name="connsiteY217" fmla="*/ 2036492 h 5142778"/>
              <a:gd name="connsiteX218" fmla="*/ 1267845 w 7113841"/>
              <a:gd name="connsiteY218" fmla="*/ 2015023 h 5142778"/>
              <a:gd name="connsiteX219" fmla="*/ 1268992 w 7113841"/>
              <a:gd name="connsiteY219" fmla="*/ 1993484 h 5142778"/>
              <a:gd name="connsiteX220" fmla="*/ 1270024 w 7113841"/>
              <a:gd name="connsiteY220" fmla="*/ 1971875 h 5142778"/>
              <a:gd name="connsiteX221" fmla="*/ 1270940 w 7113841"/>
              <a:gd name="connsiteY221" fmla="*/ 1950194 h 5142778"/>
              <a:gd name="connsiteX222" fmla="*/ 1271740 w 7113841"/>
              <a:gd name="connsiteY222" fmla="*/ 1928441 h 5142778"/>
              <a:gd name="connsiteX223" fmla="*/ 1272422 w 7113841"/>
              <a:gd name="connsiteY223" fmla="*/ 1906616 h 5142778"/>
              <a:gd name="connsiteX224" fmla="*/ 1272986 w 7113841"/>
              <a:gd name="connsiteY224" fmla="*/ 1884718 h 5142778"/>
              <a:gd name="connsiteX225" fmla="*/ 1273430 w 7113841"/>
              <a:gd name="connsiteY225" fmla="*/ 1862747 h 5142778"/>
              <a:gd name="connsiteX226" fmla="*/ 1273755 w 7113841"/>
              <a:gd name="connsiteY226" fmla="*/ 1840700 h 5142778"/>
              <a:gd name="connsiteX227" fmla="*/ 1273961 w 7113841"/>
              <a:gd name="connsiteY227" fmla="*/ 1818581 h 5142778"/>
              <a:gd name="connsiteX228" fmla="*/ 1274005 w 7113841"/>
              <a:gd name="connsiteY228" fmla="*/ 1774114 h 5142778"/>
              <a:gd name="connsiteX229" fmla="*/ 1273844 w 7113841"/>
              <a:gd name="connsiteY229" fmla="*/ 1751767 h 5142778"/>
              <a:gd name="connsiteX230" fmla="*/ 1273558 w 7113841"/>
              <a:gd name="connsiteY230" fmla="*/ 1729342 h 5142778"/>
              <a:gd name="connsiteX231" fmla="*/ 1273150 w 7113841"/>
              <a:gd name="connsiteY231" fmla="*/ 1706841 h 5142778"/>
              <a:gd name="connsiteX232" fmla="*/ 1272616 w 7113841"/>
              <a:gd name="connsiteY232" fmla="*/ 1684263 h 5142778"/>
              <a:gd name="connsiteX233" fmla="*/ 1271956 w 7113841"/>
              <a:gd name="connsiteY233" fmla="*/ 1661605 h 5142778"/>
              <a:gd name="connsiteX234" fmla="*/ 1271170 w 7113841"/>
              <a:gd name="connsiteY234" fmla="*/ 1638868 h 5142778"/>
              <a:gd name="connsiteX235" fmla="*/ 1270256 w 7113841"/>
              <a:gd name="connsiteY235" fmla="*/ 1616053 h 5142778"/>
              <a:gd name="connsiteX236" fmla="*/ 1269215 w 7113841"/>
              <a:gd name="connsiteY236" fmla="*/ 1593157 h 5142778"/>
              <a:gd name="connsiteX237" fmla="*/ 1268044 w 7113841"/>
              <a:gd name="connsiteY237" fmla="*/ 1570181 h 5142778"/>
              <a:gd name="connsiteX238" fmla="*/ 1266744 w 7113841"/>
              <a:gd name="connsiteY238" fmla="*/ 1547124 h 5142778"/>
              <a:gd name="connsiteX239" fmla="*/ 1265314 w 7113841"/>
              <a:gd name="connsiteY239" fmla="*/ 1523985 h 5142778"/>
              <a:gd name="connsiteX240" fmla="*/ 1263753 w 7113841"/>
              <a:gd name="connsiteY240" fmla="*/ 1500764 h 5142778"/>
              <a:gd name="connsiteX241" fmla="*/ 1262060 w 7113841"/>
              <a:gd name="connsiteY241" fmla="*/ 1477461 h 5142778"/>
              <a:gd name="connsiteX242" fmla="*/ 1260234 w 7113841"/>
              <a:gd name="connsiteY242" fmla="*/ 1454074 h 5142778"/>
              <a:gd name="connsiteX243" fmla="*/ 1258276 w 7113841"/>
              <a:gd name="connsiteY243" fmla="*/ 1430604 h 5142778"/>
              <a:gd name="connsiteX244" fmla="*/ 1256182 w 7113841"/>
              <a:gd name="connsiteY244" fmla="*/ 1407049 h 5142778"/>
              <a:gd name="connsiteX245" fmla="*/ 1253955 w 7113841"/>
              <a:gd name="connsiteY245" fmla="*/ 1383410 h 5142778"/>
              <a:gd name="connsiteX246" fmla="*/ 1251592 w 7113841"/>
              <a:gd name="connsiteY246" fmla="*/ 1359685 h 5142778"/>
              <a:gd name="connsiteX247" fmla="*/ 1249092 w 7113841"/>
              <a:gd name="connsiteY247" fmla="*/ 1335873 h 5142778"/>
              <a:gd name="connsiteX248" fmla="*/ 1246456 w 7113841"/>
              <a:gd name="connsiteY248" fmla="*/ 1311977 h 5142778"/>
              <a:gd name="connsiteX249" fmla="*/ 1243681 w 7113841"/>
              <a:gd name="connsiteY249" fmla="*/ 1287992 h 5142778"/>
              <a:gd name="connsiteX250" fmla="*/ 1240769 w 7113841"/>
              <a:gd name="connsiteY250" fmla="*/ 1263921 h 5142778"/>
              <a:gd name="connsiteX251" fmla="*/ 1237716 w 7113841"/>
              <a:gd name="connsiteY251" fmla="*/ 1239761 h 5142778"/>
              <a:gd name="connsiteX252" fmla="*/ 1234524 w 7113841"/>
              <a:gd name="connsiteY252" fmla="*/ 1215513 h 5142778"/>
              <a:gd name="connsiteX253" fmla="*/ 1231190 w 7113841"/>
              <a:gd name="connsiteY253" fmla="*/ 1191176 h 5142778"/>
              <a:gd name="connsiteX254" fmla="*/ 1227715 w 7113841"/>
              <a:gd name="connsiteY254" fmla="*/ 1166749 h 5142778"/>
              <a:gd name="connsiteX255" fmla="*/ 1224099 w 7113841"/>
              <a:gd name="connsiteY255" fmla="*/ 1142232 h 5142778"/>
              <a:gd name="connsiteX256" fmla="*/ 1220339 w 7113841"/>
              <a:gd name="connsiteY256" fmla="*/ 1117624 h 5142778"/>
              <a:gd name="connsiteX257" fmla="*/ 1216434 w 7113841"/>
              <a:gd name="connsiteY257" fmla="*/ 1092925 h 5142778"/>
              <a:gd name="connsiteX258" fmla="*/ 1212386 w 7113841"/>
              <a:gd name="connsiteY258" fmla="*/ 1068134 h 5142778"/>
              <a:gd name="connsiteX259" fmla="*/ 1208192 w 7113841"/>
              <a:gd name="connsiteY259" fmla="*/ 1043251 h 5142778"/>
              <a:gd name="connsiteX260" fmla="*/ 1203852 w 7113841"/>
              <a:gd name="connsiteY260" fmla="*/ 1018274 h 5142778"/>
              <a:gd name="connsiteX261" fmla="*/ 1199365 w 7113841"/>
              <a:gd name="connsiteY261" fmla="*/ 993205 h 5142778"/>
              <a:gd name="connsiteX262" fmla="*/ 1194731 w 7113841"/>
              <a:gd name="connsiteY262" fmla="*/ 968042 h 5142778"/>
              <a:gd name="connsiteX263" fmla="*/ 1189948 w 7113841"/>
              <a:gd name="connsiteY263" fmla="*/ 942784 h 5142778"/>
              <a:gd name="connsiteX264" fmla="*/ 1185016 w 7113841"/>
              <a:gd name="connsiteY264" fmla="*/ 917431 h 5142778"/>
              <a:gd name="connsiteX265" fmla="*/ 1179934 w 7113841"/>
              <a:gd name="connsiteY265" fmla="*/ 891982 h 5142778"/>
              <a:gd name="connsiteX266" fmla="*/ 1174701 w 7113841"/>
              <a:gd name="connsiteY266" fmla="*/ 866438 h 5142778"/>
              <a:gd name="connsiteX267" fmla="*/ 1169317 w 7113841"/>
              <a:gd name="connsiteY267" fmla="*/ 840796 h 5142778"/>
              <a:gd name="connsiteX268" fmla="*/ 1163781 w 7113841"/>
              <a:gd name="connsiteY268" fmla="*/ 815058 h 5142778"/>
              <a:gd name="connsiteX269" fmla="*/ 1158092 w 7113841"/>
              <a:gd name="connsiteY269" fmla="*/ 789222 h 5142778"/>
              <a:gd name="connsiteX270" fmla="*/ 1152249 w 7113841"/>
              <a:gd name="connsiteY270" fmla="*/ 763287 h 5142778"/>
              <a:gd name="connsiteX271" fmla="*/ 1146253 w 7113841"/>
              <a:gd name="connsiteY271" fmla="*/ 737255 h 5142778"/>
              <a:gd name="connsiteX272" fmla="*/ 1140101 w 7113841"/>
              <a:gd name="connsiteY272" fmla="*/ 711122 h 5142778"/>
              <a:gd name="connsiteX273" fmla="*/ 1133793 w 7113841"/>
              <a:gd name="connsiteY273" fmla="*/ 684890 h 5142778"/>
              <a:gd name="connsiteX274" fmla="*/ 1127327 w 7113841"/>
              <a:gd name="connsiteY274" fmla="*/ 658557 h 5142778"/>
              <a:gd name="connsiteX275" fmla="*/ 1120705 w 7113841"/>
              <a:gd name="connsiteY275" fmla="*/ 632123 h 5142778"/>
              <a:gd name="connsiteX276" fmla="*/ 1113925 w 7113841"/>
              <a:gd name="connsiteY276" fmla="*/ 605589 h 5142778"/>
              <a:gd name="connsiteX277" fmla="*/ 1106986 w 7113841"/>
              <a:gd name="connsiteY277" fmla="*/ 578951 h 5142778"/>
              <a:gd name="connsiteX278" fmla="*/ 1099887 w 7113841"/>
              <a:gd name="connsiteY278" fmla="*/ 552212 h 5142778"/>
              <a:gd name="connsiteX279" fmla="*/ 1092628 w 7113841"/>
              <a:gd name="connsiteY279" fmla="*/ 525369 h 5142778"/>
              <a:gd name="connsiteX280" fmla="*/ 1085207 w 7113841"/>
              <a:gd name="connsiteY280" fmla="*/ 498423 h 5142778"/>
              <a:gd name="connsiteX281" fmla="*/ 1077624 w 7113841"/>
              <a:gd name="connsiteY281" fmla="*/ 471372 h 5142778"/>
              <a:gd name="connsiteX282" fmla="*/ 1069880 w 7113841"/>
              <a:gd name="connsiteY282" fmla="*/ 444217 h 5142778"/>
              <a:gd name="connsiteX283" fmla="*/ 1061971 w 7113841"/>
              <a:gd name="connsiteY283" fmla="*/ 416957 h 5142778"/>
              <a:gd name="connsiteX284" fmla="*/ 1053898 w 7113841"/>
              <a:gd name="connsiteY284" fmla="*/ 389591 h 5142778"/>
              <a:gd name="connsiteX285" fmla="*/ 1045660 w 7113841"/>
              <a:gd name="connsiteY285" fmla="*/ 362118 h 5142778"/>
              <a:gd name="connsiteX286" fmla="*/ 1037256 w 7113841"/>
              <a:gd name="connsiteY286" fmla="*/ 334538 h 5142778"/>
              <a:gd name="connsiteX287" fmla="*/ 1028686 w 7113841"/>
              <a:gd name="connsiteY287" fmla="*/ 306852 h 5142778"/>
              <a:gd name="connsiteX288" fmla="*/ 1019950 w 7113841"/>
              <a:gd name="connsiteY288" fmla="*/ 279057 h 5142778"/>
              <a:gd name="connsiteX289" fmla="*/ 1011045 w 7113841"/>
              <a:gd name="connsiteY289" fmla="*/ 251154 h 5142778"/>
              <a:gd name="connsiteX290" fmla="*/ 1001971 w 7113841"/>
              <a:gd name="connsiteY290" fmla="*/ 223142 h 5142778"/>
              <a:gd name="connsiteX291" fmla="*/ 992728 w 7113841"/>
              <a:gd name="connsiteY291" fmla="*/ 195020 h 5142778"/>
              <a:gd name="connsiteX292" fmla="*/ 983314 w 7113841"/>
              <a:gd name="connsiteY292" fmla="*/ 166788 h 5142778"/>
              <a:gd name="connsiteX293" fmla="*/ 973730 w 7113841"/>
              <a:gd name="connsiteY293" fmla="*/ 138446 h 5142778"/>
              <a:gd name="connsiteX294" fmla="*/ 963974 w 7113841"/>
              <a:gd name="connsiteY294" fmla="*/ 109992 h 5142778"/>
              <a:gd name="connsiteX295" fmla="*/ 954045 w 7113841"/>
              <a:gd name="connsiteY295" fmla="*/ 81427 h 5142778"/>
              <a:gd name="connsiteX296" fmla="*/ 943943 w 7113841"/>
              <a:gd name="connsiteY296" fmla="*/ 52750 h 5142778"/>
              <a:gd name="connsiteX297" fmla="*/ 933667 w 7113841"/>
              <a:gd name="connsiteY297" fmla="*/ 23959 h 514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7113841" h="5142778">
                <a:moveTo>
                  <a:pt x="925004" y="0"/>
                </a:moveTo>
                <a:lnTo>
                  <a:pt x="7113841" y="0"/>
                </a:lnTo>
                <a:lnTo>
                  <a:pt x="7113841" y="4345781"/>
                </a:lnTo>
                <a:lnTo>
                  <a:pt x="7113839" y="4345781"/>
                </a:lnTo>
                <a:lnTo>
                  <a:pt x="7113839" y="4344165"/>
                </a:lnTo>
                <a:lnTo>
                  <a:pt x="7065051" y="4326824"/>
                </a:lnTo>
                <a:lnTo>
                  <a:pt x="7016980" y="4310591"/>
                </a:lnTo>
                <a:lnTo>
                  <a:pt x="6969613" y="4295447"/>
                </a:lnTo>
                <a:lnTo>
                  <a:pt x="6922939" y="4281374"/>
                </a:lnTo>
                <a:lnTo>
                  <a:pt x="6876941" y="4268353"/>
                </a:lnTo>
                <a:lnTo>
                  <a:pt x="6831609" y="4256365"/>
                </a:lnTo>
                <a:lnTo>
                  <a:pt x="6786928" y="4245394"/>
                </a:lnTo>
                <a:lnTo>
                  <a:pt x="6742887" y="4235421"/>
                </a:lnTo>
                <a:lnTo>
                  <a:pt x="6699472" y="4226427"/>
                </a:lnTo>
                <a:lnTo>
                  <a:pt x="6656669" y="4218394"/>
                </a:lnTo>
                <a:lnTo>
                  <a:pt x="6614465" y="4211304"/>
                </a:lnTo>
                <a:lnTo>
                  <a:pt x="6572851" y="4205138"/>
                </a:lnTo>
                <a:lnTo>
                  <a:pt x="6552259" y="4202397"/>
                </a:lnTo>
                <a:lnTo>
                  <a:pt x="6531808" y="4199880"/>
                </a:lnTo>
                <a:lnTo>
                  <a:pt x="6511499" y="4197584"/>
                </a:lnTo>
                <a:lnTo>
                  <a:pt x="6491327" y="4195509"/>
                </a:lnTo>
                <a:lnTo>
                  <a:pt x="6471293" y="4193650"/>
                </a:lnTo>
                <a:lnTo>
                  <a:pt x="6451393" y="4192007"/>
                </a:lnTo>
                <a:lnTo>
                  <a:pt x="6431629" y="4190577"/>
                </a:lnTo>
                <a:lnTo>
                  <a:pt x="6411994" y="4189358"/>
                </a:lnTo>
                <a:lnTo>
                  <a:pt x="6392492" y="4188346"/>
                </a:lnTo>
                <a:lnTo>
                  <a:pt x="6373117" y="4187541"/>
                </a:lnTo>
                <a:lnTo>
                  <a:pt x="6353871" y="4186940"/>
                </a:lnTo>
                <a:lnTo>
                  <a:pt x="6334749" y="4186540"/>
                </a:lnTo>
                <a:lnTo>
                  <a:pt x="6315752" y="4186339"/>
                </a:lnTo>
                <a:lnTo>
                  <a:pt x="6296876" y="4186336"/>
                </a:lnTo>
                <a:lnTo>
                  <a:pt x="6278122" y="4186526"/>
                </a:lnTo>
                <a:lnTo>
                  <a:pt x="6259485" y="4186909"/>
                </a:lnTo>
                <a:lnTo>
                  <a:pt x="6240968" y="4187483"/>
                </a:lnTo>
                <a:lnTo>
                  <a:pt x="6222565" y="4188243"/>
                </a:lnTo>
                <a:lnTo>
                  <a:pt x="6204277" y="4189190"/>
                </a:lnTo>
                <a:lnTo>
                  <a:pt x="6186101" y="4190320"/>
                </a:lnTo>
                <a:lnTo>
                  <a:pt x="6168036" y="4191630"/>
                </a:lnTo>
                <a:lnTo>
                  <a:pt x="6150080" y="4193119"/>
                </a:lnTo>
                <a:lnTo>
                  <a:pt x="6132232" y="4194785"/>
                </a:lnTo>
                <a:lnTo>
                  <a:pt x="6114490" y="4196625"/>
                </a:lnTo>
                <a:lnTo>
                  <a:pt x="6096852" y="4198636"/>
                </a:lnTo>
                <a:lnTo>
                  <a:pt x="6079317" y="4200817"/>
                </a:lnTo>
                <a:lnTo>
                  <a:pt x="6061883" y="4203166"/>
                </a:lnTo>
                <a:lnTo>
                  <a:pt x="6044549" y="4205679"/>
                </a:lnTo>
                <a:lnTo>
                  <a:pt x="6027313" y="4208355"/>
                </a:lnTo>
                <a:lnTo>
                  <a:pt x="6010172" y="4211191"/>
                </a:lnTo>
                <a:lnTo>
                  <a:pt x="5976173" y="4217335"/>
                </a:lnTo>
                <a:lnTo>
                  <a:pt x="5942540" y="4224094"/>
                </a:lnTo>
                <a:lnTo>
                  <a:pt x="5892747" y="4235344"/>
                </a:lnTo>
                <a:lnTo>
                  <a:pt x="5859970" y="4243558"/>
                </a:lnTo>
                <a:lnTo>
                  <a:pt x="5827512" y="4252322"/>
                </a:lnTo>
                <a:lnTo>
                  <a:pt x="5795362" y="4261618"/>
                </a:lnTo>
                <a:lnTo>
                  <a:pt x="5763504" y="4271428"/>
                </a:lnTo>
                <a:lnTo>
                  <a:pt x="5731928" y="4281734"/>
                </a:lnTo>
                <a:lnTo>
                  <a:pt x="5700619" y="4292517"/>
                </a:lnTo>
                <a:lnTo>
                  <a:pt x="5669565" y="4303758"/>
                </a:lnTo>
                <a:lnTo>
                  <a:pt x="5638752" y="4315440"/>
                </a:lnTo>
                <a:lnTo>
                  <a:pt x="5608167" y="4327545"/>
                </a:lnTo>
                <a:lnTo>
                  <a:pt x="5577799" y="4340054"/>
                </a:lnTo>
                <a:lnTo>
                  <a:pt x="5547632" y="4352948"/>
                </a:lnTo>
                <a:lnTo>
                  <a:pt x="5517655" y="4366210"/>
                </a:lnTo>
                <a:lnTo>
                  <a:pt x="5487855" y="4379822"/>
                </a:lnTo>
                <a:lnTo>
                  <a:pt x="5443456" y="4400854"/>
                </a:lnTo>
                <a:lnTo>
                  <a:pt x="5399381" y="4422570"/>
                </a:lnTo>
                <a:lnTo>
                  <a:pt x="5355585" y="4444908"/>
                </a:lnTo>
                <a:lnTo>
                  <a:pt x="5312025" y="4467805"/>
                </a:lnTo>
                <a:lnTo>
                  <a:pt x="5254235" y="4499099"/>
                </a:lnTo>
                <a:lnTo>
                  <a:pt x="5167962" y="4547383"/>
                </a:lnTo>
                <a:lnTo>
                  <a:pt x="4952295" y="4672140"/>
                </a:lnTo>
                <a:lnTo>
                  <a:pt x="4791671" y="4763822"/>
                </a:lnTo>
                <a:lnTo>
                  <a:pt x="4717297" y="4804607"/>
                </a:lnTo>
                <a:lnTo>
                  <a:pt x="4656988" y="4836560"/>
                </a:lnTo>
                <a:lnTo>
                  <a:pt x="4611217" y="4860036"/>
                </a:lnTo>
                <a:lnTo>
                  <a:pt x="4564933" y="4883024"/>
                </a:lnTo>
                <a:lnTo>
                  <a:pt x="4518093" y="4905462"/>
                </a:lnTo>
                <a:lnTo>
                  <a:pt x="4470653" y="4927290"/>
                </a:lnTo>
                <a:lnTo>
                  <a:pt x="4438671" y="4941472"/>
                </a:lnTo>
                <a:lnTo>
                  <a:pt x="4406390" y="4955337"/>
                </a:lnTo>
                <a:lnTo>
                  <a:pt x="4373797" y="4968866"/>
                </a:lnTo>
                <a:lnTo>
                  <a:pt x="4340879" y="4982041"/>
                </a:lnTo>
                <a:lnTo>
                  <a:pt x="4307622" y="4994845"/>
                </a:lnTo>
                <a:lnTo>
                  <a:pt x="4274014" y="5007258"/>
                </a:lnTo>
                <a:lnTo>
                  <a:pt x="4240041" y="5019263"/>
                </a:lnTo>
                <a:lnTo>
                  <a:pt x="4205691" y="5030841"/>
                </a:lnTo>
                <a:lnTo>
                  <a:pt x="4170950" y="5041974"/>
                </a:lnTo>
                <a:lnTo>
                  <a:pt x="4135806" y="5052643"/>
                </a:lnTo>
                <a:lnTo>
                  <a:pt x="4100246" y="5062831"/>
                </a:lnTo>
                <a:lnTo>
                  <a:pt x="4064256" y="5072519"/>
                </a:lnTo>
                <a:lnTo>
                  <a:pt x="4027823" y="5081689"/>
                </a:lnTo>
                <a:lnTo>
                  <a:pt x="3990935" y="5090323"/>
                </a:lnTo>
                <a:lnTo>
                  <a:pt x="3953578" y="5098402"/>
                </a:lnTo>
                <a:lnTo>
                  <a:pt x="3915739" y="5105908"/>
                </a:lnTo>
                <a:lnTo>
                  <a:pt x="3877406" y="5112824"/>
                </a:lnTo>
                <a:lnTo>
                  <a:pt x="3838565" y="5119129"/>
                </a:lnTo>
                <a:lnTo>
                  <a:pt x="3799203" y="5124807"/>
                </a:lnTo>
                <a:lnTo>
                  <a:pt x="3759308" y="5129839"/>
                </a:lnTo>
                <a:lnTo>
                  <a:pt x="3718865" y="5134207"/>
                </a:lnTo>
                <a:lnTo>
                  <a:pt x="3677863" y="5137893"/>
                </a:lnTo>
                <a:lnTo>
                  <a:pt x="3636288" y="5140877"/>
                </a:lnTo>
                <a:lnTo>
                  <a:pt x="3600919" y="5142778"/>
                </a:lnTo>
                <a:lnTo>
                  <a:pt x="0" y="5142778"/>
                </a:lnTo>
                <a:lnTo>
                  <a:pt x="36355" y="5078128"/>
                </a:lnTo>
                <a:lnTo>
                  <a:pt x="85405" y="4991843"/>
                </a:lnTo>
                <a:lnTo>
                  <a:pt x="164324" y="4854690"/>
                </a:lnTo>
                <a:lnTo>
                  <a:pt x="381230" y="4481186"/>
                </a:lnTo>
                <a:lnTo>
                  <a:pt x="439596" y="4379712"/>
                </a:lnTo>
                <a:lnTo>
                  <a:pt x="478157" y="4312042"/>
                </a:lnTo>
                <a:lnTo>
                  <a:pt x="516383" y="4244314"/>
                </a:lnTo>
                <a:lnTo>
                  <a:pt x="544803" y="4193459"/>
                </a:lnTo>
                <a:lnTo>
                  <a:pt x="572987" y="4142538"/>
                </a:lnTo>
                <a:lnTo>
                  <a:pt x="591636" y="4108547"/>
                </a:lnTo>
                <a:lnTo>
                  <a:pt x="610163" y="4074516"/>
                </a:lnTo>
                <a:lnTo>
                  <a:pt x="628565" y="4040440"/>
                </a:lnTo>
                <a:lnTo>
                  <a:pt x="646835" y="4006315"/>
                </a:lnTo>
                <a:lnTo>
                  <a:pt x="664966" y="3972137"/>
                </a:lnTo>
                <a:lnTo>
                  <a:pt x="682954" y="3937902"/>
                </a:lnTo>
                <a:lnTo>
                  <a:pt x="691892" y="3920762"/>
                </a:lnTo>
                <a:lnTo>
                  <a:pt x="700791" y="3903606"/>
                </a:lnTo>
                <a:lnTo>
                  <a:pt x="709652" y="3886433"/>
                </a:lnTo>
                <a:lnTo>
                  <a:pt x="718472" y="3869243"/>
                </a:lnTo>
                <a:lnTo>
                  <a:pt x="727252" y="3852035"/>
                </a:lnTo>
                <a:lnTo>
                  <a:pt x="735991" y="3834810"/>
                </a:lnTo>
                <a:lnTo>
                  <a:pt x="744687" y="3817565"/>
                </a:lnTo>
                <a:lnTo>
                  <a:pt x="753341" y="3800302"/>
                </a:lnTo>
                <a:lnTo>
                  <a:pt x="761951" y="3783019"/>
                </a:lnTo>
                <a:lnTo>
                  <a:pt x="770517" y="3765715"/>
                </a:lnTo>
                <a:lnTo>
                  <a:pt x="779038" y="3748391"/>
                </a:lnTo>
                <a:lnTo>
                  <a:pt x="787512" y="3731046"/>
                </a:lnTo>
                <a:lnTo>
                  <a:pt x="795941" y="3713678"/>
                </a:lnTo>
                <a:lnTo>
                  <a:pt x="804322" y="3696288"/>
                </a:lnTo>
                <a:lnTo>
                  <a:pt x="812655" y="3678875"/>
                </a:lnTo>
                <a:lnTo>
                  <a:pt x="820938" y="3661439"/>
                </a:lnTo>
                <a:lnTo>
                  <a:pt x="829172" y="3643979"/>
                </a:lnTo>
                <a:lnTo>
                  <a:pt x="837357" y="3626494"/>
                </a:lnTo>
                <a:lnTo>
                  <a:pt x="845490" y="3608984"/>
                </a:lnTo>
                <a:lnTo>
                  <a:pt x="853571" y="3591449"/>
                </a:lnTo>
                <a:lnTo>
                  <a:pt x="861599" y="3573886"/>
                </a:lnTo>
                <a:lnTo>
                  <a:pt x="869574" y="3556298"/>
                </a:lnTo>
                <a:lnTo>
                  <a:pt x="877495" y="3538682"/>
                </a:lnTo>
                <a:lnTo>
                  <a:pt x="885361" y="3521039"/>
                </a:lnTo>
                <a:lnTo>
                  <a:pt x="893171" y="3503367"/>
                </a:lnTo>
                <a:lnTo>
                  <a:pt x="900925" y="3485666"/>
                </a:lnTo>
                <a:lnTo>
                  <a:pt x="908622" y="3467936"/>
                </a:lnTo>
                <a:lnTo>
                  <a:pt x="916260" y="3450176"/>
                </a:lnTo>
                <a:lnTo>
                  <a:pt x="923841" y="3432385"/>
                </a:lnTo>
                <a:lnTo>
                  <a:pt x="931361" y="3414563"/>
                </a:lnTo>
                <a:lnTo>
                  <a:pt x="938822" y="3396710"/>
                </a:lnTo>
                <a:lnTo>
                  <a:pt x="946221" y="3378825"/>
                </a:lnTo>
                <a:lnTo>
                  <a:pt x="953559" y="3360907"/>
                </a:lnTo>
                <a:lnTo>
                  <a:pt x="960835" y="3342956"/>
                </a:lnTo>
                <a:lnTo>
                  <a:pt x="968048" y="3324971"/>
                </a:lnTo>
                <a:lnTo>
                  <a:pt x="975195" y="3306952"/>
                </a:lnTo>
                <a:lnTo>
                  <a:pt x="982280" y="3288898"/>
                </a:lnTo>
                <a:lnTo>
                  <a:pt x="989297" y="3270809"/>
                </a:lnTo>
                <a:lnTo>
                  <a:pt x="996250" y="3252684"/>
                </a:lnTo>
                <a:lnTo>
                  <a:pt x="1003136" y="3234522"/>
                </a:lnTo>
                <a:lnTo>
                  <a:pt x="1009953" y="3216324"/>
                </a:lnTo>
                <a:lnTo>
                  <a:pt x="1016702" y="3198088"/>
                </a:lnTo>
                <a:lnTo>
                  <a:pt x="1023381" y="3179814"/>
                </a:lnTo>
                <a:lnTo>
                  <a:pt x="1029991" y="3161502"/>
                </a:lnTo>
                <a:lnTo>
                  <a:pt x="1036530" y="3143151"/>
                </a:lnTo>
                <a:lnTo>
                  <a:pt x="1042998" y="3124759"/>
                </a:lnTo>
                <a:lnTo>
                  <a:pt x="1049393" y="3106328"/>
                </a:lnTo>
                <a:lnTo>
                  <a:pt x="1055715" y="3087856"/>
                </a:lnTo>
                <a:lnTo>
                  <a:pt x="1061964" y="3069343"/>
                </a:lnTo>
                <a:lnTo>
                  <a:pt x="1068138" y="3050788"/>
                </a:lnTo>
                <a:lnTo>
                  <a:pt x="1074237" y="3032191"/>
                </a:lnTo>
                <a:lnTo>
                  <a:pt x="1080260" y="3013551"/>
                </a:lnTo>
                <a:lnTo>
                  <a:pt x="1086206" y="2994867"/>
                </a:lnTo>
                <a:lnTo>
                  <a:pt x="1092075" y="2976140"/>
                </a:lnTo>
                <a:lnTo>
                  <a:pt x="1097865" y="2957368"/>
                </a:lnTo>
                <a:lnTo>
                  <a:pt x="1103577" y="2938551"/>
                </a:lnTo>
                <a:lnTo>
                  <a:pt x="1109208" y="2919688"/>
                </a:lnTo>
                <a:lnTo>
                  <a:pt x="1114759" y="2900780"/>
                </a:lnTo>
                <a:lnTo>
                  <a:pt x="1120228" y="2881825"/>
                </a:lnTo>
                <a:lnTo>
                  <a:pt x="1125617" y="2862822"/>
                </a:lnTo>
                <a:lnTo>
                  <a:pt x="1130921" y="2843773"/>
                </a:lnTo>
                <a:lnTo>
                  <a:pt x="1136143" y="2824674"/>
                </a:lnTo>
                <a:lnTo>
                  <a:pt x="1141280" y="2805527"/>
                </a:lnTo>
                <a:lnTo>
                  <a:pt x="1146332" y="2786331"/>
                </a:lnTo>
                <a:lnTo>
                  <a:pt x="1151298" y="2767085"/>
                </a:lnTo>
                <a:lnTo>
                  <a:pt x="1156178" y="2747788"/>
                </a:lnTo>
                <a:lnTo>
                  <a:pt x="1160971" y="2728441"/>
                </a:lnTo>
                <a:lnTo>
                  <a:pt x="1165675" y="2709042"/>
                </a:lnTo>
                <a:lnTo>
                  <a:pt x="1170290" y="2689591"/>
                </a:lnTo>
                <a:lnTo>
                  <a:pt x="1174816" y="2670087"/>
                </a:lnTo>
                <a:lnTo>
                  <a:pt x="1179252" y="2650531"/>
                </a:lnTo>
                <a:lnTo>
                  <a:pt x="1183597" y="2630921"/>
                </a:lnTo>
                <a:lnTo>
                  <a:pt x="1187850" y="2611257"/>
                </a:lnTo>
                <a:lnTo>
                  <a:pt x="1192010" y="2591538"/>
                </a:lnTo>
                <a:lnTo>
                  <a:pt x="1196077" y="2571764"/>
                </a:lnTo>
                <a:lnTo>
                  <a:pt x="1200049" y="2551934"/>
                </a:lnTo>
                <a:lnTo>
                  <a:pt x="1203927" y="2532048"/>
                </a:lnTo>
                <a:lnTo>
                  <a:pt x="1207710" y="2512105"/>
                </a:lnTo>
                <a:lnTo>
                  <a:pt x="1211395" y="2492104"/>
                </a:lnTo>
                <a:lnTo>
                  <a:pt x="1214985" y="2472046"/>
                </a:lnTo>
                <a:lnTo>
                  <a:pt x="1218476" y="2451929"/>
                </a:lnTo>
                <a:lnTo>
                  <a:pt x="1221868" y="2431753"/>
                </a:lnTo>
                <a:lnTo>
                  <a:pt x="1225161" y="2411518"/>
                </a:lnTo>
                <a:lnTo>
                  <a:pt x="1228353" y="2391223"/>
                </a:lnTo>
                <a:lnTo>
                  <a:pt x="1231446" y="2370867"/>
                </a:lnTo>
                <a:lnTo>
                  <a:pt x="1234436" y="2350449"/>
                </a:lnTo>
                <a:lnTo>
                  <a:pt x="1237324" y="2329971"/>
                </a:lnTo>
                <a:lnTo>
                  <a:pt x="1240109" y="2309430"/>
                </a:lnTo>
                <a:lnTo>
                  <a:pt x="1242790" y="2288826"/>
                </a:lnTo>
                <a:lnTo>
                  <a:pt x="1245366" y="2268159"/>
                </a:lnTo>
                <a:lnTo>
                  <a:pt x="1247837" y="2247428"/>
                </a:lnTo>
                <a:lnTo>
                  <a:pt x="1250202" y="2226633"/>
                </a:lnTo>
                <a:lnTo>
                  <a:pt x="1252460" y="2205773"/>
                </a:lnTo>
                <a:lnTo>
                  <a:pt x="1254610" y="2184847"/>
                </a:lnTo>
                <a:lnTo>
                  <a:pt x="1256651" y="2163856"/>
                </a:lnTo>
                <a:lnTo>
                  <a:pt x="1258584" y="2142798"/>
                </a:lnTo>
                <a:lnTo>
                  <a:pt x="1260407" y="2121673"/>
                </a:lnTo>
                <a:lnTo>
                  <a:pt x="1262119" y="2100480"/>
                </a:lnTo>
                <a:lnTo>
                  <a:pt x="1263719" y="2079219"/>
                </a:lnTo>
                <a:lnTo>
                  <a:pt x="1265207" y="2057890"/>
                </a:lnTo>
                <a:lnTo>
                  <a:pt x="1266583" y="2036492"/>
                </a:lnTo>
                <a:lnTo>
                  <a:pt x="1267845" y="2015023"/>
                </a:lnTo>
                <a:lnTo>
                  <a:pt x="1268992" y="1993484"/>
                </a:lnTo>
                <a:lnTo>
                  <a:pt x="1270024" y="1971875"/>
                </a:lnTo>
                <a:lnTo>
                  <a:pt x="1270940" y="1950194"/>
                </a:lnTo>
                <a:lnTo>
                  <a:pt x="1271740" y="1928441"/>
                </a:lnTo>
                <a:lnTo>
                  <a:pt x="1272422" y="1906616"/>
                </a:lnTo>
                <a:lnTo>
                  <a:pt x="1272986" y="1884718"/>
                </a:lnTo>
                <a:lnTo>
                  <a:pt x="1273430" y="1862747"/>
                </a:lnTo>
                <a:lnTo>
                  <a:pt x="1273755" y="1840700"/>
                </a:lnTo>
                <a:lnTo>
                  <a:pt x="1273961" y="1818581"/>
                </a:lnTo>
                <a:lnTo>
                  <a:pt x="1274005" y="1774114"/>
                </a:lnTo>
                <a:lnTo>
                  <a:pt x="1273844" y="1751767"/>
                </a:lnTo>
                <a:lnTo>
                  <a:pt x="1273558" y="1729342"/>
                </a:lnTo>
                <a:lnTo>
                  <a:pt x="1273150" y="1706841"/>
                </a:lnTo>
                <a:lnTo>
                  <a:pt x="1272616" y="1684263"/>
                </a:lnTo>
                <a:lnTo>
                  <a:pt x="1271956" y="1661605"/>
                </a:lnTo>
                <a:lnTo>
                  <a:pt x="1271170" y="1638868"/>
                </a:lnTo>
                <a:lnTo>
                  <a:pt x="1270256" y="1616053"/>
                </a:lnTo>
                <a:lnTo>
                  <a:pt x="1269215" y="1593157"/>
                </a:lnTo>
                <a:lnTo>
                  <a:pt x="1268044" y="1570181"/>
                </a:lnTo>
                <a:lnTo>
                  <a:pt x="1266744" y="1547124"/>
                </a:lnTo>
                <a:lnTo>
                  <a:pt x="1265314" y="1523985"/>
                </a:lnTo>
                <a:lnTo>
                  <a:pt x="1263753" y="1500764"/>
                </a:lnTo>
                <a:lnTo>
                  <a:pt x="1262060" y="1477461"/>
                </a:lnTo>
                <a:lnTo>
                  <a:pt x="1260234" y="1454074"/>
                </a:lnTo>
                <a:lnTo>
                  <a:pt x="1258276" y="1430604"/>
                </a:lnTo>
                <a:lnTo>
                  <a:pt x="1256182" y="1407049"/>
                </a:lnTo>
                <a:lnTo>
                  <a:pt x="1253955" y="1383410"/>
                </a:lnTo>
                <a:lnTo>
                  <a:pt x="1251592" y="1359685"/>
                </a:lnTo>
                <a:lnTo>
                  <a:pt x="1249092" y="1335873"/>
                </a:lnTo>
                <a:lnTo>
                  <a:pt x="1246456" y="1311977"/>
                </a:lnTo>
                <a:lnTo>
                  <a:pt x="1243681" y="1287992"/>
                </a:lnTo>
                <a:lnTo>
                  <a:pt x="1240769" y="1263921"/>
                </a:lnTo>
                <a:lnTo>
                  <a:pt x="1237716" y="1239761"/>
                </a:lnTo>
                <a:lnTo>
                  <a:pt x="1234524" y="1215513"/>
                </a:lnTo>
                <a:lnTo>
                  <a:pt x="1231190" y="1191176"/>
                </a:lnTo>
                <a:lnTo>
                  <a:pt x="1227715" y="1166749"/>
                </a:lnTo>
                <a:lnTo>
                  <a:pt x="1224099" y="1142232"/>
                </a:lnTo>
                <a:lnTo>
                  <a:pt x="1220339" y="1117624"/>
                </a:lnTo>
                <a:lnTo>
                  <a:pt x="1216434" y="1092925"/>
                </a:lnTo>
                <a:lnTo>
                  <a:pt x="1212386" y="1068134"/>
                </a:lnTo>
                <a:lnTo>
                  <a:pt x="1208192" y="1043251"/>
                </a:lnTo>
                <a:lnTo>
                  <a:pt x="1203852" y="1018274"/>
                </a:lnTo>
                <a:lnTo>
                  <a:pt x="1199365" y="993205"/>
                </a:lnTo>
                <a:lnTo>
                  <a:pt x="1194731" y="968042"/>
                </a:lnTo>
                <a:lnTo>
                  <a:pt x="1189948" y="942784"/>
                </a:lnTo>
                <a:lnTo>
                  <a:pt x="1185016" y="917431"/>
                </a:lnTo>
                <a:lnTo>
                  <a:pt x="1179934" y="891982"/>
                </a:lnTo>
                <a:lnTo>
                  <a:pt x="1174701" y="866438"/>
                </a:lnTo>
                <a:lnTo>
                  <a:pt x="1169317" y="840796"/>
                </a:lnTo>
                <a:lnTo>
                  <a:pt x="1163781" y="815058"/>
                </a:lnTo>
                <a:lnTo>
                  <a:pt x="1158092" y="789222"/>
                </a:lnTo>
                <a:lnTo>
                  <a:pt x="1152249" y="763287"/>
                </a:lnTo>
                <a:lnTo>
                  <a:pt x="1146253" y="737255"/>
                </a:lnTo>
                <a:lnTo>
                  <a:pt x="1140101" y="711122"/>
                </a:lnTo>
                <a:lnTo>
                  <a:pt x="1133793" y="684890"/>
                </a:lnTo>
                <a:lnTo>
                  <a:pt x="1127327" y="658557"/>
                </a:lnTo>
                <a:lnTo>
                  <a:pt x="1120705" y="632123"/>
                </a:lnTo>
                <a:lnTo>
                  <a:pt x="1113925" y="605589"/>
                </a:lnTo>
                <a:lnTo>
                  <a:pt x="1106986" y="578951"/>
                </a:lnTo>
                <a:lnTo>
                  <a:pt x="1099887" y="552212"/>
                </a:lnTo>
                <a:lnTo>
                  <a:pt x="1092628" y="525369"/>
                </a:lnTo>
                <a:lnTo>
                  <a:pt x="1085207" y="498423"/>
                </a:lnTo>
                <a:lnTo>
                  <a:pt x="1077624" y="471372"/>
                </a:lnTo>
                <a:lnTo>
                  <a:pt x="1069880" y="444217"/>
                </a:lnTo>
                <a:lnTo>
                  <a:pt x="1061971" y="416957"/>
                </a:lnTo>
                <a:lnTo>
                  <a:pt x="1053898" y="389591"/>
                </a:lnTo>
                <a:lnTo>
                  <a:pt x="1045660" y="362118"/>
                </a:lnTo>
                <a:lnTo>
                  <a:pt x="1037256" y="334538"/>
                </a:lnTo>
                <a:lnTo>
                  <a:pt x="1028686" y="306852"/>
                </a:lnTo>
                <a:lnTo>
                  <a:pt x="1019950" y="279057"/>
                </a:lnTo>
                <a:lnTo>
                  <a:pt x="1011045" y="251154"/>
                </a:lnTo>
                <a:lnTo>
                  <a:pt x="1001971" y="223142"/>
                </a:lnTo>
                <a:lnTo>
                  <a:pt x="992728" y="195020"/>
                </a:lnTo>
                <a:lnTo>
                  <a:pt x="983314" y="166788"/>
                </a:lnTo>
                <a:lnTo>
                  <a:pt x="973730" y="138446"/>
                </a:lnTo>
                <a:lnTo>
                  <a:pt x="963974" y="109992"/>
                </a:lnTo>
                <a:lnTo>
                  <a:pt x="954045" y="81427"/>
                </a:lnTo>
                <a:lnTo>
                  <a:pt x="943943" y="52750"/>
                </a:lnTo>
                <a:lnTo>
                  <a:pt x="933667" y="23959"/>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6" name="Text Placeholder 2">
            <a:extLst>
              <a:ext uri="{FF2B5EF4-FFF2-40B4-BE49-F238E27FC236}">
                <a16:creationId xmlns:a16="http://schemas.microsoft.com/office/drawing/2014/main" id="{472E4862-F26F-4BEA-9FEB-DFE15AA4E10A}"/>
              </a:ext>
            </a:extLst>
          </p:cNvPr>
          <p:cNvSpPr>
            <a:spLocks noGrp="1"/>
          </p:cNvSpPr>
          <p:nvPr>
            <p:ph type="body" sz="quarter" idx="15"/>
          </p:nvPr>
        </p:nvSpPr>
        <p:spPr>
          <a:xfrm>
            <a:off x="432000" y="1416001"/>
            <a:ext cx="3456317"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10" name="Round Diagonal Corner Rectangle 4">
            <a:extLst>
              <a:ext uri="{FF2B5EF4-FFF2-40B4-BE49-F238E27FC236}">
                <a16:creationId xmlns:a16="http://schemas.microsoft.com/office/drawing/2014/main" id="{B1508920-DE1E-4600-ABEC-66488997A7F2}"/>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2" name="Rectangle 11">
            <a:hlinkClick r:id="rId2"/>
            <a:extLst>
              <a:ext uri="{FF2B5EF4-FFF2-40B4-BE49-F238E27FC236}">
                <a16:creationId xmlns:a16="http://schemas.microsoft.com/office/drawing/2014/main" id="{5CCFFF65-EF68-45FF-A126-7B581810B37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8" name="Picture 7">
            <a:extLst>
              <a:ext uri="{FF2B5EF4-FFF2-40B4-BE49-F238E27FC236}">
                <a16:creationId xmlns:a16="http://schemas.microsoft.com/office/drawing/2014/main" id="{A4694E5B-8288-4F85-9F48-AF84A3810CE6}"/>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3" name="Title 2">
            <a:extLst>
              <a:ext uri="{FF2B5EF4-FFF2-40B4-BE49-F238E27FC236}">
                <a16:creationId xmlns:a16="http://schemas.microsoft.com/office/drawing/2014/main" id="{3E108CA2-B250-42BE-9D56-C09CE2724843}"/>
              </a:ext>
            </a:extLst>
          </p:cNvPr>
          <p:cNvSpPr>
            <a:spLocks noGrp="1"/>
          </p:cNvSpPr>
          <p:nvPr>
            <p:ph type="title"/>
          </p:nvPr>
        </p:nvSpPr>
        <p:spPr>
          <a:xfrm>
            <a:off x="431402" y="441140"/>
            <a:ext cx="3456917" cy="393955"/>
          </a:xfrm>
        </p:spPr>
        <p:txBody>
          <a:bodyPr/>
          <a:lstStyle/>
          <a:p>
            <a:r>
              <a:rPr lang="en-US"/>
              <a:t>Click to edit Master title style</a:t>
            </a:r>
            <a:endParaRPr lang="en-GB" dirty="0"/>
          </a:p>
        </p:txBody>
      </p:sp>
    </p:spTree>
    <p:extLst>
      <p:ext uri="{BB962C8B-B14F-4D97-AF65-F5344CB8AC3E}">
        <p14:creationId xmlns:p14="http://schemas.microsoft.com/office/powerpoint/2010/main" val="1814207914"/>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ey mess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576D51F-52D4-4DC0-8A7D-6D12557F5F23}"/>
              </a:ext>
            </a:extLst>
          </p:cNvPr>
          <p:cNvSpPr>
            <a:spLocks noGrp="1"/>
          </p:cNvSpPr>
          <p:nvPr>
            <p:ph type="pic" sz="quarter" idx="16" hasCustomPrompt="1"/>
          </p:nvPr>
        </p:nvSpPr>
        <p:spPr>
          <a:xfrm>
            <a:off x="-8119" y="0"/>
            <a:ext cx="9480900" cy="6857037"/>
          </a:xfrm>
          <a:custGeom>
            <a:avLst/>
            <a:gdLst>
              <a:gd name="connsiteX0" fmla="*/ 0 w 15633609"/>
              <a:gd name="connsiteY0" fmla="*/ 0 h 11307763"/>
              <a:gd name="connsiteX1" fmla="*/ 13600449 w 15633609"/>
              <a:gd name="connsiteY1" fmla="*/ 0 h 11307763"/>
              <a:gd name="connsiteX2" fmla="*/ 13581182 w 15633609"/>
              <a:gd name="connsiteY2" fmla="*/ 53290 h 11307763"/>
              <a:gd name="connsiteX3" fmla="*/ 13558589 w 15633609"/>
              <a:gd name="connsiteY3" fmla="*/ 116593 h 11307763"/>
              <a:gd name="connsiteX4" fmla="*/ 13536379 w 15633609"/>
              <a:gd name="connsiteY4" fmla="*/ 179648 h 11307763"/>
              <a:gd name="connsiteX5" fmla="*/ 13514550 w 15633609"/>
              <a:gd name="connsiteY5" fmla="*/ 242456 h 11307763"/>
              <a:gd name="connsiteX6" fmla="*/ 13493100 w 15633609"/>
              <a:gd name="connsiteY6" fmla="*/ 305018 h 11307763"/>
              <a:gd name="connsiteX7" fmla="*/ 13472027 w 15633609"/>
              <a:gd name="connsiteY7" fmla="*/ 367337 h 11307763"/>
              <a:gd name="connsiteX8" fmla="*/ 13451330 w 15633609"/>
              <a:gd name="connsiteY8" fmla="*/ 429411 h 11307763"/>
              <a:gd name="connsiteX9" fmla="*/ 13431008 w 15633609"/>
              <a:gd name="connsiteY9" fmla="*/ 491244 h 11307763"/>
              <a:gd name="connsiteX10" fmla="*/ 13411058 w 15633609"/>
              <a:gd name="connsiteY10" fmla="*/ 552836 h 11307763"/>
              <a:gd name="connsiteX11" fmla="*/ 13391480 w 15633609"/>
              <a:gd name="connsiteY11" fmla="*/ 614189 h 11307763"/>
              <a:gd name="connsiteX12" fmla="*/ 13372270 w 15633609"/>
              <a:gd name="connsiteY12" fmla="*/ 675303 h 11307763"/>
              <a:gd name="connsiteX13" fmla="*/ 13353428 w 15633609"/>
              <a:gd name="connsiteY13" fmla="*/ 736179 h 11307763"/>
              <a:gd name="connsiteX14" fmla="*/ 13334952 w 15633609"/>
              <a:gd name="connsiteY14" fmla="*/ 796820 h 11307763"/>
              <a:gd name="connsiteX15" fmla="*/ 13316841 w 15633609"/>
              <a:gd name="connsiteY15" fmla="*/ 857225 h 11307763"/>
              <a:gd name="connsiteX16" fmla="*/ 13299092 w 15633609"/>
              <a:gd name="connsiteY16" fmla="*/ 917397 h 11307763"/>
              <a:gd name="connsiteX17" fmla="*/ 13281704 w 15633609"/>
              <a:gd name="connsiteY17" fmla="*/ 977336 h 11307763"/>
              <a:gd name="connsiteX18" fmla="*/ 13264675 w 15633609"/>
              <a:gd name="connsiteY18" fmla="*/ 1037044 h 11307763"/>
              <a:gd name="connsiteX19" fmla="*/ 13248005 w 15633609"/>
              <a:gd name="connsiteY19" fmla="*/ 1096522 h 11307763"/>
              <a:gd name="connsiteX20" fmla="*/ 13231690 w 15633609"/>
              <a:gd name="connsiteY20" fmla="*/ 1155770 h 11307763"/>
              <a:gd name="connsiteX21" fmla="*/ 13215729 w 15633609"/>
              <a:gd name="connsiteY21" fmla="*/ 1214791 h 11307763"/>
              <a:gd name="connsiteX22" fmla="*/ 13200122 w 15633609"/>
              <a:gd name="connsiteY22" fmla="*/ 1273585 h 11307763"/>
              <a:gd name="connsiteX23" fmla="*/ 13184865 w 15633609"/>
              <a:gd name="connsiteY23" fmla="*/ 1332154 h 11307763"/>
              <a:gd name="connsiteX24" fmla="*/ 13169958 w 15633609"/>
              <a:gd name="connsiteY24" fmla="*/ 1390498 h 11307763"/>
              <a:gd name="connsiteX25" fmla="*/ 13155398 w 15633609"/>
              <a:gd name="connsiteY25" fmla="*/ 1448619 h 11307763"/>
              <a:gd name="connsiteX26" fmla="*/ 13141185 w 15633609"/>
              <a:gd name="connsiteY26" fmla="*/ 1506519 h 11307763"/>
              <a:gd name="connsiteX27" fmla="*/ 13127316 w 15633609"/>
              <a:gd name="connsiteY27" fmla="*/ 1564197 h 11307763"/>
              <a:gd name="connsiteX28" fmla="*/ 13113790 w 15633609"/>
              <a:gd name="connsiteY28" fmla="*/ 1621656 h 11307763"/>
              <a:gd name="connsiteX29" fmla="*/ 13100605 w 15633609"/>
              <a:gd name="connsiteY29" fmla="*/ 1678897 h 11307763"/>
              <a:gd name="connsiteX30" fmla="*/ 13087759 w 15633609"/>
              <a:gd name="connsiteY30" fmla="*/ 1735920 h 11307763"/>
              <a:gd name="connsiteX31" fmla="*/ 13075251 w 15633609"/>
              <a:gd name="connsiteY31" fmla="*/ 1792727 h 11307763"/>
              <a:gd name="connsiteX32" fmla="*/ 13063080 w 15633609"/>
              <a:gd name="connsiteY32" fmla="*/ 1849320 h 11307763"/>
              <a:gd name="connsiteX33" fmla="*/ 13051242 w 15633609"/>
              <a:gd name="connsiteY33" fmla="*/ 1905699 h 11307763"/>
              <a:gd name="connsiteX34" fmla="*/ 13039738 w 15633609"/>
              <a:gd name="connsiteY34" fmla="*/ 1961865 h 11307763"/>
              <a:gd name="connsiteX35" fmla="*/ 13028565 w 15633609"/>
              <a:gd name="connsiteY35" fmla="*/ 2017820 h 11307763"/>
              <a:gd name="connsiteX36" fmla="*/ 13017721 w 15633609"/>
              <a:gd name="connsiteY36" fmla="*/ 2073565 h 11307763"/>
              <a:gd name="connsiteX37" fmla="*/ 13007205 w 15633609"/>
              <a:gd name="connsiteY37" fmla="*/ 2129101 h 11307763"/>
              <a:gd name="connsiteX38" fmla="*/ 12997016 w 15633609"/>
              <a:gd name="connsiteY38" fmla="*/ 2184430 h 11307763"/>
              <a:gd name="connsiteX39" fmla="*/ 12987151 w 15633609"/>
              <a:gd name="connsiteY39" fmla="*/ 2239551 h 11307763"/>
              <a:gd name="connsiteX40" fmla="*/ 12977609 w 15633609"/>
              <a:gd name="connsiteY40" fmla="*/ 2294468 h 11307763"/>
              <a:gd name="connsiteX41" fmla="*/ 12968388 w 15633609"/>
              <a:gd name="connsiteY41" fmla="*/ 2349180 h 11307763"/>
              <a:gd name="connsiteX42" fmla="*/ 12959486 w 15633609"/>
              <a:gd name="connsiteY42" fmla="*/ 2403689 h 11307763"/>
              <a:gd name="connsiteX43" fmla="*/ 12950903 w 15633609"/>
              <a:gd name="connsiteY43" fmla="*/ 2457997 h 11307763"/>
              <a:gd name="connsiteX44" fmla="*/ 12942636 w 15633609"/>
              <a:gd name="connsiteY44" fmla="*/ 2512103 h 11307763"/>
              <a:gd name="connsiteX45" fmla="*/ 12934683 w 15633609"/>
              <a:gd name="connsiteY45" fmla="*/ 2566011 h 11307763"/>
              <a:gd name="connsiteX46" fmla="*/ 12927044 w 15633609"/>
              <a:gd name="connsiteY46" fmla="*/ 2619720 h 11307763"/>
              <a:gd name="connsiteX47" fmla="*/ 12919715 w 15633609"/>
              <a:gd name="connsiteY47" fmla="*/ 2673232 h 11307763"/>
              <a:gd name="connsiteX48" fmla="*/ 12912696 w 15633609"/>
              <a:gd name="connsiteY48" fmla="*/ 2726548 h 11307763"/>
              <a:gd name="connsiteX49" fmla="*/ 12905986 w 15633609"/>
              <a:gd name="connsiteY49" fmla="*/ 2779669 h 11307763"/>
              <a:gd name="connsiteX50" fmla="*/ 12899581 w 15633609"/>
              <a:gd name="connsiteY50" fmla="*/ 2832597 h 11307763"/>
              <a:gd name="connsiteX51" fmla="*/ 12893481 w 15633609"/>
              <a:gd name="connsiteY51" fmla="*/ 2885332 h 11307763"/>
              <a:gd name="connsiteX52" fmla="*/ 12887685 w 15633609"/>
              <a:gd name="connsiteY52" fmla="*/ 2937876 h 11307763"/>
              <a:gd name="connsiteX53" fmla="*/ 12882189 w 15633609"/>
              <a:gd name="connsiteY53" fmla="*/ 2990230 h 11307763"/>
              <a:gd name="connsiteX54" fmla="*/ 12876994 w 15633609"/>
              <a:gd name="connsiteY54" fmla="*/ 3042396 h 11307763"/>
              <a:gd name="connsiteX55" fmla="*/ 12872096 w 15633609"/>
              <a:gd name="connsiteY55" fmla="*/ 3094373 h 11307763"/>
              <a:gd name="connsiteX56" fmla="*/ 12867494 w 15633609"/>
              <a:gd name="connsiteY56" fmla="*/ 3146165 h 11307763"/>
              <a:gd name="connsiteX57" fmla="*/ 12863188 w 15633609"/>
              <a:gd name="connsiteY57" fmla="*/ 3197771 h 11307763"/>
              <a:gd name="connsiteX58" fmla="*/ 12859174 w 15633609"/>
              <a:gd name="connsiteY58" fmla="*/ 3249192 h 11307763"/>
              <a:gd name="connsiteX59" fmla="*/ 12855452 w 15633609"/>
              <a:gd name="connsiteY59" fmla="*/ 3300431 h 11307763"/>
              <a:gd name="connsiteX60" fmla="*/ 12852020 w 15633609"/>
              <a:gd name="connsiteY60" fmla="*/ 3351489 h 11307763"/>
              <a:gd name="connsiteX61" fmla="*/ 12848875 w 15633609"/>
              <a:gd name="connsiteY61" fmla="*/ 3402365 h 11307763"/>
              <a:gd name="connsiteX62" fmla="*/ 12846017 w 15633609"/>
              <a:gd name="connsiteY62" fmla="*/ 3453063 h 11307763"/>
              <a:gd name="connsiteX63" fmla="*/ 12843444 w 15633609"/>
              <a:gd name="connsiteY63" fmla="*/ 3503582 h 11307763"/>
              <a:gd name="connsiteX64" fmla="*/ 12841154 w 15633609"/>
              <a:gd name="connsiteY64" fmla="*/ 3553924 h 11307763"/>
              <a:gd name="connsiteX65" fmla="*/ 12839145 w 15633609"/>
              <a:gd name="connsiteY65" fmla="*/ 3604090 h 11307763"/>
              <a:gd name="connsiteX66" fmla="*/ 12837417 w 15633609"/>
              <a:gd name="connsiteY66" fmla="*/ 3654082 h 11307763"/>
              <a:gd name="connsiteX67" fmla="*/ 12835966 w 15633609"/>
              <a:gd name="connsiteY67" fmla="*/ 3703900 h 11307763"/>
              <a:gd name="connsiteX68" fmla="*/ 12834792 w 15633609"/>
              <a:gd name="connsiteY68" fmla="*/ 3753546 h 11307763"/>
              <a:gd name="connsiteX69" fmla="*/ 12833892 w 15633609"/>
              <a:gd name="connsiteY69" fmla="*/ 3803021 h 11307763"/>
              <a:gd name="connsiteX70" fmla="*/ 12833266 w 15633609"/>
              <a:gd name="connsiteY70" fmla="*/ 3852326 h 11307763"/>
              <a:gd name="connsiteX71" fmla="*/ 12832911 w 15633609"/>
              <a:gd name="connsiteY71" fmla="*/ 3901463 h 11307763"/>
              <a:gd name="connsiteX72" fmla="*/ 12832827 w 15633609"/>
              <a:gd name="connsiteY72" fmla="*/ 3950432 h 11307763"/>
              <a:gd name="connsiteX73" fmla="*/ 12833010 w 15633609"/>
              <a:gd name="connsiteY73" fmla="*/ 3999234 h 11307763"/>
              <a:gd name="connsiteX74" fmla="*/ 12833460 w 15633609"/>
              <a:gd name="connsiteY74" fmla="*/ 4047871 h 11307763"/>
              <a:gd name="connsiteX75" fmla="*/ 12834174 w 15633609"/>
              <a:gd name="connsiteY75" fmla="*/ 4096344 h 11307763"/>
              <a:gd name="connsiteX76" fmla="*/ 12835152 w 15633609"/>
              <a:gd name="connsiteY76" fmla="*/ 4144655 h 11307763"/>
              <a:gd name="connsiteX77" fmla="*/ 12836392 w 15633609"/>
              <a:gd name="connsiteY77" fmla="*/ 4192804 h 11307763"/>
              <a:gd name="connsiteX78" fmla="*/ 12837891 w 15633609"/>
              <a:gd name="connsiteY78" fmla="*/ 4240792 h 11307763"/>
              <a:gd name="connsiteX79" fmla="*/ 12839649 w 15633609"/>
              <a:gd name="connsiteY79" fmla="*/ 4288621 h 11307763"/>
              <a:gd name="connsiteX80" fmla="*/ 12841663 w 15633609"/>
              <a:gd name="connsiteY80" fmla="*/ 4336292 h 11307763"/>
              <a:gd name="connsiteX81" fmla="*/ 12843933 w 15633609"/>
              <a:gd name="connsiteY81" fmla="*/ 4383807 h 11307763"/>
              <a:gd name="connsiteX82" fmla="*/ 12846455 w 15633609"/>
              <a:gd name="connsiteY82" fmla="*/ 4431165 h 11307763"/>
              <a:gd name="connsiteX83" fmla="*/ 12849229 w 15633609"/>
              <a:gd name="connsiteY83" fmla="*/ 4478369 h 11307763"/>
              <a:gd name="connsiteX84" fmla="*/ 12852253 w 15633609"/>
              <a:gd name="connsiteY84" fmla="*/ 4525420 h 11307763"/>
              <a:gd name="connsiteX85" fmla="*/ 12855526 w 15633609"/>
              <a:gd name="connsiteY85" fmla="*/ 4572318 h 11307763"/>
              <a:gd name="connsiteX86" fmla="*/ 12859045 w 15633609"/>
              <a:gd name="connsiteY86" fmla="*/ 4619066 h 11307763"/>
              <a:gd name="connsiteX87" fmla="*/ 12862809 w 15633609"/>
              <a:gd name="connsiteY87" fmla="*/ 4665663 h 11307763"/>
              <a:gd name="connsiteX88" fmla="*/ 12866816 w 15633609"/>
              <a:gd name="connsiteY88" fmla="*/ 4712112 h 11307763"/>
              <a:gd name="connsiteX89" fmla="*/ 12871065 w 15633609"/>
              <a:gd name="connsiteY89" fmla="*/ 4758414 h 11307763"/>
              <a:gd name="connsiteX90" fmla="*/ 12875554 w 15633609"/>
              <a:gd name="connsiteY90" fmla="*/ 4804569 h 11307763"/>
              <a:gd name="connsiteX91" fmla="*/ 12880282 w 15633609"/>
              <a:gd name="connsiteY91" fmla="*/ 4850580 h 11307763"/>
              <a:gd name="connsiteX92" fmla="*/ 12885246 w 15633609"/>
              <a:gd name="connsiteY92" fmla="*/ 4896446 h 11307763"/>
              <a:gd name="connsiteX93" fmla="*/ 12890445 w 15633609"/>
              <a:gd name="connsiteY93" fmla="*/ 4942170 h 11307763"/>
              <a:gd name="connsiteX94" fmla="*/ 12895878 w 15633609"/>
              <a:gd name="connsiteY94" fmla="*/ 4987752 h 11307763"/>
              <a:gd name="connsiteX95" fmla="*/ 12901542 w 15633609"/>
              <a:gd name="connsiteY95" fmla="*/ 5033194 h 11307763"/>
              <a:gd name="connsiteX96" fmla="*/ 12907436 w 15633609"/>
              <a:gd name="connsiteY96" fmla="*/ 5078497 h 11307763"/>
              <a:gd name="connsiteX97" fmla="*/ 12913559 w 15633609"/>
              <a:gd name="connsiteY97" fmla="*/ 5123661 h 11307763"/>
              <a:gd name="connsiteX98" fmla="*/ 12919909 w 15633609"/>
              <a:gd name="connsiteY98" fmla="*/ 5168689 h 11307763"/>
              <a:gd name="connsiteX99" fmla="*/ 12926483 w 15633609"/>
              <a:gd name="connsiteY99" fmla="*/ 5213582 h 11307763"/>
              <a:gd name="connsiteX100" fmla="*/ 12933281 w 15633609"/>
              <a:gd name="connsiteY100" fmla="*/ 5258339 h 11307763"/>
              <a:gd name="connsiteX101" fmla="*/ 12940301 w 15633609"/>
              <a:gd name="connsiteY101" fmla="*/ 5302964 h 11307763"/>
              <a:gd name="connsiteX102" fmla="*/ 12947541 w 15633609"/>
              <a:gd name="connsiteY102" fmla="*/ 5347457 h 11307763"/>
              <a:gd name="connsiteX103" fmla="*/ 12955000 w 15633609"/>
              <a:gd name="connsiteY103" fmla="*/ 5391819 h 11307763"/>
              <a:gd name="connsiteX104" fmla="*/ 12962675 w 15633609"/>
              <a:gd name="connsiteY104" fmla="*/ 5436051 h 11307763"/>
              <a:gd name="connsiteX105" fmla="*/ 12970566 w 15633609"/>
              <a:gd name="connsiteY105" fmla="*/ 5480154 h 11307763"/>
              <a:gd name="connsiteX106" fmla="*/ 12978669 w 15633609"/>
              <a:gd name="connsiteY106" fmla="*/ 5524130 h 11307763"/>
              <a:gd name="connsiteX107" fmla="*/ 12986985 w 15633609"/>
              <a:gd name="connsiteY107" fmla="*/ 5567980 h 11307763"/>
              <a:gd name="connsiteX108" fmla="*/ 12995511 w 15633609"/>
              <a:gd name="connsiteY108" fmla="*/ 5611705 h 11307763"/>
              <a:gd name="connsiteX109" fmla="*/ 13004246 w 15633609"/>
              <a:gd name="connsiteY109" fmla="*/ 5655307 h 11307763"/>
              <a:gd name="connsiteX110" fmla="*/ 13013187 w 15633609"/>
              <a:gd name="connsiteY110" fmla="*/ 5698785 h 11307763"/>
              <a:gd name="connsiteX111" fmla="*/ 13022334 w 15633609"/>
              <a:gd name="connsiteY111" fmla="*/ 5742143 h 11307763"/>
              <a:gd name="connsiteX112" fmla="*/ 13031684 w 15633609"/>
              <a:gd name="connsiteY112" fmla="*/ 5785380 h 11307763"/>
              <a:gd name="connsiteX113" fmla="*/ 13041236 w 15633609"/>
              <a:gd name="connsiteY113" fmla="*/ 5828498 h 11307763"/>
              <a:gd name="connsiteX114" fmla="*/ 13050988 w 15633609"/>
              <a:gd name="connsiteY114" fmla="*/ 5871498 h 11307763"/>
              <a:gd name="connsiteX115" fmla="*/ 13060939 w 15633609"/>
              <a:gd name="connsiteY115" fmla="*/ 5914381 h 11307763"/>
              <a:gd name="connsiteX116" fmla="*/ 13071087 w 15633609"/>
              <a:gd name="connsiteY116" fmla="*/ 5957149 h 11307763"/>
              <a:gd name="connsiteX117" fmla="*/ 13081430 w 15633609"/>
              <a:gd name="connsiteY117" fmla="*/ 5999803 h 11307763"/>
              <a:gd name="connsiteX118" fmla="*/ 13091967 w 15633609"/>
              <a:gd name="connsiteY118" fmla="*/ 6042343 h 11307763"/>
              <a:gd name="connsiteX119" fmla="*/ 13102695 w 15633609"/>
              <a:gd name="connsiteY119" fmla="*/ 6084772 h 11307763"/>
              <a:gd name="connsiteX120" fmla="*/ 13113614 w 15633609"/>
              <a:gd name="connsiteY120" fmla="*/ 6127090 h 11307763"/>
              <a:gd name="connsiteX121" fmla="*/ 13124722 w 15633609"/>
              <a:gd name="connsiteY121" fmla="*/ 6169298 h 11307763"/>
              <a:gd name="connsiteX122" fmla="*/ 13136016 w 15633609"/>
              <a:gd name="connsiteY122" fmla="*/ 6211398 h 11307763"/>
              <a:gd name="connsiteX123" fmla="*/ 13147496 w 15633609"/>
              <a:gd name="connsiteY123" fmla="*/ 6253390 h 11307763"/>
              <a:gd name="connsiteX124" fmla="*/ 13159160 w 15633609"/>
              <a:gd name="connsiteY124" fmla="*/ 6295277 h 11307763"/>
              <a:gd name="connsiteX125" fmla="*/ 13171005 w 15633609"/>
              <a:gd name="connsiteY125" fmla="*/ 6337058 h 11307763"/>
              <a:gd name="connsiteX126" fmla="*/ 13183031 w 15633609"/>
              <a:gd name="connsiteY126" fmla="*/ 6378736 h 11307763"/>
              <a:gd name="connsiteX127" fmla="*/ 13195236 w 15633609"/>
              <a:gd name="connsiteY127" fmla="*/ 6420312 h 11307763"/>
              <a:gd name="connsiteX128" fmla="*/ 13207618 w 15633609"/>
              <a:gd name="connsiteY128" fmla="*/ 6461786 h 11307763"/>
              <a:gd name="connsiteX129" fmla="*/ 13220175 w 15633609"/>
              <a:gd name="connsiteY129" fmla="*/ 6503160 h 11307763"/>
              <a:gd name="connsiteX130" fmla="*/ 13232905 w 15633609"/>
              <a:gd name="connsiteY130" fmla="*/ 6544435 h 11307763"/>
              <a:gd name="connsiteX131" fmla="*/ 13245808 w 15633609"/>
              <a:gd name="connsiteY131" fmla="*/ 6585612 h 11307763"/>
              <a:gd name="connsiteX132" fmla="*/ 13258881 w 15633609"/>
              <a:gd name="connsiteY132" fmla="*/ 6626693 h 11307763"/>
              <a:gd name="connsiteX133" fmla="*/ 13272123 w 15633609"/>
              <a:gd name="connsiteY133" fmla="*/ 6667678 h 11307763"/>
              <a:gd name="connsiteX134" fmla="*/ 13285533 w 15633609"/>
              <a:gd name="connsiteY134" fmla="*/ 6708569 h 11307763"/>
              <a:gd name="connsiteX135" fmla="*/ 13299107 w 15633609"/>
              <a:gd name="connsiteY135" fmla="*/ 6749367 h 11307763"/>
              <a:gd name="connsiteX136" fmla="*/ 13312845 w 15633609"/>
              <a:gd name="connsiteY136" fmla="*/ 6790073 h 11307763"/>
              <a:gd name="connsiteX137" fmla="*/ 13326746 w 15633609"/>
              <a:gd name="connsiteY137" fmla="*/ 6830689 h 11307763"/>
              <a:gd name="connsiteX138" fmla="*/ 13340807 w 15633609"/>
              <a:gd name="connsiteY138" fmla="*/ 6871215 h 11307763"/>
              <a:gd name="connsiteX139" fmla="*/ 13355026 w 15633609"/>
              <a:gd name="connsiteY139" fmla="*/ 6911653 h 11307763"/>
              <a:gd name="connsiteX140" fmla="*/ 13369403 w 15633609"/>
              <a:gd name="connsiteY140" fmla="*/ 6952003 h 11307763"/>
              <a:gd name="connsiteX141" fmla="*/ 13383935 w 15633609"/>
              <a:gd name="connsiteY141" fmla="*/ 6992268 h 11307763"/>
              <a:gd name="connsiteX142" fmla="*/ 13398622 w 15633609"/>
              <a:gd name="connsiteY142" fmla="*/ 7032448 h 11307763"/>
              <a:gd name="connsiteX143" fmla="*/ 13413460 w 15633609"/>
              <a:gd name="connsiteY143" fmla="*/ 7072544 h 11307763"/>
              <a:gd name="connsiteX144" fmla="*/ 13428449 w 15633609"/>
              <a:gd name="connsiteY144" fmla="*/ 7112558 h 11307763"/>
              <a:gd name="connsiteX145" fmla="*/ 13443587 w 15633609"/>
              <a:gd name="connsiteY145" fmla="*/ 7152491 h 11307763"/>
              <a:gd name="connsiteX146" fmla="*/ 13458871 w 15633609"/>
              <a:gd name="connsiteY146" fmla="*/ 7192343 h 11307763"/>
              <a:gd name="connsiteX147" fmla="*/ 13474302 w 15633609"/>
              <a:gd name="connsiteY147" fmla="*/ 7232117 h 11307763"/>
              <a:gd name="connsiteX148" fmla="*/ 13489876 w 15633609"/>
              <a:gd name="connsiteY148" fmla="*/ 7271813 h 11307763"/>
              <a:gd name="connsiteX149" fmla="*/ 13505593 w 15633609"/>
              <a:gd name="connsiteY149" fmla="*/ 7311433 h 11307763"/>
              <a:gd name="connsiteX150" fmla="*/ 13521450 w 15633609"/>
              <a:gd name="connsiteY150" fmla="*/ 7350977 h 11307763"/>
              <a:gd name="connsiteX151" fmla="*/ 13537446 w 15633609"/>
              <a:gd name="connsiteY151" fmla="*/ 7390448 h 11307763"/>
              <a:gd name="connsiteX152" fmla="*/ 13553580 w 15633609"/>
              <a:gd name="connsiteY152" fmla="*/ 7429845 h 11307763"/>
              <a:gd name="connsiteX153" fmla="*/ 13569849 w 15633609"/>
              <a:gd name="connsiteY153" fmla="*/ 7469171 h 11307763"/>
              <a:gd name="connsiteX154" fmla="*/ 13586251 w 15633609"/>
              <a:gd name="connsiteY154" fmla="*/ 7508426 h 11307763"/>
              <a:gd name="connsiteX155" fmla="*/ 13602787 w 15633609"/>
              <a:gd name="connsiteY155" fmla="*/ 7547611 h 11307763"/>
              <a:gd name="connsiteX156" fmla="*/ 13619452 w 15633609"/>
              <a:gd name="connsiteY156" fmla="*/ 7586729 h 11307763"/>
              <a:gd name="connsiteX157" fmla="*/ 13636247 w 15633609"/>
              <a:gd name="connsiteY157" fmla="*/ 7625779 h 11307763"/>
              <a:gd name="connsiteX158" fmla="*/ 13653169 w 15633609"/>
              <a:gd name="connsiteY158" fmla="*/ 7664764 h 11307763"/>
              <a:gd name="connsiteX159" fmla="*/ 13670217 w 15633609"/>
              <a:gd name="connsiteY159" fmla="*/ 7703683 h 11307763"/>
              <a:gd name="connsiteX160" fmla="*/ 13687389 w 15633609"/>
              <a:gd name="connsiteY160" fmla="*/ 7742540 h 11307763"/>
              <a:gd name="connsiteX161" fmla="*/ 13704683 w 15633609"/>
              <a:gd name="connsiteY161" fmla="*/ 7781334 h 11307763"/>
              <a:gd name="connsiteX162" fmla="*/ 13722098 w 15633609"/>
              <a:gd name="connsiteY162" fmla="*/ 7820067 h 11307763"/>
              <a:gd name="connsiteX163" fmla="*/ 13739632 w 15633609"/>
              <a:gd name="connsiteY163" fmla="*/ 7858740 h 11307763"/>
              <a:gd name="connsiteX164" fmla="*/ 13757283 w 15633609"/>
              <a:gd name="connsiteY164" fmla="*/ 7897355 h 11307763"/>
              <a:gd name="connsiteX165" fmla="*/ 13775050 w 15633609"/>
              <a:gd name="connsiteY165" fmla="*/ 7935911 h 11307763"/>
              <a:gd name="connsiteX166" fmla="*/ 13792931 w 15633609"/>
              <a:gd name="connsiteY166" fmla="*/ 7974412 h 11307763"/>
              <a:gd name="connsiteX167" fmla="*/ 13810924 w 15633609"/>
              <a:gd name="connsiteY167" fmla="*/ 8012857 h 11307763"/>
              <a:gd name="connsiteX168" fmla="*/ 13829028 w 15633609"/>
              <a:gd name="connsiteY168" fmla="*/ 8051248 h 11307763"/>
              <a:gd name="connsiteX169" fmla="*/ 13847242 w 15633609"/>
              <a:gd name="connsiteY169" fmla="*/ 8089587 h 11307763"/>
              <a:gd name="connsiteX170" fmla="*/ 13865562 w 15633609"/>
              <a:gd name="connsiteY170" fmla="*/ 8127873 h 11307763"/>
              <a:gd name="connsiteX171" fmla="*/ 13883989 w 15633609"/>
              <a:gd name="connsiteY171" fmla="*/ 8166110 h 11307763"/>
              <a:gd name="connsiteX172" fmla="*/ 13902519 w 15633609"/>
              <a:gd name="connsiteY172" fmla="*/ 8204296 h 11307763"/>
              <a:gd name="connsiteX173" fmla="*/ 13921152 w 15633609"/>
              <a:gd name="connsiteY173" fmla="*/ 8242435 h 11307763"/>
              <a:gd name="connsiteX174" fmla="*/ 13939886 w 15633609"/>
              <a:gd name="connsiteY174" fmla="*/ 8280527 h 11307763"/>
              <a:gd name="connsiteX175" fmla="*/ 13958719 w 15633609"/>
              <a:gd name="connsiteY175" fmla="*/ 8318574 h 11307763"/>
              <a:gd name="connsiteX176" fmla="*/ 13977649 w 15633609"/>
              <a:gd name="connsiteY176" fmla="*/ 8356575 h 11307763"/>
              <a:gd name="connsiteX177" fmla="*/ 13996675 w 15633609"/>
              <a:gd name="connsiteY177" fmla="*/ 8394533 h 11307763"/>
              <a:gd name="connsiteX178" fmla="*/ 14015796 w 15633609"/>
              <a:gd name="connsiteY178" fmla="*/ 8432450 h 11307763"/>
              <a:gd name="connsiteX179" fmla="*/ 14035009 w 15633609"/>
              <a:gd name="connsiteY179" fmla="*/ 8470325 h 11307763"/>
              <a:gd name="connsiteX180" fmla="*/ 14054313 w 15633609"/>
              <a:gd name="connsiteY180" fmla="*/ 8508160 h 11307763"/>
              <a:gd name="connsiteX181" fmla="*/ 14073706 w 15633609"/>
              <a:gd name="connsiteY181" fmla="*/ 8545957 h 11307763"/>
              <a:gd name="connsiteX182" fmla="*/ 14093186 w 15633609"/>
              <a:gd name="connsiteY182" fmla="*/ 8583716 h 11307763"/>
              <a:gd name="connsiteX183" fmla="*/ 14112752 w 15633609"/>
              <a:gd name="connsiteY183" fmla="*/ 8621439 h 11307763"/>
              <a:gd name="connsiteX184" fmla="*/ 14132403 w 15633609"/>
              <a:gd name="connsiteY184" fmla="*/ 8659126 h 11307763"/>
              <a:gd name="connsiteX185" fmla="*/ 14171950 w 15633609"/>
              <a:gd name="connsiteY185" fmla="*/ 8734401 h 11307763"/>
              <a:gd name="connsiteX186" fmla="*/ 14211815 w 15633609"/>
              <a:gd name="connsiteY186" fmla="*/ 8809550 h 11307763"/>
              <a:gd name="connsiteX187" fmla="*/ 14251983 w 15633609"/>
              <a:gd name="connsiteY187" fmla="*/ 8884582 h 11307763"/>
              <a:gd name="connsiteX188" fmla="*/ 14292441 w 15633609"/>
              <a:gd name="connsiteY188" fmla="*/ 8959507 h 11307763"/>
              <a:gd name="connsiteX189" fmla="*/ 14333177 w 15633609"/>
              <a:gd name="connsiteY189" fmla="*/ 9034334 h 11307763"/>
              <a:gd name="connsiteX190" fmla="*/ 14374177 w 15633609"/>
              <a:gd name="connsiteY190" fmla="*/ 9109073 h 11307763"/>
              <a:gd name="connsiteX191" fmla="*/ 14436142 w 15633609"/>
              <a:gd name="connsiteY191" fmla="*/ 9221036 h 11307763"/>
              <a:gd name="connsiteX192" fmla="*/ 14498627 w 15633609"/>
              <a:gd name="connsiteY192" fmla="*/ 9332854 h 11307763"/>
              <a:gd name="connsiteX193" fmla="*/ 14582671 w 15633609"/>
              <a:gd name="connsiteY193" fmla="*/ 9481773 h 11307763"/>
              <a:gd name="connsiteX194" fmla="*/ 14667452 w 15633609"/>
              <a:gd name="connsiteY194" fmla="*/ 9630565 h 11307763"/>
              <a:gd name="connsiteX195" fmla="*/ 14795776 w 15633609"/>
              <a:gd name="connsiteY195" fmla="*/ 9853682 h 11307763"/>
              <a:gd name="connsiteX196" fmla="*/ 15272668 w 15633609"/>
              <a:gd name="connsiteY196" fmla="*/ 10674932 h 11307763"/>
              <a:gd name="connsiteX197" fmla="*/ 15446180 w 15633609"/>
              <a:gd name="connsiteY197" fmla="*/ 10976499 h 11307763"/>
              <a:gd name="connsiteX198" fmla="*/ 15554022 w 15633609"/>
              <a:gd name="connsiteY198" fmla="*/ 11166221 h 11307763"/>
              <a:gd name="connsiteX199" fmla="*/ 15633609 w 15633609"/>
              <a:gd name="connsiteY199" fmla="*/ 11307763 h 11307763"/>
              <a:gd name="connsiteX200" fmla="*/ 0 w 15633609"/>
              <a:gd name="connsiteY200" fmla="*/ 11307763 h 1130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5633609" h="11307763">
                <a:moveTo>
                  <a:pt x="0" y="0"/>
                </a:moveTo>
                <a:lnTo>
                  <a:pt x="13600449" y="0"/>
                </a:lnTo>
                <a:lnTo>
                  <a:pt x="13581182" y="53290"/>
                </a:lnTo>
                <a:lnTo>
                  <a:pt x="13558589" y="116593"/>
                </a:lnTo>
                <a:lnTo>
                  <a:pt x="13536379" y="179648"/>
                </a:lnTo>
                <a:lnTo>
                  <a:pt x="13514550" y="242456"/>
                </a:lnTo>
                <a:lnTo>
                  <a:pt x="13493100" y="305018"/>
                </a:lnTo>
                <a:lnTo>
                  <a:pt x="13472027" y="367337"/>
                </a:lnTo>
                <a:lnTo>
                  <a:pt x="13451330" y="429411"/>
                </a:lnTo>
                <a:lnTo>
                  <a:pt x="13431008" y="491244"/>
                </a:lnTo>
                <a:lnTo>
                  <a:pt x="13411058" y="552836"/>
                </a:lnTo>
                <a:lnTo>
                  <a:pt x="13391480" y="614189"/>
                </a:lnTo>
                <a:lnTo>
                  <a:pt x="13372270" y="675303"/>
                </a:lnTo>
                <a:lnTo>
                  <a:pt x="13353428" y="736179"/>
                </a:lnTo>
                <a:lnTo>
                  <a:pt x="13334952" y="796820"/>
                </a:lnTo>
                <a:lnTo>
                  <a:pt x="13316841" y="857225"/>
                </a:lnTo>
                <a:lnTo>
                  <a:pt x="13299092" y="917397"/>
                </a:lnTo>
                <a:lnTo>
                  <a:pt x="13281704" y="977336"/>
                </a:lnTo>
                <a:lnTo>
                  <a:pt x="13264675" y="1037044"/>
                </a:lnTo>
                <a:lnTo>
                  <a:pt x="13248005" y="1096522"/>
                </a:lnTo>
                <a:lnTo>
                  <a:pt x="13231690" y="1155770"/>
                </a:lnTo>
                <a:lnTo>
                  <a:pt x="13215729" y="1214791"/>
                </a:lnTo>
                <a:lnTo>
                  <a:pt x="13200122" y="1273585"/>
                </a:lnTo>
                <a:lnTo>
                  <a:pt x="13184865" y="1332154"/>
                </a:lnTo>
                <a:lnTo>
                  <a:pt x="13169958" y="1390498"/>
                </a:lnTo>
                <a:lnTo>
                  <a:pt x="13155398" y="1448619"/>
                </a:lnTo>
                <a:lnTo>
                  <a:pt x="13141185" y="1506519"/>
                </a:lnTo>
                <a:lnTo>
                  <a:pt x="13127316" y="1564197"/>
                </a:lnTo>
                <a:lnTo>
                  <a:pt x="13113790" y="1621656"/>
                </a:lnTo>
                <a:lnTo>
                  <a:pt x="13100605" y="1678897"/>
                </a:lnTo>
                <a:lnTo>
                  <a:pt x="13087759" y="1735920"/>
                </a:lnTo>
                <a:lnTo>
                  <a:pt x="13075251" y="1792727"/>
                </a:lnTo>
                <a:lnTo>
                  <a:pt x="13063080" y="1849320"/>
                </a:lnTo>
                <a:lnTo>
                  <a:pt x="13051242" y="1905699"/>
                </a:lnTo>
                <a:lnTo>
                  <a:pt x="13039738" y="1961865"/>
                </a:lnTo>
                <a:lnTo>
                  <a:pt x="13028565" y="2017820"/>
                </a:lnTo>
                <a:lnTo>
                  <a:pt x="13017721" y="2073565"/>
                </a:lnTo>
                <a:lnTo>
                  <a:pt x="13007205" y="2129101"/>
                </a:lnTo>
                <a:lnTo>
                  <a:pt x="12997016" y="2184430"/>
                </a:lnTo>
                <a:lnTo>
                  <a:pt x="12987151" y="2239551"/>
                </a:lnTo>
                <a:lnTo>
                  <a:pt x="12977609" y="2294468"/>
                </a:lnTo>
                <a:lnTo>
                  <a:pt x="12968388" y="2349180"/>
                </a:lnTo>
                <a:lnTo>
                  <a:pt x="12959486" y="2403689"/>
                </a:lnTo>
                <a:lnTo>
                  <a:pt x="12950903" y="2457997"/>
                </a:lnTo>
                <a:lnTo>
                  <a:pt x="12942636" y="2512103"/>
                </a:lnTo>
                <a:lnTo>
                  <a:pt x="12934683" y="2566011"/>
                </a:lnTo>
                <a:lnTo>
                  <a:pt x="12927044" y="2619720"/>
                </a:lnTo>
                <a:lnTo>
                  <a:pt x="12919715" y="2673232"/>
                </a:lnTo>
                <a:lnTo>
                  <a:pt x="12912696" y="2726548"/>
                </a:lnTo>
                <a:lnTo>
                  <a:pt x="12905986" y="2779669"/>
                </a:lnTo>
                <a:lnTo>
                  <a:pt x="12899581" y="2832597"/>
                </a:lnTo>
                <a:lnTo>
                  <a:pt x="12893481" y="2885332"/>
                </a:lnTo>
                <a:lnTo>
                  <a:pt x="12887685" y="2937876"/>
                </a:lnTo>
                <a:lnTo>
                  <a:pt x="12882189" y="2990230"/>
                </a:lnTo>
                <a:lnTo>
                  <a:pt x="12876994" y="3042396"/>
                </a:lnTo>
                <a:lnTo>
                  <a:pt x="12872096" y="3094373"/>
                </a:lnTo>
                <a:lnTo>
                  <a:pt x="12867494" y="3146165"/>
                </a:lnTo>
                <a:lnTo>
                  <a:pt x="12863188" y="3197771"/>
                </a:lnTo>
                <a:lnTo>
                  <a:pt x="12859174" y="3249192"/>
                </a:lnTo>
                <a:lnTo>
                  <a:pt x="12855452" y="3300431"/>
                </a:lnTo>
                <a:lnTo>
                  <a:pt x="12852020" y="3351489"/>
                </a:lnTo>
                <a:lnTo>
                  <a:pt x="12848875" y="3402365"/>
                </a:lnTo>
                <a:lnTo>
                  <a:pt x="12846017" y="3453063"/>
                </a:lnTo>
                <a:lnTo>
                  <a:pt x="12843444" y="3503582"/>
                </a:lnTo>
                <a:lnTo>
                  <a:pt x="12841154" y="3553924"/>
                </a:lnTo>
                <a:lnTo>
                  <a:pt x="12839145" y="3604090"/>
                </a:lnTo>
                <a:lnTo>
                  <a:pt x="12837417" y="3654082"/>
                </a:lnTo>
                <a:lnTo>
                  <a:pt x="12835966" y="3703900"/>
                </a:lnTo>
                <a:lnTo>
                  <a:pt x="12834792" y="3753546"/>
                </a:lnTo>
                <a:lnTo>
                  <a:pt x="12833892" y="3803021"/>
                </a:lnTo>
                <a:lnTo>
                  <a:pt x="12833266" y="3852326"/>
                </a:lnTo>
                <a:lnTo>
                  <a:pt x="12832911" y="3901463"/>
                </a:lnTo>
                <a:lnTo>
                  <a:pt x="12832827" y="3950432"/>
                </a:lnTo>
                <a:lnTo>
                  <a:pt x="12833010" y="3999234"/>
                </a:lnTo>
                <a:lnTo>
                  <a:pt x="12833460" y="4047871"/>
                </a:lnTo>
                <a:lnTo>
                  <a:pt x="12834174" y="4096344"/>
                </a:lnTo>
                <a:lnTo>
                  <a:pt x="12835152" y="4144655"/>
                </a:lnTo>
                <a:lnTo>
                  <a:pt x="12836392" y="4192804"/>
                </a:lnTo>
                <a:lnTo>
                  <a:pt x="12837891" y="4240792"/>
                </a:lnTo>
                <a:lnTo>
                  <a:pt x="12839649" y="4288621"/>
                </a:lnTo>
                <a:lnTo>
                  <a:pt x="12841663" y="4336292"/>
                </a:lnTo>
                <a:lnTo>
                  <a:pt x="12843933" y="4383807"/>
                </a:lnTo>
                <a:lnTo>
                  <a:pt x="12846455" y="4431165"/>
                </a:lnTo>
                <a:lnTo>
                  <a:pt x="12849229" y="4478369"/>
                </a:lnTo>
                <a:lnTo>
                  <a:pt x="12852253" y="4525420"/>
                </a:lnTo>
                <a:lnTo>
                  <a:pt x="12855526" y="4572318"/>
                </a:lnTo>
                <a:lnTo>
                  <a:pt x="12859045" y="4619066"/>
                </a:lnTo>
                <a:lnTo>
                  <a:pt x="12862809" y="4665663"/>
                </a:lnTo>
                <a:lnTo>
                  <a:pt x="12866816" y="4712112"/>
                </a:lnTo>
                <a:lnTo>
                  <a:pt x="12871065" y="4758414"/>
                </a:lnTo>
                <a:lnTo>
                  <a:pt x="12875554" y="4804569"/>
                </a:lnTo>
                <a:lnTo>
                  <a:pt x="12880282" y="4850580"/>
                </a:lnTo>
                <a:lnTo>
                  <a:pt x="12885246" y="4896446"/>
                </a:lnTo>
                <a:lnTo>
                  <a:pt x="12890445" y="4942170"/>
                </a:lnTo>
                <a:lnTo>
                  <a:pt x="12895878" y="4987752"/>
                </a:lnTo>
                <a:lnTo>
                  <a:pt x="12901542" y="5033194"/>
                </a:lnTo>
                <a:lnTo>
                  <a:pt x="12907436" y="5078497"/>
                </a:lnTo>
                <a:lnTo>
                  <a:pt x="12913559" y="5123661"/>
                </a:lnTo>
                <a:lnTo>
                  <a:pt x="12919909" y="5168689"/>
                </a:lnTo>
                <a:lnTo>
                  <a:pt x="12926483" y="5213582"/>
                </a:lnTo>
                <a:lnTo>
                  <a:pt x="12933281" y="5258339"/>
                </a:lnTo>
                <a:lnTo>
                  <a:pt x="12940301" y="5302964"/>
                </a:lnTo>
                <a:lnTo>
                  <a:pt x="12947541" y="5347457"/>
                </a:lnTo>
                <a:lnTo>
                  <a:pt x="12955000" y="5391819"/>
                </a:lnTo>
                <a:lnTo>
                  <a:pt x="12962675" y="5436051"/>
                </a:lnTo>
                <a:lnTo>
                  <a:pt x="12970566" y="5480154"/>
                </a:lnTo>
                <a:lnTo>
                  <a:pt x="12978669" y="5524130"/>
                </a:lnTo>
                <a:lnTo>
                  <a:pt x="12986985" y="5567980"/>
                </a:lnTo>
                <a:lnTo>
                  <a:pt x="12995511" y="5611705"/>
                </a:lnTo>
                <a:lnTo>
                  <a:pt x="13004246" y="5655307"/>
                </a:lnTo>
                <a:lnTo>
                  <a:pt x="13013187" y="5698785"/>
                </a:lnTo>
                <a:lnTo>
                  <a:pt x="13022334" y="5742143"/>
                </a:lnTo>
                <a:lnTo>
                  <a:pt x="13031684" y="5785380"/>
                </a:lnTo>
                <a:lnTo>
                  <a:pt x="13041236" y="5828498"/>
                </a:lnTo>
                <a:lnTo>
                  <a:pt x="13050988" y="5871498"/>
                </a:lnTo>
                <a:lnTo>
                  <a:pt x="13060939" y="5914381"/>
                </a:lnTo>
                <a:lnTo>
                  <a:pt x="13071087" y="5957149"/>
                </a:lnTo>
                <a:lnTo>
                  <a:pt x="13081430" y="5999803"/>
                </a:lnTo>
                <a:lnTo>
                  <a:pt x="13091967" y="6042343"/>
                </a:lnTo>
                <a:lnTo>
                  <a:pt x="13102695" y="6084772"/>
                </a:lnTo>
                <a:lnTo>
                  <a:pt x="13113614" y="6127090"/>
                </a:lnTo>
                <a:lnTo>
                  <a:pt x="13124722" y="6169298"/>
                </a:lnTo>
                <a:lnTo>
                  <a:pt x="13136016" y="6211398"/>
                </a:lnTo>
                <a:lnTo>
                  <a:pt x="13147496" y="6253390"/>
                </a:lnTo>
                <a:lnTo>
                  <a:pt x="13159160" y="6295277"/>
                </a:lnTo>
                <a:lnTo>
                  <a:pt x="13171005" y="6337058"/>
                </a:lnTo>
                <a:lnTo>
                  <a:pt x="13183031" y="6378736"/>
                </a:lnTo>
                <a:lnTo>
                  <a:pt x="13195236" y="6420312"/>
                </a:lnTo>
                <a:lnTo>
                  <a:pt x="13207618" y="6461786"/>
                </a:lnTo>
                <a:lnTo>
                  <a:pt x="13220175" y="6503160"/>
                </a:lnTo>
                <a:lnTo>
                  <a:pt x="13232905" y="6544435"/>
                </a:lnTo>
                <a:lnTo>
                  <a:pt x="13245808" y="6585612"/>
                </a:lnTo>
                <a:lnTo>
                  <a:pt x="13258881" y="6626693"/>
                </a:lnTo>
                <a:lnTo>
                  <a:pt x="13272123" y="6667678"/>
                </a:lnTo>
                <a:lnTo>
                  <a:pt x="13285533" y="6708569"/>
                </a:lnTo>
                <a:lnTo>
                  <a:pt x="13299107" y="6749367"/>
                </a:lnTo>
                <a:lnTo>
                  <a:pt x="13312845" y="6790073"/>
                </a:lnTo>
                <a:lnTo>
                  <a:pt x="13326746" y="6830689"/>
                </a:lnTo>
                <a:lnTo>
                  <a:pt x="13340807" y="6871215"/>
                </a:lnTo>
                <a:lnTo>
                  <a:pt x="13355026" y="6911653"/>
                </a:lnTo>
                <a:lnTo>
                  <a:pt x="13369403" y="6952003"/>
                </a:lnTo>
                <a:lnTo>
                  <a:pt x="13383935" y="6992268"/>
                </a:lnTo>
                <a:lnTo>
                  <a:pt x="13398622" y="7032448"/>
                </a:lnTo>
                <a:lnTo>
                  <a:pt x="13413460" y="7072544"/>
                </a:lnTo>
                <a:lnTo>
                  <a:pt x="13428449" y="7112558"/>
                </a:lnTo>
                <a:lnTo>
                  <a:pt x="13443587" y="7152491"/>
                </a:lnTo>
                <a:lnTo>
                  <a:pt x="13458871" y="7192343"/>
                </a:lnTo>
                <a:lnTo>
                  <a:pt x="13474302" y="7232117"/>
                </a:lnTo>
                <a:lnTo>
                  <a:pt x="13489876" y="7271813"/>
                </a:lnTo>
                <a:lnTo>
                  <a:pt x="13505593" y="7311433"/>
                </a:lnTo>
                <a:lnTo>
                  <a:pt x="13521450" y="7350977"/>
                </a:lnTo>
                <a:lnTo>
                  <a:pt x="13537446" y="7390448"/>
                </a:lnTo>
                <a:lnTo>
                  <a:pt x="13553580" y="7429845"/>
                </a:lnTo>
                <a:lnTo>
                  <a:pt x="13569849" y="7469171"/>
                </a:lnTo>
                <a:lnTo>
                  <a:pt x="13586251" y="7508426"/>
                </a:lnTo>
                <a:lnTo>
                  <a:pt x="13602787" y="7547611"/>
                </a:lnTo>
                <a:lnTo>
                  <a:pt x="13619452" y="7586729"/>
                </a:lnTo>
                <a:lnTo>
                  <a:pt x="13636247" y="7625779"/>
                </a:lnTo>
                <a:lnTo>
                  <a:pt x="13653169" y="7664764"/>
                </a:lnTo>
                <a:lnTo>
                  <a:pt x="13670217" y="7703683"/>
                </a:lnTo>
                <a:lnTo>
                  <a:pt x="13687389" y="7742540"/>
                </a:lnTo>
                <a:lnTo>
                  <a:pt x="13704683" y="7781334"/>
                </a:lnTo>
                <a:lnTo>
                  <a:pt x="13722098" y="7820067"/>
                </a:lnTo>
                <a:lnTo>
                  <a:pt x="13739632" y="7858740"/>
                </a:lnTo>
                <a:lnTo>
                  <a:pt x="13757283" y="7897355"/>
                </a:lnTo>
                <a:lnTo>
                  <a:pt x="13775050" y="7935911"/>
                </a:lnTo>
                <a:lnTo>
                  <a:pt x="13792931" y="7974412"/>
                </a:lnTo>
                <a:lnTo>
                  <a:pt x="13810924" y="8012857"/>
                </a:lnTo>
                <a:lnTo>
                  <a:pt x="13829028" y="8051248"/>
                </a:lnTo>
                <a:lnTo>
                  <a:pt x="13847242" y="8089587"/>
                </a:lnTo>
                <a:lnTo>
                  <a:pt x="13865562" y="8127873"/>
                </a:lnTo>
                <a:lnTo>
                  <a:pt x="13883989" y="8166110"/>
                </a:lnTo>
                <a:lnTo>
                  <a:pt x="13902519" y="8204296"/>
                </a:lnTo>
                <a:lnTo>
                  <a:pt x="13921152" y="8242435"/>
                </a:lnTo>
                <a:lnTo>
                  <a:pt x="13939886" y="8280527"/>
                </a:lnTo>
                <a:lnTo>
                  <a:pt x="13958719" y="8318574"/>
                </a:lnTo>
                <a:lnTo>
                  <a:pt x="13977649" y="8356575"/>
                </a:lnTo>
                <a:lnTo>
                  <a:pt x="13996675" y="8394533"/>
                </a:lnTo>
                <a:lnTo>
                  <a:pt x="14015796" y="8432450"/>
                </a:lnTo>
                <a:lnTo>
                  <a:pt x="14035009" y="8470325"/>
                </a:lnTo>
                <a:lnTo>
                  <a:pt x="14054313" y="8508160"/>
                </a:lnTo>
                <a:lnTo>
                  <a:pt x="14073706" y="8545957"/>
                </a:lnTo>
                <a:lnTo>
                  <a:pt x="14093186" y="8583716"/>
                </a:lnTo>
                <a:lnTo>
                  <a:pt x="14112752" y="8621439"/>
                </a:lnTo>
                <a:lnTo>
                  <a:pt x="14132403" y="8659126"/>
                </a:lnTo>
                <a:lnTo>
                  <a:pt x="14171950" y="8734401"/>
                </a:lnTo>
                <a:lnTo>
                  <a:pt x="14211815" y="8809550"/>
                </a:lnTo>
                <a:lnTo>
                  <a:pt x="14251983" y="8884582"/>
                </a:lnTo>
                <a:lnTo>
                  <a:pt x="14292441" y="8959507"/>
                </a:lnTo>
                <a:lnTo>
                  <a:pt x="14333177" y="9034334"/>
                </a:lnTo>
                <a:lnTo>
                  <a:pt x="14374177" y="9109073"/>
                </a:lnTo>
                <a:lnTo>
                  <a:pt x="14436142" y="9221036"/>
                </a:lnTo>
                <a:lnTo>
                  <a:pt x="14498627" y="9332854"/>
                </a:lnTo>
                <a:lnTo>
                  <a:pt x="14582671" y="9481773"/>
                </a:lnTo>
                <a:lnTo>
                  <a:pt x="14667452" y="9630565"/>
                </a:lnTo>
                <a:lnTo>
                  <a:pt x="14795776" y="9853682"/>
                </a:lnTo>
                <a:lnTo>
                  <a:pt x="15272668" y="10674932"/>
                </a:lnTo>
                <a:lnTo>
                  <a:pt x="15446180" y="10976499"/>
                </a:lnTo>
                <a:lnTo>
                  <a:pt x="15554022" y="11166221"/>
                </a:lnTo>
                <a:lnTo>
                  <a:pt x="15633609" y="11307763"/>
                </a:lnTo>
                <a:lnTo>
                  <a:pt x="0" y="11307763"/>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5" name="Text Placeholder 2">
            <a:extLst>
              <a:ext uri="{FF2B5EF4-FFF2-40B4-BE49-F238E27FC236}">
                <a16:creationId xmlns:a16="http://schemas.microsoft.com/office/drawing/2014/main" id="{26690566-6807-478B-842D-F5AB25A5420F}"/>
              </a:ext>
            </a:extLst>
          </p:cNvPr>
          <p:cNvSpPr>
            <a:spLocks noGrp="1"/>
          </p:cNvSpPr>
          <p:nvPr>
            <p:ph type="body" sz="quarter" idx="15"/>
          </p:nvPr>
        </p:nvSpPr>
        <p:spPr>
          <a:xfrm>
            <a:off x="8303685" y="1416001"/>
            <a:ext cx="3456945"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F54843EE-89F0-474F-A438-CCD6E63C5C3A}"/>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0" name="Rectangle 9">
            <a:hlinkClick r:id="rId2"/>
            <a:extLst>
              <a:ext uri="{FF2B5EF4-FFF2-40B4-BE49-F238E27FC236}">
                <a16:creationId xmlns:a16="http://schemas.microsoft.com/office/drawing/2014/main" id="{59EFD54B-5084-4493-98CD-406BBC16C6BC}"/>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1" name="Picture 10">
            <a:extLst>
              <a:ext uri="{FF2B5EF4-FFF2-40B4-BE49-F238E27FC236}">
                <a16:creationId xmlns:a16="http://schemas.microsoft.com/office/drawing/2014/main" id="{50A37059-A6CA-4A16-859E-45B549666CFA}"/>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2" name="Title 1">
            <a:extLst>
              <a:ext uri="{FF2B5EF4-FFF2-40B4-BE49-F238E27FC236}">
                <a16:creationId xmlns:a16="http://schemas.microsoft.com/office/drawing/2014/main" id="{881E7258-4646-4D7F-9430-5D4A66ADBB9A}"/>
              </a:ext>
            </a:extLst>
          </p:cNvPr>
          <p:cNvSpPr>
            <a:spLocks noGrp="1"/>
          </p:cNvSpPr>
          <p:nvPr>
            <p:ph type="title"/>
          </p:nvPr>
        </p:nvSpPr>
        <p:spPr>
          <a:xfrm>
            <a:off x="8302454" y="441140"/>
            <a:ext cx="3456945" cy="393955"/>
          </a:xfrm>
        </p:spPr>
        <p:txBody>
          <a:bodyPr/>
          <a:lstStyle/>
          <a:p>
            <a:r>
              <a:rPr lang="en-US"/>
              <a:t>Click to edit Master title style</a:t>
            </a:r>
            <a:endParaRPr lang="en-GB" dirty="0"/>
          </a:p>
        </p:txBody>
      </p:sp>
    </p:spTree>
    <p:extLst>
      <p:ext uri="{BB962C8B-B14F-4D97-AF65-F5344CB8AC3E}">
        <p14:creationId xmlns:p14="http://schemas.microsoft.com/office/powerpoint/2010/main" val="25884391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DF3B3A2-DECF-4E1E-8224-F551F72431E6}"/>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5" name="Text Placeholder 4">
            <a:extLst>
              <a:ext uri="{FF2B5EF4-FFF2-40B4-BE49-F238E27FC236}">
                <a16:creationId xmlns:a16="http://schemas.microsoft.com/office/drawing/2014/main" id="{CD9199F2-FD0B-48CB-BF88-E2A9677AD29D}"/>
              </a:ext>
            </a:extLst>
          </p:cNvPr>
          <p:cNvSpPr>
            <a:spLocks noGrp="1"/>
          </p:cNvSpPr>
          <p:nvPr>
            <p:ph type="body" sz="quarter" idx="10"/>
          </p:nvPr>
        </p:nvSpPr>
        <p:spPr>
          <a:xfrm>
            <a:off x="432001" y="5120019"/>
            <a:ext cx="5424816" cy="1333699"/>
          </a:xfrm>
        </p:spPr>
        <p:txBody>
          <a:bodyPr anchor="b"/>
          <a:lstStyle>
            <a:lvl1pPr>
              <a:defRPr sz="1200" b="1">
                <a:solidFill>
                  <a:schemeClr val="tx1"/>
                </a:solidFill>
              </a:defRPr>
            </a:lvl1pPr>
            <a:lvl2pPr>
              <a:defRPr sz="1200" b="0">
                <a:solidFill>
                  <a:schemeClr val="tx1"/>
                </a:solidFill>
              </a:defRPr>
            </a:lvl2pPr>
            <a:lvl3pPr marL="0" indent="0">
              <a:buFontTx/>
              <a:buNone/>
              <a:defRPr sz="1200" b="0">
                <a:solidFill>
                  <a:schemeClr val="tx1"/>
                </a:solidFill>
              </a:defRPr>
            </a:lvl3pPr>
            <a:lvl4pPr marL="0" indent="0">
              <a:buFontTx/>
              <a:buNone/>
              <a:defRPr sz="1200" b="0">
                <a:solidFill>
                  <a:schemeClr val="tx1"/>
                </a:solidFill>
              </a:defRPr>
            </a:lvl4pPr>
            <a:lvl5pPr marL="0" indent="0">
              <a:buFontTx/>
              <a:buNone/>
              <a:defRPr sz="1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DD4BF8BF-9CAC-4BF8-B555-D6E364C618FB}"/>
              </a:ext>
            </a:extLst>
          </p:cNvPr>
          <p:cNvPicPr>
            <a:picLocks noChangeAspect="1"/>
          </p:cNvPicPr>
          <p:nvPr userDrawn="1"/>
        </p:nvPicPr>
        <p:blipFill>
          <a:blip r:embed="rId2"/>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27174634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93202-ABC8-43FB-AC03-1A7B6709210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4481865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dirty="0"/>
          </a:p>
        </p:txBody>
      </p:sp>
      <p:grpSp>
        <p:nvGrpSpPr>
          <p:cNvPr id="10" name="Guidance note">
            <a:extLst>
              <a:ext uri="{FF2B5EF4-FFF2-40B4-BE49-F238E27FC236}">
                <a16:creationId xmlns:a16="http://schemas.microsoft.com/office/drawing/2014/main" id="{632E5E5C-A081-4838-96EC-2018DFBEF9DF}"/>
              </a:ext>
            </a:extLst>
          </p:cNvPr>
          <p:cNvGrpSpPr/>
          <p:nvPr userDrawn="1"/>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3702660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4F340-DC34-40A9-AAD0-1975F2301B87}"/>
              </a:ext>
            </a:extLst>
          </p:cNvPr>
          <p:cNvSpPr>
            <a:spLocks noGrp="1"/>
          </p:cNvSpPr>
          <p:nvPr>
            <p:ph type="title"/>
          </p:nvPr>
        </p:nvSpPr>
        <p:spPr/>
        <p:txBody>
          <a:bodyPr/>
          <a:lstStyle/>
          <a:p>
            <a:r>
              <a:rPr lang="en-US"/>
              <a:t>Click to edit Master title style</a:t>
            </a:r>
            <a:endParaRPr lang="en-GB" dirty="0"/>
          </a:p>
        </p:txBody>
      </p:sp>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4" name="Guidance note">
            <a:extLst>
              <a:ext uri="{FF2B5EF4-FFF2-40B4-BE49-F238E27FC236}">
                <a16:creationId xmlns:a16="http://schemas.microsoft.com/office/drawing/2014/main" id="{F560F193-177D-4395-B1BB-A42292DDC151}"/>
              </a:ext>
            </a:extLst>
          </p:cNvPr>
          <p:cNvGrpSpPr/>
          <p:nvPr userDrawn="1"/>
        </p:nvGrpSpPr>
        <p:grpSpPr>
          <a:xfrm>
            <a:off x="12514259" y="-2970"/>
            <a:ext cx="2576459" cy="3511851"/>
            <a:chOff x="10925224" y="286"/>
            <a:chExt cx="2952328" cy="4024464"/>
          </a:xfrm>
        </p:grpSpPr>
        <p:sp>
          <p:nvSpPr>
            <p:cNvPr id="25" name="Guidance note">
              <a:extLst>
                <a:ext uri="{FF2B5EF4-FFF2-40B4-BE49-F238E27FC236}">
                  <a16:creationId xmlns:a16="http://schemas.microsoft.com/office/drawing/2014/main" id="{AF29402F-0B0A-44A5-B263-0C8C1E5B7779}"/>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6" name="Group 25">
              <a:extLst>
                <a:ext uri="{FF2B5EF4-FFF2-40B4-BE49-F238E27FC236}">
                  <a16:creationId xmlns:a16="http://schemas.microsoft.com/office/drawing/2014/main" id="{75E3892D-FEFD-4962-9795-DC2F17463B75}"/>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7" name="Picture 3">
                <a:extLst>
                  <a:ext uri="{FF2B5EF4-FFF2-40B4-BE49-F238E27FC236}">
                    <a16:creationId xmlns:a16="http://schemas.microsoft.com/office/drawing/2014/main" id="{1EE9A39B-0904-456F-B59F-2F4E55120F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992D0BE-FA95-458F-8ED2-677D7AE90B42}"/>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91725087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8D58E090-A402-4396-9C34-AACC618598E9}"/>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9007DA49-FBBA-426F-8BA1-C45A5B9C3B51}"/>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7A2C458C-0867-42D1-96EC-960A20373E5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317CCC4E-121E-4D81-894F-BC8D76CF9C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FDB760BE-4E51-4DA4-A2FA-EA5369BB40F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403416444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8699B13-3C3C-E843-9056-43C49BFD6686}"/>
              </a:ext>
            </a:extLst>
          </p:cNvPr>
          <p:cNvSpPr>
            <a:spLocks noGrp="1"/>
          </p:cNvSpPr>
          <p:nvPr>
            <p:ph type="title"/>
          </p:nvPr>
        </p:nvSpPr>
        <p:spPr>
          <a:xfrm>
            <a:off x="517629" y="487300"/>
            <a:ext cx="4735091" cy="1369209"/>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pic>
        <p:nvPicPr>
          <p:cNvPr id="17" name="Picture 16" descr="A picture containing indoor, shelf, sitting, book&#10;&#10;Description automatically generated">
            <a:extLst>
              <a:ext uri="{FF2B5EF4-FFF2-40B4-BE49-F238E27FC236}">
                <a16:creationId xmlns:a16="http://schemas.microsoft.com/office/drawing/2014/main" id="{A6DFB6EE-17A2-A541-BF74-02235A207D07}"/>
              </a:ext>
            </a:extLst>
          </p:cNvPr>
          <p:cNvPicPr>
            <a:picLocks noChangeAspect="1"/>
          </p:cNvPicPr>
          <p:nvPr/>
        </p:nvPicPr>
        <p:blipFill rotWithShape="1">
          <a:blip r:embed="rId2"/>
          <a:srcRect t="50000" b="16364"/>
          <a:stretch/>
        </p:blipFill>
        <p:spPr>
          <a:xfrm>
            <a:off x="0" y="3429000"/>
            <a:ext cx="12192000" cy="2306782"/>
          </a:xfrm>
          <a:prstGeom prst="rect">
            <a:avLst/>
          </a:prstGeom>
        </p:spPr>
      </p:pic>
      <p:pic>
        <p:nvPicPr>
          <p:cNvPr id="5" name="Picture 4">
            <a:extLst>
              <a:ext uri="{FF2B5EF4-FFF2-40B4-BE49-F238E27FC236}">
                <a16:creationId xmlns:a16="http://schemas.microsoft.com/office/drawing/2014/main" id="{D9903181-6847-FE45-9CA1-F3DB5B1861D8}"/>
              </a:ext>
            </a:extLst>
          </p:cNvPr>
          <p:cNvPicPr>
            <a:picLocks noChangeAspect="1"/>
          </p:cNvPicPr>
          <p:nvPr/>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26703083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dirty="0"/>
              <a:t>INSERT PICTURE</a:t>
            </a:r>
          </a:p>
        </p:txBody>
      </p:sp>
      <p:grpSp>
        <p:nvGrpSpPr>
          <p:cNvPr id="22" name="Guidance note">
            <a:extLst>
              <a:ext uri="{FF2B5EF4-FFF2-40B4-BE49-F238E27FC236}">
                <a16:creationId xmlns:a16="http://schemas.microsoft.com/office/drawing/2014/main" id="{01782A72-73F6-4D14-8B35-52467DA934D1}"/>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BA2FA1E4-352E-4936-9547-427ED8A3A4D0}"/>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7CA143A2-801C-4CD0-8D12-326B73247494}"/>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5C9ED126-1C4E-4635-A8FB-BCBFE68F79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36520D67-05A8-460E-B163-63A8C5C3076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254355368"/>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4C75A555-DA44-4479-9698-0614FBA84EB2}"/>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C63E074A-E363-483E-970D-D9D5B8E95E9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896FFC9E-ABDE-4220-B6F9-2A72B081BE11}"/>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783C9DE9-FE0B-4105-9B20-8A9F98F20D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02F88B-920A-4BBA-AA4D-ABF9A90CB5A1}"/>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823729575"/>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8304000"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8D653A98-CF56-446A-9721-D28CD48D3FD4}"/>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8C9C3EDE-A918-437D-A5D8-7697D56218D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5F3C91CB-65FA-4CDB-8765-78FFE5FC273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5C5CF7EE-ECFD-4A37-B9C3-BD2D0C0176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4A33F702-07EE-4E88-900B-16CB8EA2DA6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58267852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r>
              <a:rPr lang="en-GB" dirty="0"/>
              <a:t> </a:t>
            </a:r>
          </a:p>
        </p:txBody>
      </p:sp>
      <p:sp>
        <p:nvSpPr>
          <p:cNvPr id="2" name="Title 1">
            <a:extLst>
              <a:ext uri="{FF2B5EF4-FFF2-40B4-BE49-F238E27FC236}">
                <a16:creationId xmlns:a16="http://schemas.microsoft.com/office/drawing/2014/main" id="{0642CC84-39CD-4CBB-B3E7-E705009B80B3}"/>
              </a:ext>
            </a:extLst>
          </p:cNvPr>
          <p:cNvSpPr>
            <a:spLocks noGrp="1"/>
          </p:cNvSpPr>
          <p:nvPr>
            <p:ph type="title"/>
          </p:nvPr>
        </p:nvSpPr>
        <p:spPr/>
        <p:txBody>
          <a:body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2" name="Guidance note">
            <a:extLst>
              <a:ext uri="{FF2B5EF4-FFF2-40B4-BE49-F238E27FC236}">
                <a16:creationId xmlns:a16="http://schemas.microsoft.com/office/drawing/2014/main" id="{F6BD485F-7180-4CEC-839E-F9483AEAF584}"/>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F86419A7-5EC4-4AC8-BB23-375E60D2C6B7}"/>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A4B3781D-97B0-49DA-A922-2F4A49B5EEE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D16DEB41-48C9-4F3C-BCFC-0DDD665BFB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5625153F-0A02-4860-9759-AE6F2DB1F863}"/>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5864140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878C4F-BC10-44FA-BC77-6768BE68A2F6}"/>
              </a:ext>
            </a:extLst>
          </p:cNvPr>
          <p:cNvSpPr>
            <a:spLocks noGrp="1"/>
          </p:cNvSpPr>
          <p:nvPr>
            <p:ph type="title"/>
          </p:nvPr>
        </p:nvSpPr>
        <p:spPr/>
        <p:txBody>
          <a:bodyPr/>
          <a:lstStyle/>
          <a:p>
            <a:r>
              <a:rPr lang="en-US"/>
              <a:t>Click to edit Master title style</a:t>
            </a:r>
            <a:endParaRPr lang="en-GB" dirty="0"/>
          </a:p>
        </p:txBody>
      </p:sp>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7"/>
            <a:ext cx="7392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3" name="Guidance note">
            <a:extLst>
              <a:ext uri="{FF2B5EF4-FFF2-40B4-BE49-F238E27FC236}">
                <a16:creationId xmlns:a16="http://schemas.microsoft.com/office/drawing/2014/main" id="{C6220EA2-47DD-43D0-9331-5CA1710205F1}"/>
              </a:ext>
            </a:extLst>
          </p:cNvPr>
          <p:cNvGrpSpPr/>
          <p:nvPr userDrawn="1"/>
        </p:nvGrpSpPr>
        <p:grpSpPr>
          <a:xfrm>
            <a:off x="12514259" y="-2970"/>
            <a:ext cx="2576459" cy="3511851"/>
            <a:chOff x="10925224" y="286"/>
            <a:chExt cx="2952328" cy="4024464"/>
          </a:xfrm>
        </p:grpSpPr>
        <p:sp>
          <p:nvSpPr>
            <p:cNvPr id="24" name="Guidance note">
              <a:extLst>
                <a:ext uri="{FF2B5EF4-FFF2-40B4-BE49-F238E27FC236}">
                  <a16:creationId xmlns:a16="http://schemas.microsoft.com/office/drawing/2014/main" id="{2CF5DA98-8560-415B-8960-59469744CC96}"/>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5" name="Group 24">
              <a:extLst>
                <a:ext uri="{FF2B5EF4-FFF2-40B4-BE49-F238E27FC236}">
                  <a16:creationId xmlns:a16="http://schemas.microsoft.com/office/drawing/2014/main" id="{78E71987-5BD9-4DE7-9F3A-329F8F826E8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6" name="Picture 3">
                <a:extLst>
                  <a:ext uri="{FF2B5EF4-FFF2-40B4-BE49-F238E27FC236}">
                    <a16:creationId xmlns:a16="http://schemas.microsoft.com/office/drawing/2014/main" id="{FC9137C3-4121-48D7-AB68-03D7AA9055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7" name="Rounded Rectangle 20">
                <a:extLst>
                  <a:ext uri="{FF2B5EF4-FFF2-40B4-BE49-F238E27FC236}">
                    <a16:creationId xmlns:a16="http://schemas.microsoft.com/office/drawing/2014/main" id="{CD8F4824-0475-4119-BF77-90AE7EEC80E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622526710"/>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62524-0972-45E6-8233-6ABAD7F79AAC}"/>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grpSp>
        <p:nvGrpSpPr>
          <p:cNvPr id="25" name="Guidance note">
            <a:extLst>
              <a:ext uri="{FF2B5EF4-FFF2-40B4-BE49-F238E27FC236}">
                <a16:creationId xmlns:a16="http://schemas.microsoft.com/office/drawing/2014/main" id="{2B9602E7-D537-490B-9711-4C94A1263400}"/>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A260A4C8-FE16-4419-895F-1BDE2239A65A}"/>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2F154759-8702-4699-8D62-C0E5762F4453}"/>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1E7040CA-37E8-4B53-84A1-45C657E7F6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CAF4B175-7E0B-4F34-B662-4F63EA174C7D}"/>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99359056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18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60960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5CA6738F-1383-4C63-86BC-6C31BCD1E25B}"/>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43E568BE-ED6A-426F-B0BF-A1453B694ED5}"/>
              </a:ext>
            </a:extLst>
          </p:cNvPr>
          <p:cNvSpPr>
            <a:spLocks noGrp="1"/>
          </p:cNvSpPr>
          <p:nvPr>
            <p:ph type="body" sz="quarter" idx="16"/>
          </p:nvPr>
        </p:nvSpPr>
        <p:spPr>
          <a:xfrm>
            <a:off x="432000"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3">
            <a:extLst>
              <a:ext uri="{FF2B5EF4-FFF2-40B4-BE49-F238E27FC236}">
                <a16:creationId xmlns:a16="http://schemas.microsoft.com/office/drawing/2014/main" id="{5DFB1F70-48E1-4D12-8CA0-02A9C5416B1F}"/>
              </a:ext>
            </a:extLst>
          </p:cNvPr>
          <p:cNvSpPr>
            <a:spLocks noGrp="1"/>
          </p:cNvSpPr>
          <p:nvPr>
            <p:ph type="body" sz="quarter" idx="17"/>
          </p:nvPr>
        </p:nvSpPr>
        <p:spPr>
          <a:xfrm>
            <a:off x="6337516"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8" name="Guidance note">
            <a:extLst>
              <a:ext uri="{FF2B5EF4-FFF2-40B4-BE49-F238E27FC236}">
                <a16:creationId xmlns:a16="http://schemas.microsoft.com/office/drawing/2014/main" id="{053114DC-01DB-4172-B8B9-F6B6A6FCE692}"/>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8DE85B72-FB6B-447A-858A-8B2561669D13}"/>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D8EC3649-E284-438D-8DCD-251552F54088}"/>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C3022D24-E487-419A-9A91-5B6F67F14A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FD7CCEB6-B56D-45AB-9808-6E4B26A114F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993306017"/>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hree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2000"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42068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6" name="Picture Placeholder 2">
            <a:extLst>
              <a:ext uri="{FF2B5EF4-FFF2-40B4-BE49-F238E27FC236}">
                <a16:creationId xmlns:a16="http://schemas.microsoft.com/office/drawing/2014/main" id="{D515E9C8-29C7-4E99-B52B-311CBD5099A9}"/>
              </a:ext>
            </a:extLst>
          </p:cNvPr>
          <p:cNvSpPr>
            <a:spLocks noGrp="1"/>
          </p:cNvSpPr>
          <p:nvPr>
            <p:ph type="pic" sz="quarter" idx="24" hasCustomPrompt="1"/>
          </p:nvPr>
        </p:nvSpPr>
        <p:spPr>
          <a:xfrm>
            <a:off x="79817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20" name="Text Placeholder 3">
            <a:extLst>
              <a:ext uri="{FF2B5EF4-FFF2-40B4-BE49-F238E27FC236}">
                <a16:creationId xmlns:a16="http://schemas.microsoft.com/office/drawing/2014/main" id="{4656B92A-8C51-4E0D-9A97-008FAAAA53E0}"/>
              </a:ext>
            </a:extLst>
          </p:cNvPr>
          <p:cNvSpPr>
            <a:spLocks noGrp="1"/>
          </p:cNvSpPr>
          <p:nvPr>
            <p:ph type="body" sz="quarter" idx="16"/>
          </p:nvPr>
        </p:nvSpPr>
        <p:spPr>
          <a:xfrm>
            <a:off x="432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3">
            <a:extLst>
              <a:ext uri="{FF2B5EF4-FFF2-40B4-BE49-F238E27FC236}">
                <a16:creationId xmlns:a16="http://schemas.microsoft.com/office/drawing/2014/main" id="{EA95D6EE-CA00-40A4-BFBB-A0BB7573F2B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4">
            <a:extLst>
              <a:ext uri="{FF2B5EF4-FFF2-40B4-BE49-F238E27FC236}">
                <a16:creationId xmlns:a16="http://schemas.microsoft.com/office/drawing/2014/main" id="{F93AEB12-C997-4994-99B9-11940CF7DB83}"/>
              </a:ext>
            </a:extLst>
          </p:cNvPr>
          <p:cNvSpPr>
            <a:spLocks noGrp="1"/>
          </p:cNvSpPr>
          <p:nvPr>
            <p:ph type="body" sz="quarter" idx="17"/>
          </p:nvPr>
        </p:nvSpPr>
        <p:spPr>
          <a:xfrm>
            <a:off x="8304000"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8" name="Guidance note">
            <a:extLst>
              <a:ext uri="{FF2B5EF4-FFF2-40B4-BE49-F238E27FC236}">
                <a16:creationId xmlns:a16="http://schemas.microsoft.com/office/drawing/2014/main" id="{8F8469DA-FA58-409C-8234-09A9506501FE}"/>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6E771D66-7805-4DEB-BB9F-EF1E415C56EB}"/>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7B72BB3D-7A3C-4684-BA16-7BC42D52C71E}"/>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54391195-43CF-4392-A400-03DECFD12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36A616C4-BC31-4393-8C8F-08A21867FCE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3" name="Title 2">
            <a:extLst>
              <a:ext uri="{FF2B5EF4-FFF2-40B4-BE49-F238E27FC236}">
                <a16:creationId xmlns:a16="http://schemas.microsoft.com/office/drawing/2014/main" id="{1EED9939-C8C6-4136-91EB-74F055235F9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5571270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CE18BB-8A9A-4230-868D-0996713794E9}"/>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3" name="Text Placeholder 2">
            <a:extLst>
              <a:ext uri="{FF2B5EF4-FFF2-40B4-BE49-F238E27FC236}">
                <a16:creationId xmlns:a16="http://schemas.microsoft.com/office/drawing/2014/main" id="{3A043140-9E20-47E5-ADE6-D31C09457807}"/>
              </a:ext>
            </a:extLst>
          </p:cNvPr>
          <p:cNvSpPr>
            <a:spLocks noGrp="1"/>
          </p:cNvSpPr>
          <p:nvPr>
            <p:ph type="body" sz="quarter" idx="15"/>
          </p:nvPr>
        </p:nvSpPr>
        <p:spPr>
          <a:xfrm>
            <a:off x="431800" y="1416001"/>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6" name="Text Placeholder 2">
            <a:extLst>
              <a:ext uri="{FF2B5EF4-FFF2-40B4-BE49-F238E27FC236}">
                <a16:creationId xmlns:a16="http://schemas.microsoft.com/office/drawing/2014/main" id="{1825EDD5-C8D0-479D-8200-3E2F103CDD2A}"/>
              </a:ext>
            </a:extLst>
          </p:cNvPr>
          <p:cNvSpPr>
            <a:spLocks noGrp="1"/>
          </p:cNvSpPr>
          <p:nvPr>
            <p:ph type="body" sz="quarter" idx="16"/>
          </p:nvPr>
        </p:nvSpPr>
        <p:spPr>
          <a:xfrm>
            <a:off x="431800" y="1791735"/>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98FBF951-2FE8-4B4E-8C56-DDECA1E6F8E1}"/>
              </a:ext>
            </a:extLst>
          </p:cNvPr>
          <p:cNvSpPr/>
          <p:nvPr userDrawn="1"/>
        </p:nvSpPr>
        <p:spPr>
          <a:xfrm>
            <a:off x="12514257" y="-2970"/>
            <a:ext cx="2576459" cy="413022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a:p>
            <a:pPr>
              <a:spcAft>
                <a:spcPts val="136"/>
              </a:spcAft>
            </a:pPr>
            <a:r>
              <a:rPr lang="en-GB" sz="849" kern="1200" noProof="0" dirty="0">
                <a:solidFill>
                  <a:schemeClr val="bg1">
                    <a:lumMod val="50000"/>
                  </a:schemeClr>
                </a:solidFill>
                <a:latin typeface="+mn-lt"/>
                <a:ea typeface="+mn-ea"/>
                <a:cs typeface="+mn-cs"/>
              </a:rPr>
              <a:t>When you have placed your image you may need to change the colour of the text so it can be seen against the image. This can be changed to dark grey or white.</a:t>
            </a:r>
          </a:p>
        </p:txBody>
      </p:sp>
      <p:sp>
        <p:nvSpPr>
          <p:cNvPr id="7" name="Rectangle 6">
            <a:hlinkClick r:id="rId2"/>
            <a:extLst>
              <a:ext uri="{FF2B5EF4-FFF2-40B4-BE49-F238E27FC236}">
                <a16:creationId xmlns:a16="http://schemas.microsoft.com/office/drawing/2014/main" id="{0A0E5D64-357E-499F-BEC7-89044AF1284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3" name="Picture 12">
            <a:extLst>
              <a:ext uri="{FF2B5EF4-FFF2-40B4-BE49-F238E27FC236}">
                <a16:creationId xmlns:a16="http://schemas.microsoft.com/office/drawing/2014/main" id="{DC0E0B6B-9082-4BDB-A555-BA6DEB512DD5}"/>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4" name="Title 3">
            <a:extLst>
              <a:ext uri="{FF2B5EF4-FFF2-40B4-BE49-F238E27FC236}">
                <a16:creationId xmlns:a16="http://schemas.microsoft.com/office/drawing/2014/main" id="{85FE02F7-EA91-42A2-AC0B-ADF0B456DEC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130755460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ey message lef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D4D86A5-6CC8-471F-8BD3-04C9F0CDCDD9}"/>
              </a:ext>
            </a:extLst>
          </p:cNvPr>
          <p:cNvSpPr>
            <a:spLocks noGrp="1"/>
          </p:cNvSpPr>
          <p:nvPr>
            <p:ph type="pic" sz="quarter" idx="16" hasCustomPrompt="1"/>
          </p:nvPr>
        </p:nvSpPr>
        <p:spPr>
          <a:xfrm>
            <a:off x="2706879" y="0"/>
            <a:ext cx="9485121" cy="6857037"/>
          </a:xfrm>
          <a:custGeom>
            <a:avLst/>
            <a:gdLst>
              <a:gd name="connsiteX0" fmla="*/ 925004 w 7113841"/>
              <a:gd name="connsiteY0" fmla="*/ 0 h 5142778"/>
              <a:gd name="connsiteX1" fmla="*/ 7113841 w 7113841"/>
              <a:gd name="connsiteY1" fmla="*/ 0 h 5142778"/>
              <a:gd name="connsiteX2" fmla="*/ 7113841 w 7113841"/>
              <a:gd name="connsiteY2" fmla="*/ 4345781 h 5142778"/>
              <a:gd name="connsiteX3" fmla="*/ 7113839 w 7113841"/>
              <a:gd name="connsiteY3" fmla="*/ 4345781 h 5142778"/>
              <a:gd name="connsiteX4" fmla="*/ 7113839 w 7113841"/>
              <a:gd name="connsiteY4" fmla="*/ 4344165 h 5142778"/>
              <a:gd name="connsiteX5" fmla="*/ 7065051 w 7113841"/>
              <a:gd name="connsiteY5" fmla="*/ 4326824 h 5142778"/>
              <a:gd name="connsiteX6" fmla="*/ 7016980 w 7113841"/>
              <a:gd name="connsiteY6" fmla="*/ 4310591 h 5142778"/>
              <a:gd name="connsiteX7" fmla="*/ 6969613 w 7113841"/>
              <a:gd name="connsiteY7" fmla="*/ 4295447 h 5142778"/>
              <a:gd name="connsiteX8" fmla="*/ 6922939 w 7113841"/>
              <a:gd name="connsiteY8" fmla="*/ 4281374 h 5142778"/>
              <a:gd name="connsiteX9" fmla="*/ 6876941 w 7113841"/>
              <a:gd name="connsiteY9" fmla="*/ 4268353 h 5142778"/>
              <a:gd name="connsiteX10" fmla="*/ 6831609 w 7113841"/>
              <a:gd name="connsiteY10" fmla="*/ 4256365 h 5142778"/>
              <a:gd name="connsiteX11" fmla="*/ 6786928 w 7113841"/>
              <a:gd name="connsiteY11" fmla="*/ 4245394 h 5142778"/>
              <a:gd name="connsiteX12" fmla="*/ 6742887 w 7113841"/>
              <a:gd name="connsiteY12" fmla="*/ 4235421 h 5142778"/>
              <a:gd name="connsiteX13" fmla="*/ 6699472 w 7113841"/>
              <a:gd name="connsiteY13" fmla="*/ 4226427 h 5142778"/>
              <a:gd name="connsiteX14" fmla="*/ 6656669 w 7113841"/>
              <a:gd name="connsiteY14" fmla="*/ 4218394 h 5142778"/>
              <a:gd name="connsiteX15" fmla="*/ 6614465 w 7113841"/>
              <a:gd name="connsiteY15" fmla="*/ 4211304 h 5142778"/>
              <a:gd name="connsiteX16" fmla="*/ 6572851 w 7113841"/>
              <a:gd name="connsiteY16" fmla="*/ 4205138 h 5142778"/>
              <a:gd name="connsiteX17" fmla="*/ 6552259 w 7113841"/>
              <a:gd name="connsiteY17" fmla="*/ 4202397 h 5142778"/>
              <a:gd name="connsiteX18" fmla="*/ 6531808 w 7113841"/>
              <a:gd name="connsiteY18" fmla="*/ 4199880 h 5142778"/>
              <a:gd name="connsiteX19" fmla="*/ 6511499 w 7113841"/>
              <a:gd name="connsiteY19" fmla="*/ 4197584 h 5142778"/>
              <a:gd name="connsiteX20" fmla="*/ 6491327 w 7113841"/>
              <a:gd name="connsiteY20" fmla="*/ 4195509 h 5142778"/>
              <a:gd name="connsiteX21" fmla="*/ 6471293 w 7113841"/>
              <a:gd name="connsiteY21" fmla="*/ 4193650 h 5142778"/>
              <a:gd name="connsiteX22" fmla="*/ 6451393 w 7113841"/>
              <a:gd name="connsiteY22" fmla="*/ 4192007 h 5142778"/>
              <a:gd name="connsiteX23" fmla="*/ 6431629 w 7113841"/>
              <a:gd name="connsiteY23" fmla="*/ 4190577 h 5142778"/>
              <a:gd name="connsiteX24" fmla="*/ 6411994 w 7113841"/>
              <a:gd name="connsiteY24" fmla="*/ 4189358 h 5142778"/>
              <a:gd name="connsiteX25" fmla="*/ 6392492 w 7113841"/>
              <a:gd name="connsiteY25" fmla="*/ 4188346 h 5142778"/>
              <a:gd name="connsiteX26" fmla="*/ 6373117 w 7113841"/>
              <a:gd name="connsiteY26" fmla="*/ 4187541 h 5142778"/>
              <a:gd name="connsiteX27" fmla="*/ 6353871 w 7113841"/>
              <a:gd name="connsiteY27" fmla="*/ 4186940 h 5142778"/>
              <a:gd name="connsiteX28" fmla="*/ 6334749 w 7113841"/>
              <a:gd name="connsiteY28" fmla="*/ 4186540 h 5142778"/>
              <a:gd name="connsiteX29" fmla="*/ 6315752 w 7113841"/>
              <a:gd name="connsiteY29" fmla="*/ 4186339 h 5142778"/>
              <a:gd name="connsiteX30" fmla="*/ 6296876 w 7113841"/>
              <a:gd name="connsiteY30" fmla="*/ 4186336 h 5142778"/>
              <a:gd name="connsiteX31" fmla="*/ 6278122 w 7113841"/>
              <a:gd name="connsiteY31" fmla="*/ 4186526 h 5142778"/>
              <a:gd name="connsiteX32" fmla="*/ 6259485 w 7113841"/>
              <a:gd name="connsiteY32" fmla="*/ 4186909 h 5142778"/>
              <a:gd name="connsiteX33" fmla="*/ 6240968 w 7113841"/>
              <a:gd name="connsiteY33" fmla="*/ 4187483 h 5142778"/>
              <a:gd name="connsiteX34" fmla="*/ 6222565 w 7113841"/>
              <a:gd name="connsiteY34" fmla="*/ 4188243 h 5142778"/>
              <a:gd name="connsiteX35" fmla="*/ 6204277 w 7113841"/>
              <a:gd name="connsiteY35" fmla="*/ 4189190 h 5142778"/>
              <a:gd name="connsiteX36" fmla="*/ 6186101 w 7113841"/>
              <a:gd name="connsiteY36" fmla="*/ 4190320 h 5142778"/>
              <a:gd name="connsiteX37" fmla="*/ 6168036 w 7113841"/>
              <a:gd name="connsiteY37" fmla="*/ 4191630 h 5142778"/>
              <a:gd name="connsiteX38" fmla="*/ 6150080 w 7113841"/>
              <a:gd name="connsiteY38" fmla="*/ 4193119 h 5142778"/>
              <a:gd name="connsiteX39" fmla="*/ 6132232 w 7113841"/>
              <a:gd name="connsiteY39" fmla="*/ 4194785 h 5142778"/>
              <a:gd name="connsiteX40" fmla="*/ 6114490 w 7113841"/>
              <a:gd name="connsiteY40" fmla="*/ 4196625 h 5142778"/>
              <a:gd name="connsiteX41" fmla="*/ 6096852 w 7113841"/>
              <a:gd name="connsiteY41" fmla="*/ 4198636 h 5142778"/>
              <a:gd name="connsiteX42" fmla="*/ 6079317 w 7113841"/>
              <a:gd name="connsiteY42" fmla="*/ 4200817 h 5142778"/>
              <a:gd name="connsiteX43" fmla="*/ 6061883 w 7113841"/>
              <a:gd name="connsiteY43" fmla="*/ 4203166 h 5142778"/>
              <a:gd name="connsiteX44" fmla="*/ 6044549 w 7113841"/>
              <a:gd name="connsiteY44" fmla="*/ 4205679 h 5142778"/>
              <a:gd name="connsiteX45" fmla="*/ 6027313 w 7113841"/>
              <a:gd name="connsiteY45" fmla="*/ 4208355 h 5142778"/>
              <a:gd name="connsiteX46" fmla="*/ 6010172 w 7113841"/>
              <a:gd name="connsiteY46" fmla="*/ 4211191 h 5142778"/>
              <a:gd name="connsiteX47" fmla="*/ 5976173 w 7113841"/>
              <a:gd name="connsiteY47" fmla="*/ 4217335 h 5142778"/>
              <a:gd name="connsiteX48" fmla="*/ 5942540 w 7113841"/>
              <a:gd name="connsiteY48" fmla="*/ 4224094 h 5142778"/>
              <a:gd name="connsiteX49" fmla="*/ 5892747 w 7113841"/>
              <a:gd name="connsiteY49" fmla="*/ 4235344 h 5142778"/>
              <a:gd name="connsiteX50" fmla="*/ 5859970 w 7113841"/>
              <a:gd name="connsiteY50" fmla="*/ 4243558 h 5142778"/>
              <a:gd name="connsiteX51" fmla="*/ 5827512 w 7113841"/>
              <a:gd name="connsiteY51" fmla="*/ 4252322 h 5142778"/>
              <a:gd name="connsiteX52" fmla="*/ 5795362 w 7113841"/>
              <a:gd name="connsiteY52" fmla="*/ 4261618 h 5142778"/>
              <a:gd name="connsiteX53" fmla="*/ 5763504 w 7113841"/>
              <a:gd name="connsiteY53" fmla="*/ 4271428 h 5142778"/>
              <a:gd name="connsiteX54" fmla="*/ 5731928 w 7113841"/>
              <a:gd name="connsiteY54" fmla="*/ 4281734 h 5142778"/>
              <a:gd name="connsiteX55" fmla="*/ 5700619 w 7113841"/>
              <a:gd name="connsiteY55" fmla="*/ 4292517 h 5142778"/>
              <a:gd name="connsiteX56" fmla="*/ 5669565 w 7113841"/>
              <a:gd name="connsiteY56" fmla="*/ 4303758 h 5142778"/>
              <a:gd name="connsiteX57" fmla="*/ 5638752 w 7113841"/>
              <a:gd name="connsiteY57" fmla="*/ 4315440 h 5142778"/>
              <a:gd name="connsiteX58" fmla="*/ 5608167 w 7113841"/>
              <a:gd name="connsiteY58" fmla="*/ 4327545 h 5142778"/>
              <a:gd name="connsiteX59" fmla="*/ 5577799 w 7113841"/>
              <a:gd name="connsiteY59" fmla="*/ 4340054 h 5142778"/>
              <a:gd name="connsiteX60" fmla="*/ 5547632 w 7113841"/>
              <a:gd name="connsiteY60" fmla="*/ 4352948 h 5142778"/>
              <a:gd name="connsiteX61" fmla="*/ 5517655 w 7113841"/>
              <a:gd name="connsiteY61" fmla="*/ 4366210 h 5142778"/>
              <a:gd name="connsiteX62" fmla="*/ 5487855 w 7113841"/>
              <a:gd name="connsiteY62" fmla="*/ 4379822 h 5142778"/>
              <a:gd name="connsiteX63" fmla="*/ 5443456 w 7113841"/>
              <a:gd name="connsiteY63" fmla="*/ 4400854 h 5142778"/>
              <a:gd name="connsiteX64" fmla="*/ 5399381 w 7113841"/>
              <a:gd name="connsiteY64" fmla="*/ 4422570 h 5142778"/>
              <a:gd name="connsiteX65" fmla="*/ 5355585 w 7113841"/>
              <a:gd name="connsiteY65" fmla="*/ 4444908 h 5142778"/>
              <a:gd name="connsiteX66" fmla="*/ 5312025 w 7113841"/>
              <a:gd name="connsiteY66" fmla="*/ 4467805 h 5142778"/>
              <a:gd name="connsiteX67" fmla="*/ 5254235 w 7113841"/>
              <a:gd name="connsiteY67" fmla="*/ 4499099 h 5142778"/>
              <a:gd name="connsiteX68" fmla="*/ 5167962 w 7113841"/>
              <a:gd name="connsiteY68" fmla="*/ 4547383 h 5142778"/>
              <a:gd name="connsiteX69" fmla="*/ 4952295 w 7113841"/>
              <a:gd name="connsiteY69" fmla="*/ 4672140 h 5142778"/>
              <a:gd name="connsiteX70" fmla="*/ 4791671 w 7113841"/>
              <a:gd name="connsiteY70" fmla="*/ 4763822 h 5142778"/>
              <a:gd name="connsiteX71" fmla="*/ 4717297 w 7113841"/>
              <a:gd name="connsiteY71" fmla="*/ 4804607 h 5142778"/>
              <a:gd name="connsiteX72" fmla="*/ 4656988 w 7113841"/>
              <a:gd name="connsiteY72" fmla="*/ 4836560 h 5142778"/>
              <a:gd name="connsiteX73" fmla="*/ 4611217 w 7113841"/>
              <a:gd name="connsiteY73" fmla="*/ 4860036 h 5142778"/>
              <a:gd name="connsiteX74" fmla="*/ 4564933 w 7113841"/>
              <a:gd name="connsiteY74" fmla="*/ 4883024 h 5142778"/>
              <a:gd name="connsiteX75" fmla="*/ 4518093 w 7113841"/>
              <a:gd name="connsiteY75" fmla="*/ 4905462 h 5142778"/>
              <a:gd name="connsiteX76" fmla="*/ 4470653 w 7113841"/>
              <a:gd name="connsiteY76" fmla="*/ 4927290 h 5142778"/>
              <a:gd name="connsiteX77" fmla="*/ 4438671 w 7113841"/>
              <a:gd name="connsiteY77" fmla="*/ 4941472 h 5142778"/>
              <a:gd name="connsiteX78" fmla="*/ 4406390 w 7113841"/>
              <a:gd name="connsiteY78" fmla="*/ 4955337 h 5142778"/>
              <a:gd name="connsiteX79" fmla="*/ 4373797 w 7113841"/>
              <a:gd name="connsiteY79" fmla="*/ 4968866 h 5142778"/>
              <a:gd name="connsiteX80" fmla="*/ 4340879 w 7113841"/>
              <a:gd name="connsiteY80" fmla="*/ 4982041 h 5142778"/>
              <a:gd name="connsiteX81" fmla="*/ 4307622 w 7113841"/>
              <a:gd name="connsiteY81" fmla="*/ 4994845 h 5142778"/>
              <a:gd name="connsiteX82" fmla="*/ 4274014 w 7113841"/>
              <a:gd name="connsiteY82" fmla="*/ 5007258 h 5142778"/>
              <a:gd name="connsiteX83" fmla="*/ 4240041 w 7113841"/>
              <a:gd name="connsiteY83" fmla="*/ 5019263 h 5142778"/>
              <a:gd name="connsiteX84" fmla="*/ 4205691 w 7113841"/>
              <a:gd name="connsiteY84" fmla="*/ 5030841 h 5142778"/>
              <a:gd name="connsiteX85" fmla="*/ 4170950 w 7113841"/>
              <a:gd name="connsiteY85" fmla="*/ 5041974 h 5142778"/>
              <a:gd name="connsiteX86" fmla="*/ 4135806 w 7113841"/>
              <a:gd name="connsiteY86" fmla="*/ 5052643 h 5142778"/>
              <a:gd name="connsiteX87" fmla="*/ 4100246 w 7113841"/>
              <a:gd name="connsiteY87" fmla="*/ 5062831 h 5142778"/>
              <a:gd name="connsiteX88" fmla="*/ 4064256 w 7113841"/>
              <a:gd name="connsiteY88" fmla="*/ 5072519 h 5142778"/>
              <a:gd name="connsiteX89" fmla="*/ 4027823 w 7113841"/>
              <a:gd name="connsiteY89" fmla="*/ 5081689 h 5142778"/>
              <a:gd name="connsiteX90" fmla="*/ 3990935 w 7113841"/>
              <a:gd name="connsiteY90" fmla="*/ 5090323 h 5142778"/>
              <a:gd name="connsiteX91" fmla="*/ 3953578 w 7113841"/>
              <a:gd name="connsiteY91" fmla="*/ 5098402 h 5142778"/>
              <a:gd name="connsiteX92" fmla="*/ 3915739 w 7113841"/>
              <a:gd name="connsiteY92" fmla="*/ 5105908 h 5142778"/>
              <a:gd name="connsiteX93" fmla="*/ 3877406 w 7113841"/>
              <a:gd name="connsiteY93" fmla="*/ 5112824 h 5142778"/>
              <a:gd name="connsiteX94" fmla="*/ 3838565 w 7113841"/>
              <a:gd name="connsiteY94" fmla="*/ 5119129 h 5142778"/>
              <a:gd name="connsiteX95" fmla="*/ 3799203 w 7113841"/>
              <a:gd name="connsiteY95" fmla="*/ 5124807 h 5142778"/>
              <a:gd name="connsiteX96" fmla="*/ 3759308 w 7113841"/>
              <a:gd name="connsiteY96" fmla="*/ 5129839 h 5142778"/>
              <a:gd name="connsiteX97" fmla="*/ 3718865 w 7113841"/>
              <a:gd name="connsiteY97" fmla="*/ 5134207 h 5142778"/>
              <a:gd name="connsiteX98" fmla="*/ 3677863 w 7113841"/>
              <a:gd name="connsiteY98" fmla="*/ 5137893 h 5142778"/>
              <a:gd name="connsiteX99" fmla="*/ 3636288 w 7113841"/>
              <a:gd name="connsiteY99" fmla="*/ 5140877 h 5142778"/>
              <a:gd name="connsiteX100" fmla="*/ 3600919 w 7113841"/>
              <a:gd name="connsiteY100" fmla="*/ 5142778 h 5142778"/>
              <a:gd name="connsiteX101" fmla="*/ 0 w 7113841"/>
              <a:gd name="connsiteY101" fmla="*/ 5142778 h 5142778"/>
              <a:gd name="connsiteX102" fmla="*/ 36355 w 7113841"/>
              <a:gd name="connsiteY102" fmla="*/ 5078128 h 5142778"/>
              <a:gd name="connsiteX103" fmla="*/ 85405 w 7113841"/>
              <a:gd name="connsiteY103" fmla="*/ 4991843 h 5142778"/>
              <a:gd name="connsiteX104" fmla="*/ 164324 w 7113841"/>
              <a:gd name="connsiteY104" fmla="*/ 4854690 h 5142778"/>
              <a:gd name="connsiteX105" fmla="*/ 381230 w 7113841"/>
              <a:gd name="connsiteY105" fmla="*/ 4481186 h 5142778"/>
              <a:gd name="connsiteX106" fmla="*/ 439596 w 7113841"/>
              <a:gd name="connsiteY106" fmla="*/ 4379712 h 5142778"/>
              <a:gd name="connsiteX107" fmla="*/ 478157 w 7113841"/>
              <a:gd name="connsiteY107" fmla="*/ 4312042 h 5142778"/>
              <a:gd name="connsiteX108" fmla="*/ 516383 w 7113841"/>
              <a:gd name="connsiteY108" fmla="*/ 4244314 h 5142778"/>
              <a:gd name="connsiteX109" fmla="*/ 544803 w 7113841"/>
              <a:gd name="connsiteY109" fmla="*/ 4193459 h 5142778"/>
              <a:gd name="connsiteX110" fmla="*/ 572987 w 7113841"/>
              <a:gd name="connsiteY110" fmla="*/ 4142538 h 5142778"/>
              <a:gd name="connsiteX111" fmla="*/ 591636 w 7113841"/>
              <a:gd name="connsiteY111" fmla="*/ 4108547 h 5142778"/>
              <a:gd name="connsiteX112" fmla="*/ 610163 w 7113841"/>
              <a:gd name="connsiteY112" fmla="*/ 4074516 h 5142778"/>
              <a:gd name="connsiteX113" fmla="*/ 628565 w 7113841"/>
              <a:gd name="connsiteY113" fmla="*/ 4040440 h 5142778"/>
              <a:gd name="connsiteX114" fmla="*/ 646835 w 7113841"/>
              <a:gd name="connsiteY114" fmla="*/ 4006315 h 5142778"/>
              <a:gd name="connsiteX115" fmla="*/ 664966 w 7113841"/>
              <a:gd name="connsiteY115" fmla="*/ 3972137 h 5142778"/>
              <a:gd name="connsiteX116" fmla="*/ 682954 w 7113841"/>
              <a:gd name="connsiteY116" fmla="*/ 3937902 h 5142778"/>
              <a:gd name="connsiteX117" fmla="*/ 691892 w 7113841"/>
              <a:gd name="connsiteY117" fmla="*/ 3920762 h 5142778"/>
              <a:gd name="connsiteX118" fmla="*/ 700791 w 7113841"/>
              <a:gd name="connsiteY118" fmla="*/ 3903606 h 5142778"/>
              <a:gd name="connsiteX119" fmla="*/ 709652 w 7113841"/>
              <a:gd name="connsiteY119" fmla="*/ 3886433 h 5142778"/>
              <a:gd name="connsiteX120" fmla="*/ 718472 w 7113841"/>
              <a:gd name="connsiteY120" fmla="*/ 3869243 h 5142778"/>
              <a:gd name="connsiteX121" fmla="*/ 727252 w 7113841"/>
              <a:gd name="connsiteY121" fmla="*/ 3852035 h 5142778"/>
              <a:gd name="connsiteX122" fmla="*/ 735991 w 7113841"/>
              <a:gd name="connsiteY122" fmla="*/ 3834810 h 5142778"/>
              <a:gd name="connsiteX123" fmla="*/ 744687 w 7113841"/>
              <a:gd name="connsiteY123" fmla="*/ 3817565 h 5142778"/>
              <a:gd name="connsiteX124" fmla="*/ 753341 w 7113841"/>
              <a:gd name="connsiteY124" fmla="*/ 3800302 h 5142778"/>
              <a:gd name="connsiteX125" fmla="*/ 761951 w 7113841"/>
              <a:gd name="connsiteY125" fmla="*/ 3783019 h 5142778"/>
              <a:gd name="connsiteX126" fmla="*/ 770517 w 7113841"/>
              <a:gd name="connsiteY126" fmla="*/ 3765715 h 5142778"/>
              <a:gd name="connsiteX127" fmla="*/ 779038 w 7113841"/>
              <a:gd name="connsiteY127" fmla="*/ 3748391 h 5142778"/>
              <a:gd name="connsiteX128" fmla="*/ 787512 w 7113841"/>
              <a:gd name="connsiteY128" fmla="*/ 3731046 h 5142778"/>
              <a:gd name="connsiteX129" fmla="*/ 795941 w 7113841"/>
              <a:gd name="connsiteY129" fmla="*/ 3713678 h 5142778"/>
              <a:gd name="connsiteX130" fmla="*/ 804322 w 7113841"/>
              <a:gd name="connsiteY130" fmla="*/ 3696288 h 5142778"/>
              <a:gd name="connsiteX131" fmla="*/ 812655 w 7113841"/>
              <a:gd name="connsiteY131" fmla="*/ 3678875 h 5142778"/>
              <a:gd name="connsiteX132" fmla="*/ 820938 w 7113841"/>
              <a:gd name="connsiteY132" fmla="*/ 3661439 h 5142778"/>
              <a:gd name="connsiteX133" fmla="*/ 829172 w 7113841"/>
              <a:gd name="connsiteY133" fmla="*/ 3643979 h 5142778"/>
              <a:gd name="connsiteX134" fmla="*/ 837357 w 7113841"/>
              <a:gd name="connsiteY134" fmla="*/ 3626494 h 5142778"/>
              <a:gd name="connsiteX135" fmla="*/ 845490 w 7113841"/>
              <a:gd name="connsiteY135" fmla="*/ 3608984 h 5142778"/>
              <a:gd name="connsiteX136" fmla="*/ 853571 w 7113841"/>
              <a:gd name="connsiteY136" fmla="*/ 3591449 h 5142778"/>
              <a:gd name="connsiteX137" fmla="*/ 861599 w 7113841"/>
              <a:gd name="connsiteY137" fmla="*/ 3573886 h 5142778"/>
              <a:gd name="connsiteX138" fmla="*/ 869574 w 7113841"/>
              <a:gd name="connsiteY138" fmla="*/ 3556298 h 5142778"/>
              <a:gd name="connsiteX139" fmla="*/ 877495 w 7113841"/>
              <a:gd name="connsiteY139" fmla="*/ 3538682 h 5142778"/>
              <a:gd name="connsiteX140" fmla="*/ 885361 w 7113841"/>
              <a:gd name="connsiteY140" fmla="*/ 3521039 h 5142778"/>
              <a:gd name="connsiteX141" fmla="*/ 893171 w 7113841"/>
              <a:gd name="connsiteY141" fmla="*/ 3503367 h 5142778"/>
              <a:gd name="connsiteX142" fmla="*/ 900925 w 7113841"/>
              <a:gd name="connsiteY142" fmla="*/ 3485666 h 5142778"/>
              <a:gd name="connsiteX143" fmla="*/ 908622 w 7113841"/>
              <a:gd name="connsiteY143" fmla="*/ 3467936 h 5142778"/>
              <a:gd name="connsiteX144" fmla="*/ 916260 w 7113841"/>
              <a:gd name="connsiteY144" fmla="*/ 3450176 h 5142778"/>
              <a:gd name="connsiteX145" fmla="*/ 923841 w 7113841"/>
              <a:gd name="connsiteY145" fmla="*/ 3432385 h 5142778"/>
              <a:gd name="connsiteX146" fmla="*/ 931361 w 7113841"/>
              <a:gd name="connsiteY146" fmla="*/ 3414563 h 5142778"/>
              <a:gd name="connsiteX147" fmla="*/ 938822 w 7113841"/>
              <a:gd name="connsiteY147" fmla="*/ 3396710 h 5142778"/>
              <a:gd name="connsiteX148" fmla="*/ 946221 w 7113841"/>
              <a:gd name="connsiteY148" fmla="*/ 3378825 h 5142778"/>
              <a:gd name="connsiteX149" fmla="*/ 953559 w 7113841"/>
              <a:gd name="connsiteY149" fmla="*/ 3360907 h 5142778"/>
              <a:gd name="connsiteX150" fmla="*/ 960835 w 7113841"/>
              <a:gd name="connsiteY150" fmla="*/ 3342956 h 5142778"/>
              <a:gd name="connsiteX151" fmla="*/ 968048 w 7113841"/>
              <a:gd name="connsiteY151" fmla="*/ 3324971 h 5142778"/>
              <a:gd name="connsiteX152" fmla="*/ 975195 w 7113841"/>
              <a:gd name="connsiteY152" fmla="*/ 3306952 h 5142778"/>
              <a:gd name="connsiteX153" fmla="*/ 982280 w 7113841"/>
              <a:gd name="connsiteY153" fmla="*/ 3288898 h 5142778"/>
              <a:gd name="connsiteX154" fmla="*/ 989297 w 7113841"/>
              <a:gd name="connsiteY154" fmla="*/ 3270809 h 5142778"/>
              <a:gd name="connsiteX155" fmla="*/ 996250 w 7113841"/>
              <a:gd name="connsiteY155" fmla="*/ 3252684 h 5142778"/>
              <a:gd name="connsiteX156" fmla="*/ 1003136 w 7113841"/>
              <a:gd name="connsiteY156" fmla="*/ 3234522 h 5142778"/>
              <a:gd name="connsiteX157" fmla="*/ 1009953 w 7113841"/>
              <a:gd name="connsiteY157" fmla="*/ 3216324 h 5142778"/>
              <a:gd name="connsiteX158" fmla="*/ 1016702 w 7113841"/>
              <a:gd name="connsiteY158" fmla="*/ 3198088 h 5142778"/>
              <a:gd name="connsiteX159" fmla="*/ 1023381 w 7113841"/>
              <a:gd name="connsiteY159" fmla="*/ 3179814 h 5142778"/>
              <a:gd name="connsiteX160" fmla="*/ 1029991 w 7113841"/>
              <a:gd name="connsiteY160" fmla="*/ 3161502 h 5142778"/>
              <a:gd name="connsiteX161" fmla="*/ 1036530 w 7113841"/>
              <a:gd name="connsiteY161" fmla="*/ 3143151 h 5142778"/>
              <a:gd name="connsiteX162" fmla="*/ 1042998 w 7113841"/>
              <a:gd name="connsiteY162" fmla="*/ 3124759 h 5142778"/>
              <a:gd name="connsiteX163" fmla="*/ 1049393 w 7113841"/>
              <a:gd name="connsiteY163" fmla="*/ 3106328 h 5142778"/>
              <a:gd name="connsiteX164" fmla="*/ 1055715 w 7113841"/>
              <a:gd name="connsiteY164" fmla="*/ 3087856 h 5142778"/>
              <a:gd name="connsiteX165" fmla="*/ 1061964 w 7113841"/>
              <a:gd name="connsiteY165" fmla="*/ 3069343 h 5142778"/>
              <a:gd name="connsiteX166" fmla="*/ 1068138 w 7113841"/>
              <a:gd name="connsiteY166" fmla="*/ 3050788 h 5142778"/>
              <a:gd name="connsiteX167" fmla="*/ 1074237 w 7113841"/>
              <a:gd name="connsiteY167" fmla="*/ 3032191 h 5142778"/>
              <a:gd name="connsiteX168" fmla="*/ 1080260 w 7113841"/>
              <a:gd name="connsiteY168" fmla="*/ 3013551 h 5142778"/>
              <a:gd name="connsiteX169" fmla="*/ 1086206 w 7113841"/>
              <a:gd name="connsiteY169" fmla="*/ 2994867 h 5142778"/>
              <a:gd name="connsiteX170" fmla="*/ 1092075 w 7113841"/>
              <a:gd name="connsiteY170" fmla="*/ 2976140 h 5142778"/>
              <a:gd name="connsiteX171" fmla="*/ 1097865 w 7113841"/>
              <a:gd name="connsiteY171" fmla="*/ 2957368 h 5142778"/>
              <a:gd name="connsiteX172" fmla="*/ 1103577 w 7113841"/>
              <a:gd name="connsiteY172" fmla="*/ 2938551 h 5142778"/>
              <a:gd name="connsiteX173" fmla="*/ 1109208 w 7113841"/>
              <a:gd name="connsiteY173" fmla="*/ 2919688 h 5142778"/>
              <a:gd name="connsiteX174" fmla="*/ 1114759 w 7113841"/>
              <a:gd name="connsiteY174" fmla="*/ 2900780 h 5142778"/>
              <a:gd name="connsiteX175" fmla="*/ 1120228 w 7113841"/>
              <a:gd name="connsiteY175" fmla="*/ 2881825 h 5142778"/>
              <a:gd name="connsiteX176" fmla="*/ 1125617 w 7113841"/>
              <a:gd name="connsiteY176" fmla="*/ 2862822 h 5142778"/>
              <a:gd name="connsiteX177" fmla="*/ 1130921 w 7113841"/>
              <a:gd name="connsiteY177" fmla="*/ 2843773 h 5142778"/>
              <a:gd name="connsiteX178" fmla="*/ 1136143 w 7113841"/>
              <a:gd name="connsiteY178" fmla="*/ 2824674 h 5142778"/>
              <a:gd name="connsiteX179" fmla="*/ 1141280 w 7113841"/>
              <a:gd name="connsiteY179" fmla="*/ 2805527 h 5142778"/>
              <a:gd name="connsiteX180" fmla="*/ 1146332 w 7113841"/>
              <a:gd name="connsiteY180" fmla="*/ 2786331 h 5142778"/>
              <a:gd name="connsiteX181" fmla="*/ 1151298 w 7113841"/>
              <a:gd name="connsiteY181" fmla="*/ 2767085 h 5142778"/>
              <a:gd name="connsiteX182" fmla="*/ 1156178 w 7113841"/>
              <a:gd name="connsiteY182" fmla="*/ 2747788 h 5142778"/>
              <a:gd name="connsiteX183" fmla="*/ 1160971 w 7113841"/>
              <a:gd name="connsiteY183" fmla="*/ 2728441 h 5142778"/>
              <a:gd name="connsiteX184" fmla="*/ 1165675 w 7113841"/>
              <a:gd name="connsiteY184" fmla="*/ 2709042 h 5142778"/>
              <a:gd name="connsiteX185" fmla="*/ 1170290 w 7113841"/>
              <a:gd name="connsiteY185" fmla="*/ 2689591 h 5142778"/>
              <a:gd name="connsiteX186" fmla="*/ 1174816 w 7113841"/>
              <a:gd name="connsiteY186" fmla="*/ 2670087 h 5142778"/>
              <a:gd name="connsiteX187" fmla="*/ 1179252 w 7113841"/>
              <a:gd name="connsiteY187" fmla="*/ 2650531 h 5142778"/>
              <a:gd name="connsiteX188" fmla="*/ 1183597 w 7113841"/>
              <a:gd name="connsiteY188" fmla="*/ 2630921 h 5142778"/>
              <a:gd name="connsiteX189" fmla="*/ 1187850 w 7113841"/>
              <a:gd name="connsiteY189" fmla="*/ 2611257 h 5142778"/>
              <a:gd name="connsiteX190" fmla="*/ 1192010 w 7113841"/>
              <a:gd name="connsiteY190" fmla="*/ 2591538 h 5142778"/>
              <a:gd name="connsiteX191" fmla="*/ 1196077 w 7113841"/>
              <a:gd name="connsiteY191" fmla="*/ 2571764 h 5142778"/>
              <a:gd name="connsiteX192" fmla="*/ 1200049 w 7113841"/>
              <a:gd name="connsiteY192" fmla="*/ 2551934 h 5142778"/>
              <a:gd name="connsiteX193" fmla="*/ 1203927 w 7113841"/>
              <a:gd name="connsiteY193" fmla="*/ 2532048 h 5142778"/>
              <a:gd name="connsiteX194" fmla="*/ 1207710 w 7113841"/>
              <a:gd name="connsiteY194" fmla="*/ 2512105 h 5142778"/>
              <a:gd name="connsiteX195" fmla="*/ 1211395 w 7113841"/>
              <a:gd name="connsiteY195" fmla="*/ 2492104 h 5142778"/>
              <a:gd name="connsiteX196" fmla="*/ 1214985 w 7113841"/>
              <a:gd name="connsiteY196" fmla="*/ 2472046 h 5142778"/>
              <a:gd name="connsiteX197" fmla="*/ 1218476 w 7113841"/>
              <a:gd name="connsiteY197" fmla="*/ 2451929 h 5142778"/>
              <a:gd name="connsiteX198" fmla="*/ 1221868 w 7113841"/>
              <a:gd name="connsiteY198" fmla="*/ 2431753 h 5142778"/>
              <a:gd name="connsiteX199" fmla="*/ 1225161 w 7113841"/>
              <a:gd name="connsiteY199" fmla="*/ 2411518 h 5142778"/>
              <a:gd name="connsiteX200" fmla="*/ 1228353 w 7113841"/>
              <a:gd name="connsiteY200" fmla="*/ 2391223 h 5142778"/>
              <a:gd name="connsiteX201" fmla="*/ 1231446 w 7113841"/>
              <a:gd name="connsiteY201" fmla="*/ 2370867 h 5142778"/>
              <a:gd name="connsiteX202" fmla="*/ 1234436 w 7113841"/>
              <a:gd name="connsiteY202" fmla="*/ 2350449 h 5142778"/>
              <a:gd name="connsiteX203" fmla="*/ 1237324 w 7113841"/>
              <a:gd name="connsiteY203" fmla="*/ 2329971 h 5142778"/>
              <a:gd name="connsiteX204" fmla="*/ 1240109 w 7113841"/>
              <a:gd name="connsiteY204" fmla="*/ 2309430 h 5142778"/>
              <a:gd name="connsiteX205" fmla="*/ 1242790 w 7113841"/>
              <a:gd name="connsiteY205" fmla="*/ 2288826 h 5142778"/>
              <a:gd name="connsiteX206" fmla="*/ 1245366 w 7113841"/>
              <a:gd name="connsiteY206" fmla="*/ 2268159 h 5142778"/>
              <a:gd name="connsiteX207" fmla="*/ 1247837 w 7113841"/>
              <a:gd name="connsiteY207" fmla="*/ 2247428 h 5142778"/>
              <a:gd name="connsiteX208" fmla="*/ 1250202 w 7113841"/>
              <a:gd name="connsiteY208" fmla="*/ 2226633 h 5142778"/>
              <a:gd name="connsiteX209" fmla="*/ 1252460 w 7113841"/>
              <a:gd name="connsiteY209" fmla="*/ 2205773 h 5142778"/>
              <a:gd name="connsiteX210" fmla="*/ 1254610 w 7113841"/>
              <a:gd name="connsiteY210" fmla="*/ 2184847 h 5142778"/>
              <a:gd name="connsiteX211" fmla="*/ 1256651 w 7113841"/>
              <a:gd name="connsiteY211" fmla="*/ 2163856 h 5142778"/>
              <a:gd name="connsiteX212" fmla="*/ 1258584 w 7113841"/>
              <a:gd name="connsiteY212" fmla="*/ 2142798 h 5142778"/>
              <a:gd name="connsiteX213" fmla="*/ 1260407 w 7113841"/>
              <a:gd name="connsiteY213" fmla="*/ 2121673 h 5142778"/>
              <a:gd name="connsiteX214" fmla="*/ 1262119 w 7113841"/>
              <a:gd name="connsiteY214" fmla="*/ 2100480 h 5142778"/>
              <a:gd name="connsiteX215" fmla="*/ 1263719 w 7113841"/>
              <a:gd name="connsiteY215" fmla="*/ 2079219 h 5142778"/>
              <a:gd name="connsiteX216" fmla="*/ 1265207 w 7113841"/>
              <a:gd name="connsiteY216" fmla="*/ 2057890 h 5142778"/>
              <a:gd name="connsiteX217" fmla="*/ 1266583 w 7113841"/>
              <a:gd name="connsiteY217" fmla="*/ 2036492 h 5142778"/>
              <a:gd name="connsiteX218" fmla="*/ 1267845 w 7113841"/>
              <a:gd name="connsiteY218" fmla="*/ 2015023 h 5142778"/>
              <a:gd name="connsiteX219" fmla="*/ 1268992 w 7113841"/>
              <a:gd name="connsiteY219" fmla="*/ 1993484 h 5142778"/>
              <a:gd name="connsiteX220" fmla="*/ 1270024 w 7113841"/>
              <a:gd name="connsiteY220" fmla="*/ 1971875 h 5142778"/>
              <a:gd name="connsiteX221" fmla="*/ 1270940 w 7113841"/>
              <a:gd name="connsiteY221" fmla="*/ 1950194 h 5142778"/>
              <a:gd name="connsiteX222" fmla="*/ 1271740 w 7113841"/>
              <a:gd name="connsiteY222" fmla="*/ 1928441 h 5142778"/>
              <a:gd name="connsiteX223" fmla="*/ 1272422 w 7113841"/>
              <a:gd name="connsiteY223" fmla="*/ 1906616 h 5142778"/>
              <a:gd name="connsiteX224" fmla="*/ 1272986 w 7113841"/>
              <a:gd name="connsiteY224" fmla="*/ 1884718 h 5142778"/>
              <a:gd name="connsiteX225" fmla="*/ 1273430 w 7113841"/>
              <a:gd name="connsiteY225" fmla="*/ 1862747 h 5142778"/>
              <a:gd name="connsiteX226" fmla="*/ 1273755 w 7113841"/>
              <a:gd name="connsiteY226" fmla="*/ 1840700 h 5142778"/>
              <a:gd name="connsiteX227" fmla="*/ 1273961 w 7113841"/>
              <a:gd name="connsiteY227" fmla="*/ 1818581 h 5142778"/>
              <a:gd name="connsiteX228" fmla="*/ 1274005 w 7113841"/>
              <a:gd name="connsiteY228" fmla="*/ 1774114 h 5142778"/>
              <a:gd name="connsiteX229" fmla="*/ 1273844 w 7113841"/>
              <a:gd name="connsiteY229" fmla="*/ 1751767 h 5142778"/>
              <a:gd name="connsiteX230" fmla="*/ 1273558 w 7113841"/>
              <a:gd name="connsiteY230" fmla="*/ 1729342 h 5142778"/>
              <a:gd name="connsiteX231" fmla="*/ 1273150 w 7113841"/>
              <a:gd name="connsiteY231" fmla="*/ 1706841 h 5142778"/>
              <a:gd name="connsiteX232" fmla="*/ 1272616 w 7113841"/>
              <a:gd name="connsiteY232" fmla="*/ 1684263 h 5142778"/>
              <a:gd name="connsiteX233" fmla="*/ 1271956 w 7113841"/>
              <a:gd name="connsiteY233" fmla="*/ 1661605 h 5142778"/>
              <a:gd name="connsiteX234" fmla="*/ 1271170 w 7113841"/>
              <a:gd name="connsiteY234" fmla="*/ 1638868 h 5142778"/>
              <a:gd name="connsiteX235" fmla="*/ 1270256 w 7113841"/>
              <a:gd name="connsiteY235" fmla="*/ 1616053 h 5142778"/>
              <a:gd name="connsiteX236" fmla="*/ 1269215 w 7113841"/>
              <a:gd name="connsiteY236" fmla="*/ 1593157 h 5142778"/>
              <a:gd name="connsiteX237" fmla="*/ 1268044 w 7113841"/>
              <a:gd name="connsiteY237" fmla="*/ 1570181 h 5142778"/>
              <a:gd name="connsiteX238" fmla="*/ 1266744 w 7113841"/>
              <a:gd name="connsiteY238" fmla="*/ 1547124 h 5142778"/>
              <a:gd name="connsiteX239" fmla="*/ 1265314 w 7113841"/>
              <a:gd name="connsiteY239" fmla="*/ 1523985 h 5142778"/>
              <a:gd name="connsiteX240" fmla="*/ 1263753 w 7113841"/>
              <a:gd name="connsiteY240" fmla="*/ 1500764 h 5142778"/>
              <a:gd name="connsiteX241" fmla="*/ 1262060 w 7113841"/>
              <a:gd name="connsiteY241" fmla="*/ 1477461 h 5142778"/>
              <a:gd name="connsiteX242" fmla="*/ 1260234 w 7113841"/>
              <a:gd name="connsiteY242" fmla="*/ 1454074 h 5142778"/>
              <a:gd name="connsiteX243" fmla="*/ 1258276 w 7113841"/>
              <a:gd name="connsiteY243" fmla="*/ 1430604 h 5142778"/>
              <a:gd name="connsiteX244" fmla="*/ 1256182 w 7113841"/>
              <a:gd name="connsiteY244" fmla="*/ 1407049 h 5142778"/>
              <a:gd name="connsiteX245" fmla="*/ 1253955 w 7113841"/>
              <a:gd name="connsiteY245" fmla="*/ 1383410 h 5142778"/>
              <a:gd name="connsiteX246" fmla="*/ 1251592 w 7113841"/>
              <a:gd name="connsiteY246" fmla="*/ 1359685 h 5142778"/>
              <a:gd name="connsiteX247" fmla="*/ 1249092 w 7113841"/>
              <a:gd name="connsiteY247" fmla="*/ 1335873 h 5142778"/>
              <a:gd name="connsiteX248" fmla="*/ 1246456 w 7113841"/>
              <a:gd name="connsiteY248" fmla="*/ 1311977 h 5142778"/>
              <a:gd name="connsiteX249" fmla="*/ 1243681 w 7113841"/>
              <a:gd name="connsiteY249" fmla="*/ 1287992 h 5142778"/>
              <a:gd name="connsiteX250" fmla="*/ 1240769 w 7113841"/>
              <a:gd name="connsiteY250" fmla="*/ 1263921 h 5142778"/>
              <a:gd name="connsiteX251" fmla="*/ 1237716 w 7113841"/>
              <a:gd name="connsiteY251" fmla="*/ 1239761 h 5142778"/>
              <a:gd name="connsiteX252" fmla="*/ 1234524 w 7113841"/>
              <a:gd name="connsiteY252" fmla="*/ 1215513 h 5142778"/>
              <a:gd name="connsiteX253" fmla="*/ 1231190 w 7113841"/>
              <a:gd name="connsiteY253" fmla="*/ 1191176 h 5142778"/>
              <a:gd name="connsiteX254" fmla="*/ 1227715 w 7113841"/>
              <a:gd name="connsiteY254" fmla="*/ 1166749 h 5142778"/>
              <a:gd name="connsiteX255" fmla="*/ 1224099 w 7113841"/>
              <a:gd name="connsiteY255" fmla="*/ 1142232 h 5142778"/>
              <a:gd name="connsiteX256" fmla="*/ 1220339 w 7113841"/>
              <a:gd name="connsiteY256" fmla="*/ 1117624 h 5142778"/>
              <a:gd name="connsiteX257" fmla="*/ 1216434 w 7113841"/>
              <a:gd name="connsiteY257" fmla="*/ 1092925 h 5142778"/>
              <a:gd name="connsiteX258" fmla="*/ 1212386 w 7113841"/>
              <a:gd name="connsiteY258" fmla="*/ 1068134 h 5142778"/>
              <a:gd name="connsiteX259" fmla="*/ 1208192 w 7113841"/>
              <a:gd name="connsiteY259" fmla="*/ 1043251 h 5142778"/>
              <a:gd name="connsiteX260" fmla="*/ 1203852 w 7113841"/>
              <a:gd name="connsiteY260" fmla="*/ 1018274 h 5142778"/>
              <a:gd name="connsiteX261" fmla="*/ 1199365 w 7113841"/>
              <a:gd name="connsiteY261" fmla="*/ 993205 h 5142778"/>
              <a:gd name="connsiteX262" fmla="*/ 1194731 w 7113841"/>
              <a:gd name="connsiteY262" fmla="*/ 968042 h 5142778"/>
              <a:gd name="connsiteX263" fmla="*/ 1189948 w 7113841"/>
              <a:gd name="connsiteY263" fmla="*/ 942784 h 5142778"/>
              <a:gd name="connsiteX264" fmla="*/ 1185016 w 7113841"/>
              <a:gd name="connsiteY264" fmla="*/ 917431 h 5142778"/>
              <a:gd name="connsiteX265" fmla="*/ 1179934 w 7113841"/>
              <a:gd name="connsiteY265" fmla="*/ 891982 h 5142778"/>
              <a:gd name="connsiteX266" fmla="*/ 1174701 w 7113841"/>
              <a:gd name="connsiteY266" fmla="*/ 866438 h 5142778"/>
              <a:gd name="connsiteX267" fmla="*/ 1169317 w 7113841"/>
              <a:gd name="connsiteY267" fmla="*/ 840796 h 5142778"/>
              <a:gd name="connsiteX268" fmla="*/ 1163781 w 7113841"/>
              <a:gd name="connsiteY268" fmla="*/ 815058 h 5142778"/>
              <a:gd name="connsiteX269" fmla="*/ 1158092 w 7113841"/>
              <a:gd name="connsiteY269" fmla="*/ 789222 h 5142778"/>
              <a:gd name="connsiteX270" fmla="*/ 1152249 w 7113841"/>
              <a:gd name="connsiteY270" fmla="*/ 763287 h 5142778"/>
              <a:gd name="connsiteX271" fmla="*/ 1146253 w 7113841"/>
              <a:gd name="connsiteY271" fmla="*/ 737255 h 5142778"/>
              <a:gd name="connsiteX272" fmla="*/ 1140101 w 7113841"/>
              <a:gd name="connsiteY272" fmla="*/ 711122 h 5142778"/>
              <a:gd name="connsiteX273" fmla="*/ 1133793 w 7113841"/>
              <a:gd name="connsiteY273" fmla="*/ 684890 h 5142778"/>
              <a:gd name="connsiteX274" fmla="*/ 1127327 w 7113841"/>
              <a:gd name="connsiteY274" fmla="*/ 658557 h 5142778"/>
              <a:gd name="connsiteX275" fmla="*/ 1120705 w 7113841"/>
              <a:gd name="connsiteY275" fmla="*/ 632123 h 5142778"/>
              <a:gd name="connsiteX276" fmla="*/ 1113925 w 7113841"/>
              <a:gd name="connsiteY276" fmla="*/ 605589 h 5142778"/>
              <a:gd name="connsiteX277" fmla="*/ 1106986 w 7113841"/>
              <a:gd name="connsiteY277" fmla="*/ 578951 h 5142778"/>
              <a:gd name="connsiteX278" fmla="*/ 1099887 w 7113841"/>
              <a:gd name="connsiteY278" fmla="*/ 552212 h 5142778"/>
              <a:gd name="connsiteX279" fmla="*/ 1092628 w 7113841"/>
              <a:gd name="connsiteY279" fmla="*/ 525369 h 5142778"/>
              <a:gd name="connsiteX280" fmla="*/ 1085207 w 7113841"/>
              <a:gd name="connsiteY280" fmla="*/ 498423 h 5142778"/>
              <a:gd name="connsiteX281" fmla="*/ 1077624 w 7113841"/>
              <a:gd name="connsiteY281" fmla="*/ 471372 h 5142778"/>
              <a:gd name="connsiteX282" fmla="*/ 1069880 w 7113841"/>
              <a:gd name="connsiteY282" fmla="*/ 444217 h 5142778"/>
              <a:gd name="connsiteX283" fmla="*/ 1061971 w 7113841"/>
              <a:gd name="connsiteY283" fmla="*/ 416957 h 5142778"/>
              <a:gd name="connsiteX284" fmla="*/ 1053898 w 7113841"/>
              <a:gd name="connsiteY284" fmla="*/ 389591 h 5142778"/>
              <a:gd name="connsiteX285" fmla="*/ 1045660 w 7113841"/>
              <a:gd name="connsiteY285" fmla="*/ 362118 h 5142778"/>
              <a:gd name="connsiteX286" fmla="*/ 1037256 w 7113841"/>
              <a:gd name="connsiteY286" fmla="*/ 334538 h 5142778"/>
              <a:gd name="connsiteX287" fmla="*/ 1028686 w 7113841"/>
              <a:gd name="connsiteY287" fmla="*/ 306852 h 5142778"/>
              <a:gd name="connsiteX288" fmla="*/ 1019950 w 7113841"/>
              <a:gd name="connsiteY288" fmla="*/ 279057 h 5142778"/>
              <a:gd name="connsiteX289" fmla="*/ 1011045 w 7113841"/>
              <a:gd name="connsiteY289" fmla="*/ 251154 h 5142778"/>
              <a:gd name="connsiteX290" fmla="*/ 1001971 w 7113841"/>
              <a:gd name="connsiteY290" fmla="*/ 223142 h 5142778"/>
              <a:gd name="connsiteX291" fmla="*/ 992728 w 7113841"/>
              <a:gd name="connsiteY291" fmla="*/ 195020 h 5142778"/>
              <a:gd name="connsiteX292" fmla="*/ 983314 w 7113841"/>
              <a:gd name="connsiteY292" fmla="*/ 166788 h 5142778"/>
              <a:gd name="connsiteX293" fmla="*/ 973730 w 7113841"/>
              <a:gd name="connsiteY293" fmla="*/ 138446 h 5142778"/>
              <a:gd name="connsiteX294" fmla="*/ 963974 w 7113841"/>
              <a:gd name="connsiteY294" fmla="*/ 109992 h 5142778"/>
              <a:gd name="connsiteX295" fmla="*/ 954045 w 7113841"/>
              <a:gd name="connsiteY295" fmla="*/ 81427 h 5142778"/>
              <a:gd name="connsiteX296" fmla="*/ 943943 w 7113841"/>
              <a:gd name="connsiteY296" fmla="*/ 52750 h 5142778"/>
              <a:gd name="connsiteX297" fmla="*/ 933667 w 7113841"/>
              <a:gd name="connsiteY297" fmla="*/ 23959 h 514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7113841" h="5142778">
                <a:moveTo>
                  <a:pt x="925004" y="0"/>
                </a:moveTo>
                <a:lnTo>
                  <a:pt x="7113841" y="0"/>
                </a:lnTo>
                <a:lnTo>
                  <a:pt x="7113841" y="4345781"/>
                </a:lnTo>
                <a:lnTo>
                  <a:pt x="7113839" y="4345781"/>
                </a:lnTo>
                <a:lnTo>
                  <a:pt x="7113839" y="4344165"/>
                </a:lnTo>
                <a:lnTo>
                  <a:pt x="7065051" y="4326824"/>
                </a:lnTo>
                <a:lnTo>
                  <a:pt x="7016980" y="4310591"/>
                </a:lnTo>
                <a:lnTo>
                  <a:pt x="6969613" y="4295447"/>
                </a:lnTo>
                <a:lnTo>
                  <a:pt x="6922939" y="4281374"/>
                </a:lnTo>
                <a:lnTo>
                  <a:pt x="6876941" y="4268353"/>
                </a:lnTo>
                <a:lnTo>
                  <a:pt x="6831609" y="4256365"/>
                </a:lnTo>
                <a:lnTo>
                  <a:pt x="6786928" y="4245394"/>
                </a:lnTo>
                <a:lnTo>
                  <a:pt x="6742887" y="4235421"/>
                </a:lnTo>
                <a:lnTo>
                  <a:pt x="6699472" y="4226427"/>
                </a:lnTo>
                <a:lnTo>
                  <a:pt x="6656669" y="4218394"/>
                </a:lnTo>
                <a:lnTo>
                  <a:pt x="6614465" y="4211304"/>
                </a:lnTo>
                <a:lnTo>
                  <a:pt x="6572851" y="4205138"/>
                </a:lnTo>
                <a:lnTo>
                  <a:pt x="6552259" y="4202397"/>
                </a:lnTo>
                <a:lnTo>
                  <a:pt x="6531808" y="4199880"/>
                </a:lnTo>
                <a:lnTo>
                  <a:pt x="6511499" y="4197584"/>
                </a:lnTo>
                <a:lnTo>
                  <a:pt x="6491327" y="4195509"/>
                </a:lnTo>
                <a:lnTo>
                  <a:pt x="6471293" y="4193650"/>
                </a:lnTo>
                <a:lnTo>
                  <a:pt x="6451393" y="4192007"/>
                </a:lnTo>
                <a:lnTo>
                  <a:pt x="6431629" y="4190577"/>
                </a:lnTo>
                <a:lnTo>
                  <a:pt x="6411994" y="4189358"/>
                </a:lnTo>
                <a:lnTo>
                  <a:pt x="6392492" y="4188346"/>
                </a:lnTo>
                <a:lnTo>
                  <a:pt x="6373117" y="4187541"/>
                </a:lnTo>
                <a:lnTo>
                  <a:pt x="6353871" y="4186940"/>
                </a:lnTo>
                <a:lnTo>
                  <a:pt x="6334749" y="4186540"/>
                </a:lnTo>
                <a:lnTo>
                  <a:pt x="6315752" y="4186339"/>
                </a:lnTo>
                <a:lnTo>
                  <a:pt x="6296876" y="4186336"/>
                </a:lnTo>
                <a:lnTo>
                  <a:pt x="6278122" y="4186526"/>
                </a:lnTo>
                <a:lnTo>
                  <a:pt x="6259485" y="4186909"/>
                </a:lnTo>
                <a:lnTo>
                  <a:pt x="6240968" y="4187483"/>
                </a:lnTo>
                <a:lnTo>
                  <a:pt x="6222565" y="4188243"/>
                </a:lnTo>
                <a:lnTo>
                  <a:pt x="6204277" y="4189190"/>
                </a:lnTo>
                <a:lnTo>
                  <a:pt x="6186101" y="4190320"/>
                </a:lnTo>
                <a:lnTo>
                  <a:pt x="6168036" y="4191630"/>
                </a:lnTo>
                <a:lnTo>
                  <a:pt x="6150080" y="4193119"/>
                </a:lnTo>
                <a:lnTo>
                  <a:pt x="6132232" y="4194785"/>
                </a:lnTo>
                <a:lnTo>
                  <a:pt x="6114490" y="4196625"/>
                </a:lnTo>
                <a:lnTo>
                  <a:pt x="6096852" y="4198636"/>
                </a:lnTo>
                <a:lnTo>
                  <a:pt x="6079317" y="4200817"/>
                </a:lnTo>
                <a:lnTo>
                  <a:pt x="6061883" y="4203166"/>
                </a:lnTo>
                <a:lnTo>
                  <a:pt x="6044549" y="4205679"/>
                </a:lnTo>
                <a:lnTo>
                  <a:pt x="6027313" y="4208355"/>
                </a:lnTo>
                <a:lnTo>
                  <a:pt x="6010172" y="4211191"/>
                </a:lnTo>
                <a:lnTo>
                  <a:pt x="5976173" y="4217335"/>
                </a:lnTo>
                <a:lnTo>
                  <a:pt x="5942540" y="4224094"/>
                </a:lnTo>
                <a:lnTo>
                  <a:pt x="5892747" y="4235344"/>
                </a:lnTo>
                <a:lnTo>
                  <a:pt x="5859970" y="4243558"/>
                </a:lnTo>
                <a:lnTo>
                  <a:pt x="5827512" y="4252322"/>
                </a:lnTo>
                <a:lnTo>
                  <a:pt x="5795362" y="4261618"/>
                </a:lnTo>
                <a:lnTo>
                  <a:pt x="5763504" y="4271428"/>
                </a:lnTo>
                <a:lnTo>
                  <a:pt x="5731928" y="4281734"/>
                </a:lnTo>
                <a:lnTo>
                  <a:pt x="5700619" y="4292517"/>
                </a:lnTo>
                <a:lnTo>
                  <a:pt x="5669565" y="4303758"/>
                </a:lnTo>
                <a:lnTo>
                  <a:pt x="5638752" y="4315440"/>
                </a:lnTo>
                <a:lnTo>
                  <a:pt x="5608167" y="4327545"/>
                </a:lnTo>
                <a:lnTo>
                  <a:pt x="5577799" y="4340054"/>
                </a:lnTo>
                <a:lnTo>
                  <a:pt x="5547632" y="4352948"/>
                </a:lnTo>
                <a:lnTo>
                  <a:pt x="5517655" y="4366210"/>
                </a:lnTo>
                <a:lnTo>
                  <a:pt x="5487855" y="4379822"/>
                </a:lnTo>
                <a:lnTo>
                  <a:pt x="5443456" y="4400854"/>
                </a:lnTo>
                <a:lnTo>
                  <a:pt x="5399381" y="4422570"/>
                </a:lnTo>
                <a:lnTo>
                  <a:pt x="5355585" y="4444908"/>
                </a:lnTo>
                <a:lnTo>
                  <a:pt x="5312025" y="4467805"/>
                </a:lnTo>
                <a:lnTo>
                  <a:pt x="5254235" y="4499099"/>
                </a:lnTo>
                <a:lnTo>
                  <a:pt x="5167962" y="4547383"/>
                </a:lnTo>
                <a:lnTo>
                  <a:pt x="4952295" y="4672140"/>
                </a:lnTo>
                <a:lnTo>
                  <a:pt x="4791671" y="4763822"/>
                </a:lnTo>
                <a:lnTo>
                  <a:pt x="4717297" y="4804607"/>
                </a:lnTo>
                <a:lnTo>
                  <a:pt x="4656988" y="4836560"/>
                </a:lnTo>
                <a:lnTo>
                  <a:pt x="4611217" y="4860036"/>
                </a:lnTo>
                <a:lnTo>
                  <a:pt x="4564933" y="4883024"/>
                </a:lnTo>
                <a:lnTo>
                  <a:pt x="4518093" y="4905462"/>
                </a:lnTo>
                <a:lnTo>
                  <a:pt x="4470653" y="4927290"/>
                </a:lnTo>
                <a:lnTo>
                  <a:pt x="4438671" y="4941472"/>
                </a:lnTo>
                <a:lnTo>
                  <a:pt x="4406390" y="4955337"/>
                </a:lnTo>
                <a:lnTo>
                  <a:pt x="4373797" y="4968866"/>
                </a:lnTo>
                <a:lnTo>
                  <a:pt x="4340879" y="4982041"/>
                </a:lnTo>
                <a:lnTo>
                  <a:pt x="4307622" y="4994845"/>
                </a:lnTo>
                <a:lnTo>
                  <a:pt x="4274014" y="5007258"/>
                </a:lnTo>
                <a:lnTo>
                  <a:pt x="4240041" y="5019263"/>
                </a:lnTo>
                <a:lnTo>
                  <a:pt x="4205691" y="5030841"/>
                </a:lnTo>
                <a:lnTo>
                  <a:pt x="4170950" y="5041974"/>
                </a:lnTo>
                <a:lnTo>
                  <a:pt x="4135806" y="5052643"/>
                </a:lnTo>
                <a:lnTo>
                  <a:pt x="4100246" y="5062831"/>
                </a:lnTo>
                <a:lnTo>
                  <a:pt x="4064256" y="5072519"/>
                </a:lnTo>
                <a:lnTo>
                  <a:pt x="4027823" y="5081689"/>
                </a:lnTo>
                <a:lnTo>
                  <a:pt x="3990935" y="5090323"/>
                </a:lnTo>
                <a:lnTo>
                  <a:pt x="3953578" y="5098402"/>
                </a:lnTo>
                <a:lnTo>
                  <a:pt x="3915739" y="5105908"/>
                </a:lnTo>
                <a:lnTo>
                  <a:pt x="3877406" y="5112824"/>
                </a:lnTo>
                <a:lnTo>
                  <a:pt x="3838565" y="5119129"/>
                </a:lnTo>
                <a:lnTo>
                  <a:pt x="3799203" y="5124807"/>
                </a:lnTo>
                <a:lnTo>
                  <a:pt x="3759308" y="5129839"/>
                </a:lnTo>
                <a:lnTo>
                  <a:pt x="3718865" y="5134207"/>
                </a:lnTo>
                <a:lnTo>
                  <a:pt x="3677863" y="5137893"/>
                </a:lnTo>
                <a:lnTo>
                  <a:pt x="3636288" y="5140877"/>
                </a:lnTo>
                <a:lnTo>
                  <a:pt x="3600919" y="5142778"/>
                </a:lnTo>
                <a:lnTo>
                  <a:pt x="0" y="5142778"/>
                </a:lnTo>
                <a:lnTo>
                  <a:pt x="36355" y="5078128"/>
                </a:lnTo>
                <a:lnTo>
                  <a:pt x="85405" y="4991843"/>
                </a:lnTo>
                <a:lnTo>
                  <a:pt x="164324" y="4854690"/>
                </a:lnTo>
                <a:lnTo>
                  <a:pt x="381230" y="4481186"/>
                </a:lnTo>
                <a:lnTo>
                  <a:pt x="439596" y="4379712"/>
                </a:lnTo>
                <a:lnTo>
                  <a:pt x="478157" y="4312042"/>
                </a:lnTo>
                <a:lnTo>
                  <a:pt x="516383" y="4244314"/>
                </a:lnTo>
                <a:lnTo>
                  <a:pt x="544803" y="4193459"/>
                </a:lnTo>
                <a:lnTo>
                  <a:pt x="572987" y="4142538"/>
                </a:lnTo>
                <a:lnTo>
                  <a:pt x="591636" y="4108547"/>
                </a:lnTo>
                <a:lnTo>
                  <a:pt x="610163" y="4074516"/>
                </a:lnTo>
                <a:lnTo>
                  <a:pt x="628565" y="4040440"/>
                </a:lnTo>
                <a:lnTo>
                  <a:pt x="646835" y="4006315"/>
                </a:lnTo>
                <a:lnTo>
                  <a:pt x="664966" y="3972137"/>
                </a:lnTo>
                <a:lnTo>
                  <a:pt x="682954" y="3937902"/>
                </a:lnTo>
                <a:lnTo>
                  <a:pt x="691892" y="3920762"/>
                </a:lnTo>
                <a:lnTo>
                  <a:pt x="700791" y="3903606"/>
                </a:lnTo>
                <a:lnTo>
                  <a:pt x="709652" y="3886433"/>
                </a:lnTo>
                <a:lnTo>
                  <a:pt x="718472" y="3869243"/>
                </a:lnTo>
                <a:lnTo>
                  <a:pt x="727252" y="3852035"/>
                </a:lnTo>
                <a:lnTo>
                  <a:pt x="735991" y="3834810"/>
                </a:lnTo>
                <a:lnTo>
                  <a:pt x="744687" y="3817565"/>
                </a:lnTo>
                <a:lnTo>
                  <a:pt x="753341" y="3800302"/>
                </a:lnTo>
                <a:lnTo>
                  <a:pt x="761951" y="3783019"/>
                </a:lnTo>
                <a:lnTo>
                  <a:pt x="770517" y="3765715"/>
                </a:lnTo>
                <a:lnTo>
                  <a:pt x="779038" y="3748391"/>
                </a:lnTo>
                <a:lnTo>
                  <a:pt x="787512" y="3731046"/>
                </a:lnTo>
                <a:lnTo>
                  <a:pt x="795941" y="3713678"/>
                </a:lnTo>
                <a:lnTo>
                  <a:pt x="804322" y="3696288"/>
                </a:lnTo>
                <a:lnTo>
                  <a:pt x="812655" y="3678875"/>
                </a:lnTo>
                <a:lnTo>
                  <a:pt x="820938" y="3661439"/>
                </a:lnTo>
                <a:lnTo>
                  <a:pt x="829172" y="3643979"/>
                </a:lnTo>
                <a:lnTo>
                  <a:pt x="837357" y="3626494"/>
                </a:lnTo>
                <a:lnTo>
                  <a:pt x="845490" y="3608984"/>
                </a:lnTo>
                <a:lnTo>
                  <a:pt x="853571" y="3591449"/>
                </a:lnTo>
                <a:lnTo>
                  <a:pt x="861599" y="3573886"/>
                </a:lnTo>
                <a:lnTo>
                  <a:pt x="869574" y="3556298"/>
                </a:lnTo>
                <a:lnTo>
                  <a:pt x="877495" y="3538682"/>
                </a:lnTo>
                <a:lnTo>
                  <a:pt x="885361" y="3521039"/>
                </a:lnTo>
                <a:lnTo>
                  <a:pt x="893171" y="3503367"/>
                </a:lnTo>
                <a:lnTo>
                  <a:pt x="900925" y="3485666"/>
                </a:lnTo>
                <a:lnTo>
                  <a:pt x="908622" y="3467936"/>
                </a:lnTo>
                <a:lnTo>
                  <a:pt x="916260" y="3450176"/>
                </a:lnTo>
                <a:lnTo>
                  <a:pt x="923841" y="3432385"/>
                </a:lnTo>
                <a:lnTo>
                  <a:pt x="931361" y="3414563"/>
                </a:lnTo>
                <a:lnTo>
                  <a:pt x="938822" y="3396710"/>
                </a:lnTo>
                <a:lnTo>
                  <a:pt x="946221" y="3378825"/>
                </a:lnTo>
                <a:lnTo>
                  <a:pt x="953559" y="3360907"/>
                </a:lnTo>
                <a:lnTo>
                  <a:pt x="960835" y="3342956"/>
                </a:lnTo>
                <a:lnTo>
                  <a:pt x="968048" y="3324971"/>
                </a:lnTo>
                <a:lnTo>
                  <a:pt x="975195" y="3306952"/>
                </a:lnTo>
                <a:lnTo>
                  <a:pt x="982280" y="3288898"/>
                </a:lnTo>
                <a:lnTo>
                  <a:pt x="989297" y="3270809"/>
                </a:lnTo>
                <a:lnTo>
                  <a:pt x="996250" y="3252684"/>
                </a:lnTo>
                <a:lnTo>
                  <a:pt x="1003136" y="3234522"/>
                </a:lnTo>
                <a:lnTo>
                  <a:pt x="1009953" y="3216324"/>
                </a:lnTo>
                <a:lnTo>
                  <a:pt x="1016702" y="3198088"/>
                </a:lnTo>
                <a:lnTo>
                  <a:pt x="1023381" y="3179814"/>
                </a:lnTo>
                <a:lnTo>
                  <a:pt x="1029991" y="3161502"/>
                </a:lnTo>
                <a:lnTo>
                  <a:pt x="1036530" y="3143151"/>
                </a:lnTo>
                <a:lnTo>
                  <a:pt x="1042998" y="3124759"/>
                </a:lnTo>
                <a:lnTo>
                  <a:pt x="1049393" y="3106328"/>
                </a:lnTo>
                <a:lnTo>
                  <a:pt x="1055715" y="3087856"/>
                </a:lnTo>
                <a:lnTo>
                  <a:pt x="1061964" y="3069343"/>
                </a:lnTo>
                <a:lnTo>
                  <a:pt x="1068138" y="3050788"/>
                </a:lnTo>
                <a:lnTo>
                  <a:pt x="1074237" y="3032191"/>
                </a:lnTo>
                <a:lnTo>
                  <a:pt x="1080260" y="3013551"/>
                </a:lnTo>
                <a:lnTo>
                  <a:pt x="1086206" y="2994867"/>
                </a:lnTo>
                <a:lnTo>
                  <a:pt x="1092075" y="2976140"/>
                </a:lnTo>
                <a:lnTo>
                  <a:pt x="1097865" y="2957368"/>
                </a:lnTo>
                <a:lnTo>
                  <a:pt x="1103577" y="2938551"/>
                </a:lnTo>
                <a:lnTo>
                  <a:pt x="1109208" y="2919688"/>
                </a:lnTo>
                <a:lnTo>
                  <a:pt x="1114759" y="2900780"/>
                </a:lnTo>
                <a:lnTo>
                  <a:pt x="1120228" y="2881825"/>
                </a:lnTo>
                <a:lnTo>
                  <a:pt x="1125617" y="2862822"/>
                </a:lnTo>
                <a:lnTo>
                  <a:pt x="1130921" y="2843773"/>
                </a:lnTo>
                <a:lnTo>
                  <a:pt x="1136143" y="2824674"/>
                </a:lnTo>
                <a:lnTo>
                  <a:pt x="1141280" y="2805527"/>
                </a:lnTo>
                <a:lnTo>
                  <a:pt x="1146332" y="2786331"/>
                </a:lnTo>
                <a:lnTo>
                  <a:pt x="1151298" y="2767085"/>
                </a:lnTo>
                <a:lnTo>
                  <a:pt x="1156178" y="2747788"/>
                </a:lnTo>
                <a:lnTo>
                  <a:pt x="1160971" y="2728441"/>
                </a:lnTo>
                <a:lnTo>
                  <a:pt x="1165675" y="2709042"/>
                </a:lnTo>
                <a:lnTo>
                  <a:pt x="1170290" y="2689591"/>
                </a:lnTo>
                <a:lnTo>
                  <a:pt x="1174816" y="2670087"/>
                </a:lnTo>
                <a:lnTo>
                  <a:pt x="1179252" y="2650531"/>
                </a:lnTo>
                <a:lnTo>
                  <a:pt x="1183597" y="2630921"/>
                </a:lnTo>
                <a:lnTo>
                  <a:pt x="1187850" y="2611257"/>
                </a:lnTo>
                <a:lnTo>
                  <a:pt x="1192010" y="2591538"/>
                </a:lnTo>
                <a:lnTo>
                  <a:pt x="1196077" y="2571764"/>
                </a:lnTo>
                <a:lnTo>
                  <a:pt x="1200049" y="2551934"/>
                </a:lnTo>
                <a:lnTo>
                  <a:pt x="1203927" y="2532048"/>
                </a:lnTo>
                <a:lnTo>
                  <a:pt x="1207710" y="2512105"/>
                </a:lnTo>
                <a:lnTo>
                  <a:pt x="1211395" y="2492104"/>
                </a:lnTo>
                <a:lnTo>
                  <a:pt x="1214985" y="2472046"/>
                </a:lnTo>
                <a:lnTo>
                  <a:pt x="1218476" y="2451929"/>
                </a:lnTo>
                <a:lnTo>
                  <a:pt x="1221868" y="2431753"/>
                </a:lnTo>
                <a:lnTo>
                  <a:pt x="1225161" y="2411518"/>
                </a:lnTo>
                <a:lnTo>
                  <a:pt x="1228353" y="2391223"/>
                </a:lnTo>
                <a:lnTo>
                  <a:pt x="1231446" y="2370867"/>
                </a:lnTo>
                <a:lnTo>
                  <a:pt x="1234436" y="2350449"/>
                </a:lnTo>
                <a:lnTo>
                  <a:pt x="1237324" y="2329971"/>
                </a:lnTo>
                <a:lnTo>
                  <a:pt x="1240109" y="2309430"/>
                </a:lnTo>
                <a:lnTo>
                  <a:pt x="1242790" y="2288826"/>
                </a:lnTo>
                <a:lnTo>
                  <a:pt x="1245366" y="2268159"/>
                </a:lnTo>
                <a:lnTo>
                  <a:pt x="1247837" y="2247428"/>
                </a:lnTo>
                <a:lnTo>
                  <a:pt x="1250202" y="2226633"/>
                </a:lnTo>
                <a:lnTo>
                  <a:pt x="1252460" y="2205773"/>
                </a:lnTo>
                <a:lnTo>
                  <a:pt x="1254610" y="2184847"/>
                </a:lnTo>
                <a:lnTo>
                  <a:pt x="1256651" y="2163856"/>
                </a:lnTo>
                <a:lnTo>
                  <a:pt x="1258584" y="2142798"/>
                </a:lnTo>
                <a:lnTo>
                  <a:pt x="1260407" y="2121673"/>
                </a:lnTo>
                <a:lnTo>
                  <a:pt x="1262119" y="2100480"/>
                </a:lnTo>
                <a:lnTo>
                  <a:pt x="1263719" y="2079219"/>
                </a:lnTo>
                <a:lnTo>
                  <a:pt x="1265207" y="2057890"/>
                </a:lnTo>
                <a:lnTo>
                  <a:pt x="1266583" y="2036492"/>
                </a:lnTo>
                <a:lnTo>
                  <a:pt x="1267845" y="2015023"/>
                </a:lnTo>
                <a:lnTo>
                  <a:pt x="1268992" y="1993484"/>
                </a:lnTo>
                <a:lnTo>
                  <a:pt x="1270024" y="1971875"/>
                </a:lnTo>
                <a:lnTo>
                  <a:pt x="1270940" y="1950194"/>
                </a:lnTo>
                <a:lnTo>
                  <a:pt x="1271740" y="1928441"/>
                </a:lnTo>
                <a:lnTo>
                  <a:pt x="1272422" y="1906616"/>
                </a:lnTo>
                <a:lnTo>
                  <a:pt x="1272986" y="1884718"/>
                </a:lnTo>
                <a:lnTo>
                  <a:pt x="1273430" y="1862747"/>
                </a:lnTo>
                <a:lnTo>
                  <a:pt x="1273755" y="1840700"/>
                </a:lnTo>
                <a:lnTo>
                  <a:pt x="1273961" y="1818581"/>
                </a:lnTo>
                <a:lnTo>
                  <a:pt x="1274005" y="1774114"/>
                </a:lnTo>
                <a:lnTo>
                  <a:pt x="1273844" y="1751767"/>
                </a:lnTo>
                <a:lnTo>
                  <a:pt x="1273558" y="1729342"/>
                </a:lnTo>
                <a:lnTo>
                  <a:pt x="1273150" y="1706841"/>
                </a:lnTo>
                <a:lnTo>
                  <a:pt x="1272616" y="1684263"/>
                </a:lnTo>
                <a:lnTo>
                  <a:pt x="1271956" y="1661605"/>
                </a:lnTo>
                <a:lnTo>
                  <a:pt x="1271170" y="1638868"/>
                </a:lnTo>
                <a:lnTo>
                  <a:pt x="1270256" y="1616053"/>
                </a:lnTo>
                <a:lnTo>
                  <a:pt x="1269215" y="1593157"/>
                </a:lnTo>
                <a:lnTo>
                  <a:pt x="1268044" y="1570181"/>
                </a:lnTo>
                <a:lnTo>
                  <a:pt x="1266744" y="1547124"/>
                </a:lnTo>
                <a:lnTo>
                  <a:pt x="1265314" y="1523985"/>
                </a:lnTo>
                <a:lnTo>
                  <a:pt x="1263753" y="1500764"/>
                </a:lnTo>
                <a:lnTo>
                  <a:pt x="1262060" y="1477461"/>
                </a:lnTo>
                <a:lnTo>
                  <a:pt x="1260234" y="1454074"/>
                </a:lnTo>
                <a:lnTo>
                  <a:pt x="1258276" y="1430604"/>
                </a:lnTo>
                <a:lnTo>
                  <a:pt x="1256182" y="1407049"/>
                </a:lnTo>
                <a:lnTo>
                  <a:pt x="1253955" y="1383410"/>
                </a:lnTo>
                <a:lnTo>
                  <a:pt x="1251592" y="1359685"/>
                </a:lnTo>
                <a:lnTo>
                  <a:pt x="1249092" y="1335873"/>
                </a:lnTo>
                <a:lnTo>
                  <a:pt x="1246456" y="1311977"/>
                </a:lnTo>
                <a:lnTo>
                  <a:pt x="1243681" y="1287992"/>
                </a:lnTo>
                <a:lnTo>
                  <a:pt x="1240769" y="1263921"/>
                </a:lnTo>
                <a:lnTo>
                  <a:pt x="1237716" y="1239761"/>
                </a:lnTo>
                <a:lnTo>
                  <a:pt x="1234524" y="1215513"/>
                </a:lnTo>
                <a:lnTo>
                  <a:pt x="1231190" y="1191176"/>
                </a:lnTo>
                <a:lnTo>
                  <a:pt x="1227715" y="1166749"/>
                </a:lnTo>
                <a:lnTo>
                  <a:pt x="1224099" y="1142232"/>
                </a:lnTo>
                <a:lnTo>
                  <a:pt x="1220339" y="1117624"/>
                </a:lnTo>
                <a:lnTo>
                  <a:pt x="1216434" y="1092925"/>
                </a:lnTo>
                <a:lnTo>
                  <a:pt x="1212386" y="1068134"/>
                </a:lnTo>
                <a:lnTo>
                  <a:pt x="1208192" y="1043251"/>
                </a:lnTo>
                <a:lnTo>
                  <a:pt x="1203852" y="1018274"/>
                </a:lnTo>
                <a:lnTo>
                  <a:pt x="1199365" y="993205"/>
                </a:lnTo>
                <a:lnTo>
                  <a:pt x="1194731" y="968042"/>
                </a:lnTo>
                <a:lnTo>
                  <a:pt x="1189948" y="942784"/>
                </a:lnTo>
                <a:lnTo>
                  <a:pt x="1185016" y="917431"/>
                </a:lnTo>
                <a:lnTo>
                  <a:pt x="1179934" y="891982"/>
                </a:lnTo>
                <a:lnTo>
                  <a:pt x="1174701" y="866438"/>
                </a:lnTo>
                <a:lnTo>
                  <a:pt x="1169317" y="840796"/>
                </a:lnTo>
                <a:lnTo>
                  <a:pt x="1163781" y="815058"/>
                </a:lnTo>
                <a:lnTo>
                  <a:pt x="1158092" y="789222"/>
                </a:lnTo>
                <a:lnTo>
                  <a:pt x="1152249" y="763287"/>
                </a:lnTo>
                <a:lnTo>
                  <a:pt x="1146253" y="737255"/>
                </a:lnTo>
                <a:lnTo>
                  <a:pt x="1140101" y="711122"/>
                </a:lnTo>
                <a:lnTo>
                  <a:pt x="1133793" y="684890"/>
                </a:lnTo>
                <a:lnTo>
                  <a:pt x="1127327" y="658557"/>
                </a:lnTo>
                <a:lnTo>
                  <a:pt x="1120705" y="632123"/>
                </a:lnTo>
                <a:lnTo>
                  <a:pt x="1113925" y="605589"/>
                </a:lnTo>
                <a:lnTo>
                  <a:pt x="1106986" y="578951"/>
                </a:lnTo>
                <a:lnTo>
                  <a:pt x="1099887" y="552212"/>
                </a:lnTo>
                <a:lnTo>
                  <a:pt x="1092628" y="525369"/>
                </a:lnTo>
                <a:lnTo>
                  <a:pt x="1085207" y="498423"/>
                </a:lnTo>
                <a:lnTo>
                  <a:pt x="1077624" y="471372"/>
                </a:lnTo>
                <a:lnTo>
                  <a:pt x="1069880" y="444217"/>
                </a:lnTo>
                <a:lnTo>
                  <a:pt x="1061971" y="416957"/>
                </a:lnTo>
                <a:lnTo>
                  <a:pt x="1053898" y="389591"/>
                </a:lnTo>
                <a:lnTo>
                  <a:pt x="1045660" y="362118"/>
                </a:lnTo>
                <a:lnTo>
                  <a:pt x="1037256" y="334538"/>
                </a:lnTo>
                <a:lnTo>
                  <a:pt x="1028686" y="306852"/>
                </a:lnTo>
                <a:lnTo>
                  <a:pt x="1019950" y="279057"/>
                </a:lnTo>
                <a:lnTo>
                  <a:pt x="1011045" y="251154"/>
                </a:lnTo>
                <a:lnTo>
                  <a:pt x="1001971" y="223142"/>
                </a:lnTo>
                <a:lnTo>
                  <a:pt x="992728" y="195020"/>
                </a:lnTo>
                <a:lnTo>
                  <a:pt x="983314" y="166788"/>
                </a:lnTo>
                <a:lnTo>
                  <a:pt x="973730" y="138446"/>
                </a:lnTo>
                <a:lnTo>
                  <a:pt x="963974" y="109992"/>
                </a:lnTo>
                <a:lnTo>
                  <a:pt x="954045" y="81427"/>
                </a:lnTo>
                <a:lnTo>
                  <a:pt x="943943" y="52750"/>
                </a:lnTo>
                <a:lnTo>
                  <a:pt x="933667" y="23959"/>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6" name="Text Placeholder 2">
            <a:extLst>
              <a:ext uri="{FF2B5EF4-FFF2-40B4-BE49-F238E27FC236}">
                <a16:creationId xmlns:a16="http://schemas.microsoft.com/office/drawing/2014/main" id="{472E4862-F26F-4BEA-9FEB-DFE15AA4E10A}"/>
              </a:ext>
            </a:extLst>
          </p:cNvPr>
          <p:cNvSpPr>
            <a:spLocks noGrp="1"/>
          </p:cNvSpPr>
          <p:nvPr>
            <p:ph type="body" sz="quarter" idx="15"/>
          </p:nvPr>
        </p:nvSpPr>
        <p:spPr>
          <a:xfrm>
            <a:off x="432000" y="1416001"/>
            <a:ext cx="3456317"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10" name="Round Diagonal Corner Rectangle 4">
            <a:extLst>
              <a:ext uri="{FF2B5EF4-FFF2-40B4-BE49-F238E27FC236}">
                <a16:creationId xmlns:a16="http://schemas.microsoft.com/office/drawing/2014/main" id="{B1508920-DE1E-4600-ABEC-66488997A7F2}"/>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2" name="Rectangle 11">
            <a:hlinkClick r:id="rId2"/>
            <a:extLst>
              <a:ext uri="{FF2B5EF4-FFF2-40B4-BE49-F238E27FC236}">
                <a16:creationId xmlns:a16="http://schemas.microsoft.com/office/drawing/2014/main" id="{5CCFFF65-EF68-45FF-A126-7B581810B37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8" name="Picture 7">
            <a:extLst>
              <a:ext uri="{FF2B5EF4-FFF2-40B4-BE49-F238E27FC236}">
                <a16:creationId xmlns:a16="http://schemas.microsoft.com/office/drawing/2014/main" id="{A4694E5B-8288-4F85-9F48-AF84A3810CE6}"/>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3" name="Title 2">
            <a:extLst>
              <a:ext uri="{FF2B5EF4-FFF2-40B4-BE49-F238E27FC236}">
                <a16:creationId xmlns:a16="http://schemas.microsoft.com/office/drawing/2014/main" id="{3E108CA2-B250-42BE-9D56-C09CE2724843}"/>
              </a:ext>
            </a:extLst>
          </p:cNvPr>
          <p:cNvSpPr>
            <a:spLocks noGrp="1"/>
          </p:cNvSpPr>
          <p:nvPr>
            <p:ph type="title"/>
          </p:nvPr>
        </p:nvSpPr>
        <p:spPr>
          <a:xfrm>
            <a:off x="431402" y="441140"/>
            <a:ext cx="3456917" cy="393955"/>
          </a:xfrm>
        </p:spPr>
        <p:txBody>
          <a:bodyPr/>
          <a:lstStyle/>
          <a:p>
            <a:r>
              <a:rPr lang="en-US"/>
              <a:t>Click to edit Master title style</a:t>
            </a:r>
            <a:endParaRPr lang="en-GB"/>
          </a:p>
        </p:txBody>
      </p:sp>
    </p:spTree>
    <p:extLst>
      <p:ext uri="{BB962C8B-B14F-4D97-AF65-F5344CB8AC3E}">
        <p14:creationId xmlns:p14="http://schemas.microsoft.com/office/powerpoint/2010/main" val="244750116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Employees">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9885BEA-7C33-EC4C-9B83-76A1B77EB0FB}"/>
              </a:ext>
            </a:extLst>
          </p:cNvPr>
          <p:cNvSpPr>
            <a:spLocks noGrp="1"/>
          </p:cNvSpPr>
          <p:nvPr>
            <p:ph type="title"/>
          </p:nvPr>
        </p:nvSpPr>
        <p:spPr>
          <a:xfrm>
            <a:off x="517629" y="487300"/>
            <a:ext cx="4629406" cy="1369209"/>
          </a:xfrm>
          <a:prstGeom prst="rect">
            <a:avLst/>
          </a:prstGeom>
        </p:spPr>
        <p:txBody>
          <a:bodyPr lIns="0"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1" name="Text Placeholder 10">
            <a:extLst>
              <a:ext uri="{FF2B5EF4-FFF2-40B4-BE49-F238E27FC236}">
                <a16:creationId xmlns:a16="http://schemas.microsoft.com/office/drawing/2014/main" id="{8D9B2882-406D-0A4D-BF70-0A3D2EB58AEE}"/>
              </a:ext>
            </a:extLst>
          </p:cNvPr>
          <p:cNvSpPr>
            <a:spLocks noGrp="1"/>
          </p:cNvSpPr>
          <p:nvPr>
            <p:ph type="body" sz="quarter" idx="11" hasCustomPrompt="1"/>
          </p:nvPr>
        </p:nvSpPr>
        <p:spPr>
          <a:xfrm>
            <a:off x="8469127" y="1238522"/>
            <a:ext cx="2036041" cy="258700"/>
          </a:xfrm>
          <a:prstGeom prst="rect">
            <a:avLst/>
          </a:prstGeom>
        </p:spPr>
        <p:txBody>
          <a:bodyPr lIns="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3" name="Text Placeholder 12">
            <a:extLst>
              <a:ext uri="{FF2B5EF4-FFF2-40B4-BE49-F238E27FC236}">
                <a16:creationId xmlns:a16="http://schemas.microsoft.com/office/drawing/2014/main" id="{98B15EC4-7827-AD44-9BF2-5FF8608DDB43}"/>
              </a:ext>
            </a:extLst>
          </p:cNvPr>
          <p:cNvSpPr>
            <a:spLocks noGrp="1"/>
          </p:cNvSpPr>
          <p:nvPr>
            <p:ph type="body" sz="quarter" idx="12" hasCustomPrompt="1"/>
          </p:nvPr>
        </p:nvSpPr>
        <p:spPr>
          <a:xfrm>
            <a:off x="8469127" y="1411982"/>
            <a:ext cx="2036763" cy="258700"/>
          </a:xfrm>
          <a:prstGeom prst="rect">
            <a:avLst/>
          </a:prstGeom>
        </p:spPr>
        <p:txBody>
          <a:bodyPr lIns="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4" name="Text Placeholder 10">
            <a:extLst>
              <a:ext uri="{FF2B5EF4-FFF2-40B4-BE49-F238E27FC236}">
                <a16:creationId xmlns:a16="http://schemas.microsoft.com/office/drawing/2014/main" id="{25FD1F12-AD2C-7341-8AFB-CDB935BA9898}"/>
              </a:ext>
            </a:extLst>
          </p:cNvPr>
          <p:cNvSpPr>
            <a:spLocks noGrp="1"/>
          </p:cNvSpPr>
          <p:nvPr>
            <p:ph type="body" sz="quarter" idx="13" hasCustomPrompt="1"/>
          </p:nvPr>
        </p:nvSpPr>
        <p:spPr>
          <a:xfrm>
            <a:off x="792272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5" name="Text Placeholder 12">
            <a:extLst>
              <a:ext uri="{FF2B5EF4-FFF2-40B4-BE49-F238E27FC236}">
                <a16:creationId xmlns:a16="http://schemas.microsoft.com/office/drawing/2014/main" id="{DEAA0E9D-C17D-9848-AED5-206761E20B8A}"/>
              </a:ext>
            </a:extLst>
          </p:cNvPr>
          <p:cNvSpPr>
            <a:spLocks noGrp="1"/>
          </p:cNvSpPr>
          <p:nvPr>
            <p:ph type="body" sz="quarter" idx="14" hasCustomPrompt="1"/>
          </p:nvPr>
        </p:nvSpPr>
        <p:spPr>
          <a:xfrm>
            <a:off x="792263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6" name="Text Placeholder 10">
            <a:extLst>
              <a:ext uri="{FF2B5EF4-FFF2-40B4-BE49-F238E27FC236}">
                <a16:creationId xmlns:a16="http://schemas.microsoft.com/office/drawing/2014/main" id="{026F6D38-3BF3-A84D-85B0-AF87285D1F22}"/>
              </a:ext>
            </a:extLst>
          </p:cNvPr>
          <p:cNvSpPr>
            <a:spLocks noGrp="1"/>
          </p:cNvSpPr>
          <p:nvPr>
            <p:ph type="body" sz="quarter" idx="15" hasCustomPrompt="1"/>
          </p:nvPr>
        </p:nvSpPr>
        <p:spPr>
          <a:xfrm>
            <a:off x="6087954"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7" name="Text Placeholder 12">
            <a:extLst>
              <a:ext uri="{FF2B5EF4-FFF2-40B4-BE49-F238E27FC236}">
                <a16:creationId xmlns:a16="http://schemas.microsoft.com/office/drawing/2014/main" id="{DD7A5CEC-EC14-9F40-AF5A-DE0DD70F29B7}"/>
              </a:ext>
            </a:extLst>
          </p:cNvPr>
          <p:cNvSpPr>
            <a:spLocks noGrp="1"/>
          </p:cNvSpPr>
          <p:nvPr>
            <p:ph type="body" sz="quarter" idx="16" hasCustomPrompt="1"/>
          </p:nvPr>
        </p:nvSpPr>
        <p:spPr>
          <a:xfrm>
            <a:off x="6087863"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18" name="Text Placeholder 10">
            <a:extLst>
              <a:ext uri="{FF2B5EF4-FFF2-40B4-BE49-F238E27FC236}">
                <a16:creationId xmlns:a16="http://schemas.microsoft.com/office/drawing/2014/main" id="{8C37767A-9381-684B-AFF3-4BC41ACA71ED}"/>
              </a:ext>
            </a:extLst>
          </p:cNvPr>
          <p:cNvSpPr>
            <a:spLocks noGrp="1"/>
          </p:cNvSpPr>
          <p:nvPr>
            <p:ph type="body" sz="quarter" idx="17" hasCustomPrompt="1"/>
          </p:nvPr>
        </p:nvSpPr>
        <p:spPr>
          <a:xfrm>
            <a:off x="419105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19" name="Text Placeholder 12">
            <a:extLst>
              <a:ext uri="{FF2B5EF4-FFF2-40B4-BE49-F238E27FC236}">
                <a16:creationId xmlns:a16="http://schemas.microsoft.com/office/drawing/2014/main" id="{30568923-57EA-3244-993A-D090E73CAC81}"/>
              </a:ext>
            </a:extLst>
          </p:cNvPr>
          <p:cNvSpPr>
            <a:spLocks noGrp="1"/>
          </p:cNvSpPr>
          <p:nvPr>
            <p:ph type="body" sz="quarter" idx="18" hasCustomPrompt="1"/>
          </p:nvPr>
        </p:nvSpPr>
        <p:spPr>
          <a:xfrm>
            <a:off x="419096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0" name="Text Placeholder 10">
            <a:extLst>
              <a:ext uri="{FF2B5EF4-FFF2-40B4-BE49-F238E27FC236}">
                <a16:creationId xmlns:a16="http://schemas.microsoft.com/office/drawing/2014/main" id="{52684357-8BAC-7C47-887A-37917745E901}"/>
              </a:ext>
            </a:extLst>
          </p:cNvPr>
          <p:cNvSpPr>
            <a:spLocks noGrp="1"/>
          </p:cNvSpPr>
          <p:nvPr>
            <p:ph type="body" sz="quarter" idx="19" hasCustomPrompt="1"/>
          </p:nvPr>
        </p:nvSpPr>
        <p:spPr>
          <a:xfrm>
            <a:off x="2361375"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1" name="Text Placeholder 12">
            <a:extLst>
              <a:ext uri="{FF2B5EF4-FFF2-40B4-BE49-F238E27FC236}">
                <a16:creationId xmlns:a16="http://schemas.microsoft.com/office/drawing/2014/main" id="{FE757602-E883-0C46-83AF-8B1CEC8D9CED}"/>
              </a:ext>
            </a:extLst>
          </p:cNvPr>
          <p:cNvSpPr>
            <a:spLocks noGrp="1"/>
          </p:cNvSpPr>
          <p:nvPr>
            <p:ph type="body" sz="quarter" idx="20" hasCustomPrompt="1"/>
          </p:nvPr>
        </p:nvSpPr>
        <p:spPr>
          <a:xfrm>
            <a:off x="2361284"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2" name="Text Placeholder 10">
            <a:extLst>
              <a:ext uri="{FF2B5EF4-FFF2-40B4-BE49-F238E27FC236}">
                <a16:creationId xmlns:a16="http://schemas.microsoft.com/office/drawing/2014/main" id="{E80E63D6-51AF-9342-84DD-2F397CF5E026}"/>
              </a:ext>
            </a:extLst>
          </p:cNvPr>
          <p:cNvSpPr>
            <a:spLocks noGrp="1"/>
          </p:cNvSpPr>
          <p:nvPr>
            <p:ph type="body" sz="quarter" idx="21" hasCustomPrompt="1"/>
          </p:nvPr>
        </p:nvSpPr>
        <p:spPr>
          <a:xfrm>
            <a:off x="517720"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3" name="Text Placeholder 12">
            <a:extLst>
              <a:ext uri="{FF2B5EF4-FFF2-40B4-BE49-F238E27FC236}">
                <a16:creationId xmlns:a16="http://schemas.microsoft.com/office/drawing/2014/main" id="{800E494D-C690-A141-A71E-A48CBF0A61D1}"/>
              </a:ext>
            </a:extLst>
          </p:cNvPr>
          <p:cNvSpPr>
            <a:spLocks noGrp="1"/>
          </p:cNvSpPr>
          <p:nvPr>
            <p:ph type="body" sz="quarter" idx="22" hasCustomPrompt="1"/>
          </p:nvPr>
        </p:nvSpPr>
        <p:spPr>
          <a:xfrm>
            <a:off x="517629"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4" name="Text Placeholder 10">
            <a:extLst>
              <a:ext uri="{FF2B5EF4-FFF2-40B4-BE49-F238E27FC236}">
                <a16:creationId xmlns:a16="http://schemas.microsoft.com/office/drawing/2014/main" id="{A23863FE-952A-244D-90F7-688D9A0DDD22}"/>
              </a:ext>
            </a:extLst>
          </p:cNvPr>
          <p:cNvSpPr>
            <a:spLocks noGrp="1"/>
          </p:cNvSpPr>
          <p:nvPr>
            <p:ph type="body" sz="quarter" idx="23" hasCustomPrompt="1"/>
          </p:nvPr>
        </p:nvSpPr>
        <p:spPr>
          <a:xfrm>
            <a:off x="792272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5" name="Text Placeholder 12">
            <a:extLst>
              <a:ext uri="{FF2B5EF4-FFF2-40B4-BE49-F238E27FC236}">
                <a16:creationId xmlns:a16="http://schemas.microsoft.com/office/drawing/2014/main" id="{A60A29BA-89A0-BA4C-A5D2-BF6E7D66D826}"/>
              </a:ext>
            </a:extLst>
          </p:cNvPr>
          <p:cNvSpPr>
            <a:spLocks noGrp="1"/>
          </p:cNvSpPr>
          <p:nvPr>
            <p:ph type="body" sz="quarter" idx="24" hasCustomPrompt="1"/>
          </p:nvPr>
        </p:nvSpPr>
        <p:spPr>
          <a:xfrm>
            <a:off x="792263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6" name="Text Placeholder 10">
            <a:extLst>
              <a:ext uri="{FF2B5EF4-FFF2-40B4-BE49-F238E27FC236}">
                <a16:creationId xmlns:a16="http://schemas.microsoft.com/office/drawing/2014/main" id="{89898E1A-7B68-F04E-8DF9-7DF4AC3F2022}"/>
              </a:ext>
            </a:extLst>
          </p:cNvPr>
          <p:cNvSpPr>
            <a:spLocks noGrp="1"/>
          </p:cNvSpPr>
          <p:nvPr>
            <p:ph type="body" sz="quarter" idx="25" hasCustomPrompt="1"/>
          </p:nvPr>
        </p:nvSpPr>
        <p:spPr>
          <a:xfrm>
            <a:off x="6087954"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7" name="Text Placeholder 12">
            <a:extLst>
              <a:ext uri="{FF2B5EF4-FFF2-40B4-BE49-F238E27FC236}">
                <a16:creationId xmlns:a16="http://schemas.microsoft.com/office/drawing/2014/main" id="{FE65C65B-35EF-AF42-937E-CB58BD9F5DC3}"/>
              </a:ext>
            </a:extLst>
          </p:cNvPr>
          <p:cNvSpPr>
            <a:spLocks noGrp="1"/>
          </p:cNvSpPr>
          <p:nvPr>
            <p:ph type="body" sz="quarter" idx="26" hasCustomPrompt="1"/>
          </p:nvPr>
        </p:nvSpPr>
        <p:spPr>
          <a:xfrm>
            <a:off x="6087863"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28" name="Text Placeholder 10">
            <a:extLst>
              <a:ext uri="{FF2B5EF4-FFF2-40B4-BE49-F238E27FC236}">
                <a16:creationId xmlns:a16="http://schemas.microsoft.com/office/drawing/2014/main" id="{E8818411-28B7-E348-8FC0-16EA9B5CD6E8}"/>
              </a:ext>
            </a:extLst>
          </p:cNvPr>
          <p:cNvSpPr>
            <a:spLocks noGrp="1"/>
          </p:cNvSpPr>
          <p:nvPr>
            <p:ph type="body" sz="quarter" idx="27" hasCustomPrompt="1"/>
          </p:nvPr>
        </p:nvSpPr>
        <p:spPr>
          <a:xfrm>
            <a:off x="419105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29" name="Text Placeholder 12">
            <a:extLst>
              <a:ext uri="{FF2B5EF4-FFF2-40B4-BE49-F238E27FC236}">
                <a16:creationId xmlns:a16="http://schemas.microsoft.com/office/drawing/2014/main" id="{1D298B64-DB9D-7D4F-85F5-13A6775E23B2}"/>
              </a:ext>
            </a:extLst>
          </p:cNvPr>
          <p:cNvSpPr>
            <a:spLocks noGrp="1"/>
          </p:cNvSpPr>
          <p:nvPr>
            <p:ph type="body" sz="quarter" idx="28" hasCustomPrompt="1"/>
          </p:nvPr>
        </p:nvSpPr>
        <p:spPr>
          <a:xfrm>
            <a:off x="419096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0" name="Text Placeholder 10">
            <a:extLst>
              <a:ext uri="{FF2B5EF4-FFF2-40B4-BE49-F238E27FC236}">
                <a16:creationId xmlns:a16="http://schemas.microsoft.com/office/drawing/2014/main" id="{CA7EE175-F504-A241-BB9E-4B63D9421241}"/>
              </a:ext>
            </a:extLst>
          </p:cNvPr>
          <p:cNvSpPr>
            <a:spLocks noGrp="1"/>
          </p:cNvSpPr>
          <p:nvPr>
            <p:ph type="body" sz="quarter" idx="29" hasCustomPrompt="1"/>
          </p:nvPr>
        </p:nvSpPr>
        <p:spPr>
          <a:xfrm>
            <a:off x="2361375"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31" name="Text Placeholder 12">
            <a:extLst>
              <a:ext uri="{FF2B5EF4-FFF2-40B4-BE49-F238E27FC236}">
                <a16:creationId xmlns:a16="http://schemas.microsoft.com/office/drawing/2014/main" id="{33A5E4BB-C47B-5146-8E48-1E9A4ED09F28}"/>
              </a:ext>
            </a:extLst>
          </p:cNvPr>
          <p:cNvSpPr>
            <a:spLocks noGrp="1"/>
          </p:cNvSpPr>
          <p:nvPr>
            <p:ph type="body" sz="quarter" idx="30" hasCustomPrompt="1"/>
          </p:nvPr>
        </p:nvSpPr>
        <p:spPr>
          <a:xfrm>
            <a:off x="2361284"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2" name="Text Placeholder 10">
            <a:extLst>
              <a:ext uri="{FF2B5EF4-FFF2-40B4-BE49-F238E27FC236}">
                <a16:creationId xmlns:a16="http://schemas.microsoft.com/office/drawing/2014/main" id="{CDFCD2CC-774B-7C45-B5EF-4845C476F627}"/>
              </a:ext>
            </a:extLst>
          </p:cNvPr>
          <p:cNvSpPr>
            <a:spLocks noGrp="1"/>
          </p:cNvSpPr>
          <p:nvPr>
            <p:ph type="body" sz="quarter" idx="31" hasCustomPrompt="1"/>
          </p:nvPr>
        </p:nvSpPr>
        <p:spPr>
          <a:xfrm>
            <a:off x="517720"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33" name="Text Placeholder 12">
            <a:extLst>
              <a:ext uri="{FF2B5EF4-FFF2-40B4-BE49-F238E27FC236}">
                <a16:creationId xmlns:a16="http://schemas.microsoft.com/office/drawing/2014/main" id="{54099D0C-11DE-564E-87CD-3D7CA122E369}"/>
              </a:ext>
            </a:extLst>
          </p:cNvPr>
          <p:cNvSpPr>
            <a:spLocks noGrp="1"/>
          </p:cNvSpPr>
          <p:nvPr>
            <p:ph type="body" sz="quarter" idx="32" hasCustomPrompt="1"/>
          </p:nvPr>
        </p:nvSpPr>
        <p:spPr>
          <a:xfrm>
            <a:off x="517629"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3" name="Picture Placeholder 2">
            <a:extLst>
              <a:ext uri="{FF2B5EF4-FFF2-40B4-BE49-F238E27FC236}">
                <a16:creationId xmlns:a16="http://schemas.microsoft.com/office/drawing/2014/main" id="{98E5176D-C25B-0B4F-9953-18721D7311C3}"/>
              </a:ext>
            </a:extLst>
          </p:cNvPr>
          <p:cNvSpPr>
            <a:spLocks noGrp="1"/>
          </p:cNvSpPr>
          <p:nvPr>
            <p:ph type="pic" sz="quarter" idx="33"/>
          </p:nvPr>
        </p:nvSpPr>
        <p:spPr>
          <a:xfrm>
            <a:off x="518540" y="2012178"/>
            <a:ext cx="1643869" cy="1058862"/>
          </a:xfrm>
          <a:prstGeom prst="rect">
            <a:avLst/>
          </a:prstGeom>
          <a:noFill/>
        </p:spPr>
        <p:txBody>
          <a:bodyPr/>
          <a:lstStyle/>
          <a:p>
            <a:endParaRPr lang="en-US" dirty="0"/>
          </a:p>
        </p:txBody>
      </p:sp>
      <p:sp>
        <p:nvSpPr>
          <p:cNvPr id="34" name="Picture Placeholder 2">
            <a:extLst>
              <a:ext uri="{FF2B5EF4-FFF2-40B4-BE49-F238E27FC236}">
                <a16:creationId xmlns:a16="http://schemas.microsoft.com/office/drawing/2014/main" id="{3034D6EA-24FA-B44E-B175-A69466B69136}"/>
              </a:ext>
            </a:extLst>
          </p:cNvPr>
          <p:cNvSpPr>
            <a:spLocks noGrp="1"/>
          </p:cNvSpPr>
          <p:nvPr>
            <p:ph type="pic" sz="quarter" idx="34"/>
          </p:nvPr>
        </p:nvSpPr>
        <p:spPr>
          <a:xfrm>
            <a:off x="2361401" y="2012178"/>
            <a:ext cx="1643869" cy="1058862"/>
          </a:xfrm>
          <a:prstGeom prst="rect">
            <a:avLst/>
          </a:prstGeom>
        </p:spPr>
        <p:txBody>
          <a:bodyPr/>
          <a:lstStyle/>
          <a:p>
            <a:endParaRPr lang="en-US" dirty="0"/>
          </a:p>
        </p:txBody>
      </p:sp>
      <p:sp>
        <p:nvSpPr>
          <p:cNvPr id="35" name="Picture Placeholder 2">
            <a:extLst>
              <a:ext uri="{FF2B5EF4-FFF2-40B4-BE49-F238E27FC236}">
                <a16:creationId xmlns:a16="http://schemas.microsoft.com/office/drawing/2014/main" id="{F6C71354-D9C6-0944-A6F7-99F3174B5B91}"/>
              </a:ext>
            </a:extLst>
          </p:cNvPr>
          <p:cNvSpPr>
            <a:spLocks noGrp="1"/>
          </p:cNvSpPr>
          <p:nvPr>
            <p:ph type="pic" sz="quarter" idx="35"/>
          </p:nvPr>
        </p:nvSpPr>
        <p:spPr>
          <a:xfrm>
            <a:off x="4197453" y="2012178"/>
            <a:ext cx="1643869" cy="1058862"/>
          </a:xfrm>
          <a:prstGeom prst="rect">
            <a:avLst/>
          </a:prstGeom>
        </p:spPr>
        <p:txBody>
          <a:bodyPr/>
          <a:lstStyle/>
          <a:p>
            <a:endParaRPr lang="en-US" dirty="0"/>
          </a:p>
        </p:txBody>
      </p:sp>
      <p:sp>
        <p:nvSpPr>
          <p:cNvPr id="36" name="Picture Placeholder 2">
            <a:extLst>
              <a:ext uri="{FF2B5EF4-FFF2-40B4-BE49-F238E27FC236}">
                <a16:creationId xmlns:a16="http://schemas.microsoft.com/office/drawing/2014/main" id="{44E7A985-A721-C642-8A01-B43F591F76EE}"/>
              </a:ext>
            </a:extLst>
          </p:cNvPr>
          <p:cNvSpPr>
            <a:spLocks noGrp="1"/>
          </p:cNvSpPr>
          <p:nvPr>
            <p:ph type="pic" sz="quarter" idx="36"/>
          </p:nvPr>
        </p:nvSpPr>
        <p:spPr>
          <a:xfrm>
            <a:off x="6085092" y="2012178"/>
            <a:ext cx="1643869" cy="1058862"/>
          </a:xfrm>
          <a:prstGeom prst="rect">
            <a:avLst/>
          </a:prstGeom>
        </p:spPr>
        <p:txBody>
          <a:bodyPr/>
          <a:lstStyle/>
          <a:p>
            <a:endParaRPr lang="en-US" dirty="0"/>
          </a:p>
        </p:txBody>
      </p:sp>
      <p:sp>
        <p:nvSpPr>
          <p:cNvPr id="37" name="Picture Placeholder 2">
            <a:extLst>
              <a:ext uri="{FF2B5EF4-FFF2-40B4-BE49-F238E27FC236}">
                <a16:creationId xmlns:a16="http://schemas.microsoft.com/office/drawing/2014/main" id="{5FA04993-DD2D-FE4F-9418-231283FBC620}"/>
              </a:ext>
            </a:extLst>
          </p:cNvPr>
          <p:cNvSpPr>
            <a:spLocks noGrp="1"/>
          </p:cNvSpPr>
          <p:nvPr>
            <p:ph type="pic" sz="quarter" idx="37"/>
          </p:nvPr>
        </p:nvSpPr>
        <p:spPr>
          <a:xfrm>
            <a:off x="7927464" y="2012178"/>
            <a:ext cx="1643869" cy="1058862"/>
          </a:xfrm>
          <a:prstGeom prst="rect">
            <a:avLst/>
          </a:prstGeom>
        </p:spPr>
        <p:txBody>
          <a:bodyPr/>
          <a:lstStyle/>
          <a:p>
            <a:endParaRPr lang="en-US" dirty="0"/>
          </a:p>
        </p:txBody>
      </p:sp>
      <p:sp>
        <p:nvSpPr>
          <p:cNvPr id="38" name="Picture Placeholder 2">
            <a:extLst>
              <a:ext uri="{FF2B5EF4-FFF2-40B4-BE49-F238E27FC236}">
                <a16:creationId xmlns:a16="http://schemas.microsoft.com/office/drawing/2014/main" id="{F831207F-DC8C-AA47-AFC2-667CF2F429E4}"/>
              </a:ext>
            </a:extLst>
          </p:cNvPr>
          <p:cNvSpPr>
            <a:spLocks noGrp="1"/>
          </p:cNvSpPr>
          <p:nvPr>
            <p:ph type="pic" sz="quarter" idx="38"/>
          </p:nvPr>
        </p:nvSpPr>
        <p:spPr>
          <a:xfrm>
            <a:off x="518540" y="3942630"/>
            <a:ext cx="1643869" cy="1058862"/>
          </a:xfrm>
          <a:prstGeom prst="rect">
            <a:avLst/>
          </a:prstGeom>
        </p:spPr>
        <p:txBody>
          <a:bodyPr/>
          <a:lstStyle/>
          <a:p>
            <a:endParaRPr lang="en-US" dirty="0"/>
          </a:p>
        </p:txBody>
      </p:sp>
      <p:sp>
        <p:nvSpPr>
          <p:cNvPr id="39" name="Picture Placeholder 2">
            <a:extLst>
              <a:ext uri="{FF2B5EF4-FFF2-40B4-BE49-F238E27FC236}">
                <a16:creationId xmlns:a16="http://schemas.microsoft.com/office/drawing/2014/main" id="{A2F6536A-9693-E841-AD61-8C359448084F}"/>
              </a:ext>
            </a:extLst>
          </p:cNvPr>
          <p:cNvSpPr>
            <a:spLocks noGrp="1"/>
          </p:cNvSpPr>
          <p:nvPr>
            <p:ph type="pic" sz="quarter" idx="39"/>
          </p:nvPr>
        </p:nvSpPr>
        <p:spPr>
          <a:xfrm>
            <a:off x="2361401" y="3942630"/>
            <a:ext cx="1643869" cy="1058862"/>
          </a:xfrm>
          <a:prstGeom prst="rect">
            <a:avLst/>
          </a:prstGeom>
        </p:spPr>
        <p:txBody>
          <a:bodyPr/>
          <a:lstStyle/>
          <a:p>
            <a:endParaRPr lang="en-US" dirty="0"/>
          </a:p>
        </p:txBody>
      </p:sp>
      <p:sp>
        <p:nvSpPr>
          <p:cNvPr id="40" name="Picture Placeholder 2">
            <a:extLst>
              <a:ext uri="{FF2B5EF4-FFF2-40B4-BE49-F238E27FC236}">
                <a16:creationId xmlns:a16="http://schemas.microsoft.com/office/drawing/2014/main" id="{28EFB759-7961-0F4B-9DA2-9B07D82B3B79}"/>
              </a:ext>
            </a:extLst>
          </p:cNvPr>
          <p:cNvSpPr>
            <a:spLocks noGrp="1"/>
          </p:cNvSpPr>
          <p:nvPr>
            <p:ph type="pic" sz="quarter" idx="40"/>
          </p:nvPr>
        </p:nvSpPr>
        <p:spPr>
          <a:xfrm>
            <a:off x="4197453" y="3942630"/>
            <a:ext cx="1643869" cy="1058862"/>
          </a:xfrm>
          <a:prstGeom prst="rect">
            <a:avLst/>
          </a:prstGeom>
        </p:spPr>
        <p:txBody>
          <a:bodyPr/>
          <a:lstStyle/>
          <a:p>
            <a:endParaRPr lang="en-US" dirty="0"/>
          </a:p>
        </p:txBody>
      </p:sp>
      <p:sp>
        <p:nvSpPr>
          <p:cNvPr id="41" name="Picture Placeholder 2">
            <a:extLst>
              <a:ext uri="{FF2B5EF4-FFF2-40B4-BE49-F238E27FC236}">
                <a16:creationId xmlns:a16="http://schemas.microsoft.com/office/drawing/2014/main" id="{F10325A2-6AE5-2B40-BA16-62A41FF09948}"/>
              </a:ext>
            </a:extLst>
          </p:cNvPr>
          <p:cNvSpPr>
            <a:spLocks noGrp="1"/>
          </p:cNvSpPr>
          <p:nvPr>
            <p:ph type="pic" sz="quarter" idx="41"/>
          </p:nvPr>
        </p:nvSpPr>
        <p:spPr>
          <a:xfrm>
            <a:off x="6085092" y="3942630"/>
            <a:ext cx="1643869" cy="1058862"/>
          </a:xfrm>
          <a:prstGeom prst="rect">
            <a:avLst/>
          </a:prstGeom>
        </p:spPr>
        <p:txBody>
          <a:bodyPr/>
          <a:lstStyle/>
          <a:p>
            <a:endParaRPr lang="en-US" dirty="0"/>
          </a:p>
        </p:txBody>
      </p:sp>
      <p:sp>
        <p:nvSpPr>
          <p:cNvPr id="42" name="Picture Placeholder 2">
            <a:extLst>
              <a:ext uri="{FF2B5EF4-FFF2-40B4-BE49-F238E27FC236}">
                <a16:creationId xmlns:a16="http://schemas.microsoft.com/office/drawing/2014/main" id="{48548331-C398-0441-8680-2BC2E34EA6B7}"/>
              </a:ext>
            </a:extLst>
          </p:cNvPr>
          <p:cNvSpPr>
            <a:spLocks noGrp="1"/>
          </p:cNvSpPr>
          <p:nvPr>
            <p:ph type="pic" sz="quarter" idx="42"/>
          </p:nvPr>
        </p:nvSpPr>
        <p:spPr>
          <a:xfrm>
            <a:off x="7927464" y="3942630"/>
            <a:ext cx="1643869" cy="1058862"/>
          </a:xfrm>
          <a:prstGeom prst="rect">
            <a:avLst/>
          </a:prstGeom>
        </p:spPr>
        <p:txBody>
          <a:bodyPr/>
          <a:lstStyle/>
          <a:p>
            <a:endParaRPr lang="en-US" dirty="0"/>
          </a:p>
        </p:txBody>
      </p:sp>
      <p:sp>
        <p:nvSpPr>
          <p:cNvPr id="43" name="Picture Placeholder 2">
            <a:extLst>
              <a:ext uri="{FF2B5EF4-FFF2-40B4-BE49-F238E27FC236}">
                <a16:creationId xmlns:a16="http://schemas.microsoft.com/office/drawing/2014/main" id="{DD52C364-564D-1C4F-82AA-CD456091DD55}"/>
              </a:ext>
            </a:extLst>
          </p:cNvPr>
          <p:cNvSpPr>
            <a:spLocks noGrp="1"/>
          </p:cNvSpPr>
          <p:nvPr>
            <p:ph type="pic" sz="quarter" idx="43"/>
          </p:nvPr>
        </p:nvSpPr>
        <p:spPr>
          <a:xfrm>
            <a:off x="6632170" y="611157"/>
            <a:ext cx="1643869" cy="1058862"/>
          </a:xfrm>
          <a:prstGeom prst="rect">
            <a:avLst/>
          </a:prstGeom>
        </p:spPr>
        <p:txBody>
          <a:bodyPr/>
          <a:lstStyle/>
          <a:p>
            <a:endParaRPr lang="en-US" dirty="0"/>
          </a:p>
        </p:txBody>
      </p:sp>
      <p:sp>
        <p:nvSpPr>
          <p:cNvPr id="44" name="Text Placeholder 10">
            <a:extLst>
              <a:ext uri="{FF2B5EF4-FFF2-40B4-BE49-F238E27FC236}">
                <a16:creationId xmlns:a16="http://schemas.microsoft.com/office/drawing/2014/main" id="{34A5EC81-F5AA-BD4F-AD20-F610E3D2A6A9}"/>
              </a:ext>
            </a:extLst>
          </p:cNvPr>
          <p:cNvSpPr>
            <a:spLocks noGrp="1"/>
          </p:cNvSpPr>
          <p:nvPr>
            <p:ph type="body" sz="quarter" idx="44" hasCustomPrompt="1"/>
          </p:nvPr>
        </p:nvSpPr>
        <p:spPr>
          <a:xfrm>
            <a:off x="9759476" y="3185414"/>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45" name="Text Placeholder 12">
            <a:extLst>
              <a:ext uri="{FF2B5EF4-FFF2-40B4-BE49-F238E27FC236}">
                <a16:creationId xmlns:a16="http://schemas.microsoft.com/office/drawing/2014/main" id="{F8D452BD-BCAB-8E4B-8F90-5D25276410E3}"/>
              </a:ext>
            </a:extLst>
          </p:cNvPr>
          <p:cNvSpPr>
            <a:spLocks noGrp="1"/>
          </p:cNvSpPr>
          <p:nvPr>
            <p:ph type="body" sz="quarter" idx="45" hasCustomPrompt="1"/>
          </p:nvPr>
        </p:nvSpPr>
        <p:spPr>
          <a:xfrm>
            <a:off x="9759385" y="3358874"/>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46" name="Text Placeholder 10">
            <a:extLst>
              <a:ext uri="{FF2B5EF4-FFF2-40B4-BE49-F238E27FC236}">
                <a16:creationId xmlns:a16="http://schemas.microsoft.com/office/drawing/2014/main" id="{3C461A69-4097-4449-90FF-4E186AE70D69}"/>
              </a:ext>
            </a:extLst>
          </p:cNvPr>
          <p:cNvSpPr>
            <a:spLocks noGrp="1"/>
          </p:cNvSpPr>
          <p:nvPr>
            <p:ph type="body" sz="quarter" idx="46" hasCustomPrompt="1"/>
          </p:nvPr>
        </p:nvSpPr>
        <p:spPr>
          <a:xfrm>
            <a:off x="9759476" y="5115866"/>
            <a:ext cx="1644569" cy="258700"/>
          </a:xfrm>
          <a:prstGeom prst="rect">
            <a:avLst/>
          </a:prstGeom>
        </p:spPr>
        <p:txBody>
          <a:bodyPr lIns="0" rIns="90000"/>
          <a:lstStyle>
            <a:lvl1pPr marL="0" indent="0">
              <a:buNone/>
              <a:defRPr sz="1200" b="1" i="1">
                <a:solidFill>
                  <a:srgbClr val="E75400"/>
                </a:solidFill>
                <a:latin typeface="Helvetica Neue LT Std 77 Bold C" panose="020B0604020202020204" pitchFamily="34" charset="0"/>
              </a:defRPr>
            </a:lvl1pPr>
            <a:lvl2pPr marL="457189" indent="0">
              <a:buNone/>
              <a:defRPr b="1" i="1">
                <a:solidFill>
                  <a:srgbClr val="C85412"/>
                </a:solidFill>
                <a:latin typeface="Helvetica Neue LT Std 77 Bold C" panose="020B0604020202020204" pitchFamily="34" charset="0"/>
              </a:defRPr>
            </a:lvl2pPr>
            <a:lvl3pPr>
              <a:defRPr b="1" i="1">
                <a:solidFill>
                  <a:srgbClr val="C85412"/>
                </a:solidFill>
                <a:latin typeface="Helvetica Neue LT Std 77 Bold C" panose="020B0604020202020204" pitchFamily="34" charset="0"/>
              </a:defRPr>
            </a:lvl3pPr>
            <a:lvl4pPr>
              <a:defRPr b="1" i="1">
                <a:solidFill>
                  <a:srgbClr val="C85412"/>
                </a:solidFill>
                <a:latin typeface="Helvetica Neue LT Std 77 Bold C" panose="020B0604020202020204" pitchFamily="34" charset="0"/>
              </a:defRPr>
            </a:lvl4pPr>
            <a:lvl5pPr>
              <a:defRPr b="1" i="1">
                <a:solidFill>
                  <a:srgbClr val="C85412"/>
                </a:solidFill>
                <a:latin typeface="Helvetica Neue LT Std 77 Bold C" panose="020B0604020202020204" pitchFamily="34" charset="0"/>
              </a:defRPr>
            </a:lvl5pPr>
          </a:lstStyle>
          <a:p>
            <a:pPr lvl="0"/>
            <a:r>
              <a:rPr lang="en-GB" dirty="0"/>
              <a:t>Name Surname</a:t>
            </a:r>
          </a:p>
        </p:txBody>
      </p:sp>
      <p:sp>
        <p:nvSpPr>
          <p:cNvPr id="47" name="Text Placeholder 12">
            <a:extLst>
              <a:ext uri="{FF2B5EF4-FFF2-40B4-BE49-F238E27FC236}">
                <a16:creationId xmlns:a16="http://schemas.microsoft.com/office/drawing/2014/main" id="{8CF0C9D9-5593-DE4A-8CDE-70AC8BAEB3F3}"/>
              </a:ext>
            </a:extLst>
          </p:cNvPr>
          <p:cNvSpPr>
            <a:spLocks noGrp="1"/>
          </p:cNvSpPr>
          <p:nvPr>
            <p:ph type="body" sz="quarter" idx="47" hasCustomPrompt="1"/>
          </p:nvPr>
        </p:nvSpPr>
        <p:spPr>
          <a:xfrm>
            <a:off x="9759385" y="5289326"/>
            <a:ext cx="1645152" cy="258700"/>
          </a:xfrm>
          <a:prstGeom prst="rect">
            <a:avLst/>
          </a:prstGeom>
        </p:spPr>
        <p:txBody>
          <a:bodyPr lIns="0" rIns="90000"/>
          <a:lstStyle>
            <a:lvl1pPr marL="0" indent="0">
              <a:buNone/>
              <a:defRPr sz="900" b="0" i="0">
                <a:solidFill>
                  <a:schemeClr val="tx1">
                    <a:lumMod val="65000"/>
                    <a:lumOff val="35000"/>
                  </a:schemeClr>
                </a:solidFill>
                <a:latin typeface="Helvetica Neue LT Std 45 Light" panose="020B0403020202020204" pitchFamily="34" charset="0"/>
              </a:defRPr>
            </a:lvl1pPr>
            <a:lvl2pPr marL="457189" indent="0">
              <a:buNone/>
              <a:defRPr sz="1200" b="0" i="0">
                <a:solidFill>
                  <a:srgbClr val="20201E"/>
                </a:solidFill>
                <a:latin typeface="Helvetica Neue LT Std 45 Light" panose="020B0403020202020204" pitchFamily="34" charset="0"/>
              </a:defRPr>
            </a:lvl2pPr>
            <a:lvl3pPr marL="914377" indent="0">
              <a:buNone/>
              <a:defRPr sz="1200" b="0" i="0">
                <a:solidFill>
                  <a:srgbClr val="20201E"/>
                </a:solidFill>
                <a:latin typeface="Helvetica Neue LT Std 45 Light" panose="020B0403020202020204" pitchFamily="34" charset="0"/>
              </a:defRPr>
            </a:lvl3pPr>
            <a:lvl4pPr marL="1371566" indent="0">
              <a:buNone/>
              <a:defRPr sz="1200" b="0" i="0">
                <a:solidFill>
                  <a:srgbClr val="20201E"/>
                </a:solidFill>
                <a:latin typeface="Helvetica Neue LT Std 45 Light" panose="020B0403020202020204" pitchFamily="34" charset="0"/>
              </a:defRPr>
            </a:lvl4pPr>
            <a:lvl5pPr marL="1828755" indent="0">
              <a:buNone/>
              <a:defRPr sz="1200" b="0" i="0">
                <a:solidFill>
                  <a:srgbClr val="20201E"/>
                </a:solidFill>
                <a:latin typeface="Helvetica Neue LT Std 45 Light" panose="020B0403020202020204" pitchFamily="34" charset="0"/>
              </a:defRPr>
            </a:lvl5pPr>
          </a:lstStyle>
          <a:p>
            <a:pPr lvl="0"/>
            <a:r>
              <a:rPr lang="en-GB" dirty="0"/>
              <a:t>Job title</a:t>
            </a:r>
            <a:endParaRPr lang="en-US" dirty="0"/>
          </a:p>
        </p:txBody>
      </p:sp>
      <p:sp>
        <p:nvSpPr>
          <p:cNvPr id="48" name="Picture Placeholder 2">
            <a:extLst>
              <a:ext uri="{FF2B5EF4-FFF2-40B4-BE49-F238E27FC236}">
                <a16:creationId xmlns:a16="http://schemas.microsoft.com/office/drawing/2014/main" id="{130CC36B-383B-694A-B2BC-DC26B0643A4B}"/>
              </a:ext>
            </a:extLst>
          </p:cNvPr>
          <p:cNvSpPr>
            <a:spLocks noGrp="1"/>
          </p:cNvSpPr>
          <p:nvPr>
            <p:ph type="pic" sz="quarter" idx="48"/>
          </p:nvPr>
        </p:nvSpPr>
        <p:spPr>
          <a:xfrm>
            <a:off x="9764216" y="2012178"/>
            <a:ext cx="1643869" cy="1058862"/>
          </a:xfrm>
          <a:prstGeom prst="rect">
            <a:avLst/>
          </a:prstGeom>
        </p:spPr>
        <p:txBody>
          <a:bodyPr/>
          <a:lstStyle/>
          <a:p>
            <a:endParaRPr lang="en-US" dirty="0"/>
          </a:p>
        </p:txBody>
      </p:sp>
      <p:sp>
        <p:nvSpPr>
          <p:cNvPr id="49" name="Picture Placeholder 2">
            <a:extLst>
              <a:ext uri="{FF2B5EF4-FFF2-40B4-BE49-F238E27FC236}">
                <a16:creationId xmlns:a16="http://schemas.microsoft.com/office/drawing/2014/main" id="{426D85E2-E3EC-D747-8E19-BC2E5FD68A65}"/>
              </a:ext>
            </a:extLst>
          </p:cNvPr>
          <p:cNvSpPr>
            <a:spLocks noGrp="1"/>
          </p:cNvSpPr>
          <p:nvPr>
            <p:ph type="pic" sz="quarter" idx="49"/>
          </p:nvPr>
        </p:nvSpPr>
        <p:spPr>
          <a:xfrm>
            <a:off x="9764216" y="3942630"/>
            <a:ext cx="1643869" cy="1058862"/>
          </a:xfrm>
          <a:prstGeom prst="rect">
            <a:avLst/>
          </a:prstGeom>
        </p:spPr>
        <p:txBody>
          <a:bodyPr/>
          <a:lstStyle/>
          <a:p>
            <a:endParaRPr lang="en-US" dirty="0"/>
          </a:p>
        </p:txBody>
      </p:sp>
      <p:pic>
        <p:nvPicPr>
          <p:cNvPr id="50" name="Picture 49">
            <a:extLst>
              <a:ext uri="{FF2B5EF4-FFF2-40B4-BE49-F238E27FC236}">
                <a16:creationId xmlns:a16="http://schemas.microsoft.com/office/drawing/2014/main" id="{4FAF91A6-FFE3-3C47-BB4D-3B6CAF6F3511}"/>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4083552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ey mess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576D51F-52D4-4DC0-8A7D-6D12557F5F23}"/>
              </a:ext>
            </a:extLst>
          </p:cNvPr>
          <p:cNvSpPr>
            <a:spLocks noGrp="1"/>
          </p:cNvSpPr>
          <p:nvPr>
            <p:ph type="pic" sz="quarter" idx="16" hasCustomPrompt="1"/>
          </p:nvPr>
        </p:nvSpPr>
        <p:spPr>
          <a:xfrm>
            <a:off x="-8119" y="0"/>
            <a:ext cx="9480900" cy="6857037"/>
          </a:xfrm>
          <a:custGeom>
            <a:avLst/>
            <a:gdLst>
              <a:gd name="connsiteX0" fmla="*/ 0 w 15633609"/>
              <a:gd name="connsiteY0" fmla="*/ 0 h 11307763"/>
              <a:gd name="connsiteX1" fmla="*/ 13600449 w 15633609"/>
              <a:gd name="connsiteY1" fmla="*/ 0 h 11307763"/>
              <a:gd name="connsiteX2" fmla="*/ 13581182 w 15633609"/>
              <a:gd name="connsiteY2" fmla="*/ 53290 h 11307763"/>
              <a:gd name="connsiteX3" fmla="*/ 13558589 w 15633609"/>
              <a:gd name="connsiteY3" fmla="*/ 116593 h 11307763"/>
              <a:gd name="connsiteX4" fmla="*/ 13536379 w 15633609"/>
              <a:gd name="connsiteY4" fmla="*/ 179648 h 11307763"/>
              <a:gd name="connsiteX5" fmla="*/ 13514550 w 15633609"/>
              <a:gd name="connsiteY5" fmla="*/ 242456 h 11307763"/>
              <a:gd name="connsiteX6" fmla="*/ 13493100 w 15633609"/>
              <a:gd name="connsiteY6" fmla="*/ 305018 h 11307763"/>
              <a:gd name="connsiteX7" fmla="*/ 13472027 w 15633609"/>
              <a:gd name="connsiteY7" fmla="*/ 367337 h 11307763"/>
              <a:gd name="connsiteX8" fmla="*/ 13451330 w 15633609"/>
              <a:gd name="connsiteY8" fmla="*/ 429411 h 11307763"/>
              <a:gd name="connsiteX9" fmla="*/ 13431008 w 15633609"/>
              <a:gd name="connsiteY9" fmla="*/ 491244 h 11307763"/>
              <a:gd name="connsiteX10" fmla="*/ 13411058 w 15633609"/>
              <a:gd name="connsiteY10" fmla="*/ 552836 h 11307763"/>
              <a:gd name="connsiteX11" fmla="*/ 13391480 w 15633609"/>
              <a:gd name="connsiteY11" fmla="*/ 614189 h 11307763"/>
              <a:gd name="connsiteX12" fmla="*/ 13372270 w 15633609"/>
              <a:gd name="connsiteY12" fmla="*/ 675303 h 11307763"/>
              <a:gd name="connsiteX13" fmla="*/ 13353428 w 15633609"/>
              <a:gd name="connsiteY13" fmla="*/ 736179 h 11307763"/>
              <a:gd name="connsiteX14" fmla="*/ 13334952 w 15633609"/>
              <a:gd name="connsiteY14" fmla="*/ 796820 h 11307763"/>
              <a:gd name="connsiteX15" fmla="*/ 13316841 w 15633609"/>
              <a:gd name="connsiteY15" fmla="*/ 857225 h 11307763"/>
              <a:gd name="connsiteX16" fmla="*/ 13299092 w 15633609"/>
              <a:gd name="connsiteY16" fmla="*/ 917397 h 11307763"/>
              <a:gd name="connsiteX17" fmla="*/ 13281704 w 15633609"/>
              <a:gd name="connsiteY17" fmla="*/ 977336 h 11307763"/>
              <a:gd name="connsiteX18" fmla="*/ 13264675 w 15633609"/>
              <a:gd name="connsiteY18" fmla="*/ 1037044 h 11307763"/>
              <a:gd name="connsiteX19" fmla="*/ 13248005 w 15633609"/>
              <a:gd name="connsiteY19" fmla="*/ 1096522 h 11307763"/>
              <a:gd name="connsiteX20" fmla="*/ 13231690 w 15633609"/>
              <a:gd name="connsiteY20" fmla="*/ 1155770 h 11307763"/>
              <a:gd name="connsiteX21" fmla="*/ 13215729 w 15633609"/>
              <a:gd name="connsiteY21" fmla="*/ 1214791 h 11307763"/>
              <a:gd name="connsiteX22" fmla="*/ 13200122 w 15633609"/>
              <a:gd name="connsiteY22" fmla="*/ 1273585 h 11307763"/>
              <a:gd name="connsiteX23" fmla="*/ 13184865 w 15633609"/>
              <a:gd name="connsiteY23" fmla="*/ 1332154 h 11307763"/>
              <a:gd name="connsiteX24" fmla="*/ 13169958 w 15633609"/>
              <a:gd name="connsiteY24" fmla="*/ 1390498 h 11307763"/>
              <a:gd name="connsiteX25" fmla="*/ 13155398 w 15633609"/>
              <a:gd name="connsiteY25" fmla="*/ 1448619 h 11307763"/>
              <a:gd name="connsiteX26" fmla="*/ 13141185 w 15633609"/>
              <a:gd name="connsiteY26" fmla="*/ 1506519 h 11307763"/>
              <a:gd name="connsiteX27" fmla="*/ 13127316 w 15633609"/>
              <a:gd name="connsiteY27" fmla="*/ 1564197 h 11307763"/>
              <a:gd name="connsiteX28" fmla="*/ 13113790 w 15633609"/>
              <a:gd name="connsiteY28" fmla="*/ 1621656 h 11307763"/>
              <a:gd name="connsiteX29" fmla="*/ 13100605 w 15633609"/>
              <a:gd name="connsiteY29" fmla="*/ 1678897 h 11307763"/>
              <a:gd name="connsiteX30" fmla="*/ 13087759 w 15633609"/>
              <a:gd name="connsiteY30" fmla="*/ 1735920 h 11307763"/>
              <a:gd name="connsiteX31" fmla="*/ 13075251 w 15633609"/>
              <a:gd name="connsiteY31" fmla="*/ 1792727 h 11307763"/>
              <a:gd name="connsiteX32" fmla="*/ 13063080 w 15633609"/>
              <a:gd name="connsiteY32" fmla="*/ 1849320 h 11307763"/>
              <a:gd name="connsiteX33" fmla="*/ 13051242 w 15633609"/>
              <a:gd name="connsiteY33" fmla="*/ 1905699 h 11307763"/>
              <a:gd name="connsiteX34" fmla="*/ 13039738 w 15633609"/>
              <a:gd name="connsiteY34" fmla="*/ 1961865 h 11307763"/>
              <a:gd name="connsiteX35" fmla="*/ 13028565 w 15633609"/>
              <a:gd name="connsiteY35" fmla="*/ 2017820 h 11307763"/>
              <a:gd name="connsiteX36" fmla="*/ 13017721 w 15633609"/>
              <a:gd name="connsiteY36" fmla="*/ 2073565 h 11307763"/>
              <a:gd name="connsiteX37" fmla="*/ 13007205 w 15633609"/>
              <a:gd name="connsiteY37" fmla="*/ 2129101 h 11307763"/>
              <a:gd name="connsiteX38" fmla="*/ 12997016 w 15633609"/>
              <a:gd name="connsiteY38" fmla="*/ 2184430 h 11307763"/>
              <a:gd name="connsiteX39" fmla="*/ 12987151 w 15633609"/>
              <a:gd name="connsiteY39" fmla="*/ 2239551 h 11307763"/>
              <a:gd name="connsiteX40" fmla="*/ 12977609 w 15633609"/>
              <a:gd name="connsiteY40" fmla="*/ 2294468 h 11307763"/>
              <a:gd name="connsiteX41" fmla="*/ 12968388 w 15633609"/>
              <a:gd name="connsiteY41" fmla="*/ 2349180 h 11307763"/>
              <a:gd name="connsiteX42" fmla="*/ 12959486 w 15633609"/>
              <a:gd name="connsiteY42" fmla="*/ 2403689 h 11307763"/>
              <a:gd name="connsiteX43" fmla="*/ 12950903 w 15633609"/>
              <a:gd name="connsiteY43" fmla="*/ 2457997 h 11307763"/>
              <a:gd name="connsiteX44" fmla="*/ 12942636 w 15633609"/>
              <a:gd name="connsiteY44" fmla="*/ 2512103 h 11307763"/>
              <a:gd name="connsiteX45" fmla="*/ 12934683 w 15633609"/>
              <a:gd name="connsiteY45" fmla="*/ 2566011 h 11307763"/>
              <a:gd name="connsiteX46" fmla="*/ 12927044 w 15633609"/>
              <a:gd name="connsiteY46" fmla="*/ 2619720 h 11307763"/>
              <a:gd name="connsiteX47" fmla="*/ 12919715 w 15633609"/>
              <a:gd name="connsiteY47" fmla="*/ 2673232 h 11307763"/>
              <a:gd name="connsiteX48" fmla="*/ 12912696 w 15633609"/>
              <a:gd name="connsiteY48" fmla="*/ 2726548 h 11307763"/>
              <a:gd name="connsiteX49" fmla="*/ 12905986 w 15633609"/>
              <a:gd name="connsiteY49" fmla="*/ 2779669 h 11307763"/>
              <a:gd name="connsiteX50" fmla="*/ 12899581 w 15633609"/>
              <a:gd name="connsiteY50" fmla="*/ 2832597 h 11307763"/>
              <a:gd name="connsiteX51" fmla="*/ 12893481 w 15633609"/>
              <a:gd name="connsiteY51" fmla="*/ 2885332 h 11307763"/>
              <a:gd name="connsiteX52" fmla="*/ 12887685 w 15633609"/>
              <a:gd name="connsiteY52" fmla="*/ 2937876 h 11307763"/>
              <a:gd name="connsiteX53" fmla="*/ 12882189 w 15633609"/>
              <a:gd name="connsiteY53" fmla="*/ 2990230 h 11307763"/>
              <a:gd name="connsiteX54" fmla="*/ 12876994 w 15633609"/>
              <a:gd name="connsiteY54" fmla="*/ 3042396 h 11307763"/>
              <a:gd name="connsiteX55" fmla="*/ 12872096 w 15633609"/>
              <a:gd name="connsiteY55" fmla="*/ 3094373 h 11307763"/>
              <a:gd name="connsiteX56" fmla="*/ 12867494 w 15633609"/>
              <a:gd name="connsiteY56" fmla="*/ 3146165 h 11307763"/>
              <a:gd name="connsiteX57" fmla="*/ 12863188 w 15633609"/>
              <a:gd name="connsiteY57" fmla="*/ 3197771 h 11307763"/>
              <a:gd name="connsiteX58" fmla="*/ 12859174 w 15633609"/>
              <a:gd name="connsiteY58" fmla="*/ 3249192 h 11307763"/>
              <a:gd name="connsiteX59" fmla="*/ 12855452 w 15633609"/>
              <a:gd name="connsiteY59" fmla="*/ 3300431 h 11307763"/>
              <a:gd name="connsiteX60" fmla="*/ 12852020 w 15633609"/>
              <a:gd name="connsiteY60" fmla="*/ 3351489 h 11307763"/>
              <a:gd name="connsiteX61" fmla="*/ 12848875 w 15633609"/>
              <a:gd name="connsiteY61" fmla="*/ 3402365 h 11307763"/>
              <a:gd name="connsiteX62" fmla="*/ 12846017 w 15633609"/>
              <a:gd name="connsiteY62" fmla="*/ 3453063 h 11307763"/>
              <a:gd name="connsiteX63" fmla="*/ 12843444 w 15633609"/>
              <a:gd name="connsiteY63" fmla="*/ 3503582 h 11307763"/>
              <a:gd name="connsiteX64" fmla="*/ 12841154 w 15633609"/>
              <a:gd name="connsiteY64" fmla="*/ 3553924 h 11307763"/>
              <a:gd name="connsiteX65" fmla="*/ 12839145 w 15633609"/>
              <a:gd name="connsiteY65" fmla="*/ 3604090 h 11307763"/>
              <a:gd name="connsiteX66" fmla="*/ 12837417 w 15633609"/>
              <a:gd name="connsiteY66" fmla="*/ 3654082 h 11307763"/>
              <a:gd name="connsiteX67" fmla="*/ 12835966 w 15633609"/>
              <a:gd name="connsiteY67" fmla="*/ 3703900 h 11307763"/>
              <a:gd name="connsiteX68" fmla="*/ 12834792 w 15633609"/>
              <a:gd name="connsiteY68" fmla="*/ 3753546 h 11307763"/>
              <a:gd name="connsiteX69" fmla="*/ 12833892 w 15633609"/>
              <a:gd name="connsiteY69" fmla="*/ 3803021 h 11307763"/>
              <a:gd name="connsiteX70" fmla="*/ 12833266 w 15633609"/>
              <a:gd name="connsiteY70" fmla="*/ 3852326 h 11307763"/>
              <a:gd name="connsiteX71" fmla="*/ 12832911 w 15633609"/>
              <a:gd name="connsiteY71" fmla="*/ 3901463 h 11307763"/>
              <a:gd name="connsiteX72" fmla="*/ 12832827 w 15633609"/>
              <a:gd name="connsiteY72" fmla="*/ 3950432 h 11307763"/>
              <a:gd name="connsiteX73" fmla="*/ 12833010 w 15633609"/>
              <a:gd name="connsiteY73" fmla="*/ 3999234 h 11307763"/>
              <a:gd name="connsiteX74" fmla="*/ 12833460 w 15633609"/>
              <a:gd name="connsiteY74" fmla="*/ 4047871 h 11307763"/>
              <a:gd name="connsiteX75" fmla="*/ 12834174 w 15633609"/>
              <a:gd name="connsiteY75" fmla="*/ 4096344 h 11307763"/>
              <a:gd name="connsiteX76" fmla="*/ 12835152 w 15633609"/>
              <a:gd name="connsiteY76" fmla="*/ 4144655 h 11307763"/>
              <a:gd name="connsiteX77" fmla="*/ 12836392 w 15633609"/>
              <a:gd name="connsiteY77" fmla="*/ 4192804 h 11307763"/>
              <a:gd name="connsiteX78" fmla="*/ 12837891 w 15633609"/>
              <a:gd name="connsiteY78" fmla="*/ 4240792 h 11307763"/>
              <a:gd name="connsiteX79" fmla="*/ 12839649 w 15633609"/>
              <a:gd name="connsiteY79" fmla="*/ 4288621 h 11307763"/>
              <a:gd name="connsiteX80" fmla="*/ 12841663 w 15633609"/>
              <a:gd name="connsiteY80" fmla="*/ 4336292 h 11307763"/>
              <a:gd name="connsiteX81" fmla="*/ 12843933 w 15633609"/>
              <a:gd name="connsiteY81" fmla="*/ 4383807 h 11307763"/>
              <a:gd name="connsiteX82" fmla="*/ 12846455 w 15633609"/>
              <a:gd name="connsiteY82" fmla="*/ 4431165 h 11307763"/>
              <a:gd name="connsiteX83" fmla="*/ 12849229 w 15633609"/>
              <a:gd name="connsiteY83" fmla="*/ 4478369 h 11307763"/>
              <a:gd name="connsiteX84" fmla="*/ 12852253 w 15633609"/>
              <a:gd name="connsiteY84" fmla="*/ 4525420 h 11307763"/>
              <a:gd name="connsiteX85" fmla="*/ 12855526 w 15633609"/>
              <a:gd name="connsiteY85" fmla="*/ 4572318 h 11307763"/>
              <a:gd name="connsiteX86" fmla="*/ 12859045 w 15633609"/>
              <a:gd name="connsiteY86" fmla="*/ 4619066 h 11307763"/>
              <a:gd name="connsiteX87" fmla="*/ 12862809 w 15633609"/>
              <a:gd name="connsiteY87" fmla="*/ 4665663 h 11307763"/>
              <a:gd name="connsiteX88" fmla="*/ 12866816 w 15633609"/>
              <a:gd name="connsiteY88" fmla="*/ 4712112 h 11307763"/>
              <a:gd name="connsiteX89" fmla="*/ 12871065 w 15633609"/>
              <a:gd name="connsiteY89" fmla="*/ 4758414 h 11307763"/>
              <a:gd name="connsiteX90" fmla="*/ 12875554 w 15633609"/>
              <a:gd name="connsiteY90" fmla="*/ 4804569 h 11307763"/>
              <a:gd name="connsiteX91" fmla="*/ 12880282 w 15633609"/>
              <a:gd name="connsiteY91" fmla="*/ 4850580 h 11307763"/>
              <a:gd name="connsiteX92" fmla="*/ 12885246 w 15633609"/>
              <a:gd name="connsiteY92" fmla="*/ 4896446 h 11307763"/>
              <a:gd name="connsiteX93" fmla="*/ 12890445 w 15633609"/>
              <a:gd name="connsiteY93" fmla="*/ 4942170 h 11307763"/>
              <a:gd name="connsiteX94" fmla="*/ 12895878 w 15633609"/>
              <a:gd name="connsiteY94" fmla="*/ 4987752 h 11307763"/>
              <a:gd name="connsiteX95" fmla="*/ 12901542 w 15633609"/>
              <a:gd name="connsiteY95" fmla="*/ 5033194 h 11307763"/>
              <a:gd name="connsiteX96" fmla="*/ 12907436 w 15633609"/>
              <a:gd name="connsiteY96" fmla="*/ 5078497 h 11307763"/>
              <a:gd name="connsiteX97" fmla="*/ 12913559 w 15633609"/>
              <a:gd name="connsiteY97" fmla="*/ 5123661 h 11307763"/>
              <a:gd name="connsiteX98" fmla="*/ 12919909 w 15633609"/>
              <a:gd name="connsiteY98" fmla="*/ 5168689 h 11307763"/>
              <a:gd name="connsiteX99" fmla="*/ 12926483 w 15633609"/>
              <a:gd name="connsiteY99" fmla="*/ 5213582 h 11307763"/>
              <a:gd name="connsiteX100" fmla="*/ 12933281 w 15633609"/>
              <a:gd name="connsiteY100" fmla="*/ 5258339 h 11307763"/>
              <a:gd name="connsiteX101" fmla="*/ 12940301 w 15633609"/>
              <a:gd name="connsiteY101" fmla="*/ 5302964 h 11307763"/>
              <a:gd name="connsiteX102" fmla="*/ 12947541 w 15633609"/>
              <a:gd name="connsiteY102" fmla="*/ 5347457 h 11307763"/>
              <a:gd name="connsiteX103" fmla="*/ 12955000 w 15633609"/>
              <a:gd name="connsiteY103" fmla="*/ 5391819 h 11307763"/>
              <a:gd name="connsiteX104" fmla="*/ 12962675 w 15633609"/>
              <a:gd name="connsiteY104" fmla="*/ 5436051 h 11307763"/>
              <a:gd name="connsiteX105" fmla="*/ 12970566 w 15633609"/>
              <a:gd name="connsiteY105" fmla="*/ 5480154 h 11307763"/>
              <a:gd name="connsiteX106" fmla="*/ 12978669 w 15633609"/>
              <a:gd name="connsiteY106" fmla="*/ 5524130 h 11307763"/>
              <a:gd name="connsiteX107" fmla="*/ 12986985 w 15633609"/>
              <a:gd name="connsiteY107" fmla="*/ 5567980 h 11307763"/>
              <a:gd name="connsiteX108" fmla="*/ 12995511 w 15633609"/>
              <a:gd name="connsiteY108" fmla="*/ 5611705 h 11307763"/>
              <a:gd name="connsiteX109" fmla="*/ 13004246 w 15633609"/>
              <a:gd name="connsiteY109" fmla="*/ 5655307 h 11307763"/>
              <a:gd name="connsiteX110" fmla="*/ 13013187 w 15633609"/>
              <a:gd name="connsiteY110" fmla="*/ 5698785 h 11307763"/>
              <a:gd name="connsiteX111" fmla="*/ 13022334 w 15633609"/>
              <a:gd name="connsiteY111" fmla="*/ 5742143 h 11307763"/>
              <a:gd name="connsiteX112" fmla="*/ 13031684 w 15633609"/>
              <a:gd name="connsiteY112" fmla="*/ 5785380 h 11307763"/>
              <a:gd name="connsiteX113" fmla="*/ 13041236 w 15633609"/>
              <a:gd name="connsiteY113" fmla="*/ 5828498 h 11307763"/>
              <a:gd name="connsiteX114" fmla="*/ 13050988 w 15633609"/>
              <a:gd name="connsiteY114" fmla="*/ 5871498 h 11307763"/>
              <a:gd name="connsiteX115" fmla="*/ 13060939 w 15633609"/>
              <a:gd name="connsiteY115" fmla="*/ 5914381 h 11307763"/>
              <a:gd name="connsiteX116" fmla="*/ 13071087 w 15633609"/>
              <a:gd name="connsiteY116" fmla="*/ 5957149 h 11307763"/>
              <a:gd name="connsiteX117" fmla="*/ 13081430 w 15633609"/>
              <a:gd name="connsiteY117" fmla="*/ 5999803 h 11307763"/>
              <a:gd name="connsiteX118" fmla="*/ 13091967 w 15633609"/>
              <a:gd name="connsiteY118" fmla="*/ 6042343 h 11307763"/>
              <a:gd name="connsiteX119" fmla="*/ 13102695 w 15633609"/>
              <a:gd name="connsiteY119" fmla="*/ 6084772 h 11307763"/>
              <a:gd name="connsiteX120" fmla="*/ 13113614 w 15633609"/>
              <a:gd name="connsiteY120" fmla="*/ 6127090 h 11307763"/>
              <a:gd name="connsiteX121" fmla="*/ 13124722 w 15633609"/>
              <a:gd name="connsiteY121" fmla="*/ 6169298 h 11307763"/>
              <a:gd name="connsiteX122" fmla="*/ 13136016 w 15633609"/>
              <a:gd name="connsiteY122" fmla="*/ 6211398 h 11307763"/>
              <a:gd name="connsiteX123" fmla="*/ 13147496 w 15633609"/>
              <a:gd name="connsiteY123" fmla="*/ 6253390 h 11307763"/>
              <a:gd name="connsiteX124" fmla="*/ 13159160 w 15633609"/>
              <a:gd name="connsiteY124" fmla="*/ 6295277 h 11307763"/>
              <a:gd name="connsiteX125" fmla="*/ 13171005 w 15633609"/>
              <a:gd name="connsiteY125" fmla="*/ 6337058 h 11307763"/>
              <a:gd name="connsiteX126" fmla="*/ 13183031 w 15633609"/>
              <a:gd name="connsiteY126" fmla="*/ 6378736 h 11307763"/>
              <a:gd name="connsiteX127" fmla="*/ 13195236 w 15633609"/>
              <a:gd name="connsiteY127" fmla="*/ 6420312 h 11307763"/>
              <a:gd name="connsiteX128" fmla="*/ 13207618 w 15633609"/>
              <a:gd name="connsiteY128" fmla="*/ 6461786 h 11307763"/>
              <a:gd name="connsiteX129" fmla="*/ 13220175 w 15633609"/>
              <a:gd name="connsiteY129" fmla="*/ 6503160 h 11307763"/>
              <a:gd name="connsiteX130" fmla="*/ 13232905 w 15633609"/>
              <a:gd name="connsiteY130" fmla="*/ 6544435 h 11307763"/>
              <a:gd name="connsiteX131" fmla="*/ 13245808 w 15633609"/>
              <a:gd name="connsiteY131" fmla="*/ 6585612 h 11307763"/>
              <a:gd name="connsiteX132" fmla="*/ 13258881 w 15633609"/>
              <a:gd name="connsiteY132" fmla="*/ 6626693 h 11307763"/>
              <a:gd name="connsiteX133" fmla="*/ 13272123 w 15633609"/>
              <a:gd name="connsiteY133" fmla="*/ 6667678 h 11307763"/>
              <a:gd name="connsiteX134" fmla="*/ 13285533 w 15633609"/>
              <a:gd name="connsiteY134" fmla="*/ 6708569 h 11307763"/>
              <a:gd name="connsiteX135" fmla="*/ 13299107 w 15633609"/>
              <a:gd name="connsiteY135" fmla="*/ 6749367 h 11307763"/>
              <a:gd name="connsiteX136" fmla="*/ 13312845 w 15633609"/>
              <a:gd name="connsiteY136" fmla="*/ 6790073 h 11307763"/>
              <a:gd name="connsiteX137" fmla="*/ 13326746 w 15633609"/>
              <a:gd name="connsiteY137" fmla="*/ 6830689 h 11307763"/>
              <a:gd name="connsiteX138" fmla="*/ 13340807 w 15633609"/>
              <a:gd name="connsiteY138" fmla="*/ 6871215 h 11307763"/>
              <a:gd name="connsiteX139" fmla="*/ 13355026 w 15633609"/>
              <a:gd name="connsiteY139" fmla="*/ 6911653 h 11307763"/>
              <a:gd name="connsiteX140" fmla="*/ 13369403 w 15633609"/>
              <a:gd name="connsiteY140" fmla="*/ 6952003 h 11307763"/>
              <a:gd name="connsiteX141" fmla="*/ 13383935 w 15633609"/>
              <a:gd name="connsiteY141" fmla="*/ 6992268 h 11307763"/>
              <a:gd name="connsiteX142" fmla="*/ 13398622 w 15633609"/>
              <a:gd name="connsiteY142" fmla="*/ 7032448 h 11307763"/>
              <a:gd name="connsiteX143" fmla="*/ 13413460 w 15633609"/>
              <a:gd name="connsiteY143" fmla="*/ 7072544 h 11307763"/>
              <a:gd name="connsiteX144" fmla="*/ 13428449 w 15633609"/>
              <a:gd name="connsiteY144" fmla="*/ 7112558 h 11307763"/>
              <a:gd name="connsiteX145" fmla="*/ 13443587 w 15633609"/>
              <a:gd name="connsiteY145" fmla="*/ 7152491 h 11307763"/>
              <a:gd name="connsiteX146" fmla="*/ 13458871 w 15633609"/>
              <a:gd name="connsiteY146" fmla="*/ 7192343 h 11307763"/>
              <a:gd name="connsiteX147" fmla="*/ 13474302 w 15633609"/>
              <a:gd name="connsiteY147" fmla="*/ 7232117 h 11307763"/>
              <a:gd name="connsiteX148" fmla="*/ 13489876 w 15633609"/>
              <a:gd name="connsiteY148" fmla="*/ 7271813 h 11307763"/>
              <a:gd name="connsiteX149" fmla="*/ 13505593 w 15633609"/>
              <a:gd name="connsiteY149" fmla="*/ 7311433 h 11307763"/>
              <a:gd name="connsiteX150" fmla="*/ 13521450 w 15633609"/>
              <a:gd name="connsiteY150" fmla="*/ 7350977 h 11307763"/>
              <a:gd name="connsiteX151" fmla="*/ 13537446 w 15633609"/>
              <a:gd name="connsiteY151" fmla="*/ 7390448 h 11307763"/>
              <a:gd name="connsiteX152" fmla="*/ 13553580 w 15633609"/>
              <a:gd name="connsiteY152" fmla="*/ 7429845 h 11307763"/>
              <a:gd name="connsiteX153" fmla="*/ 13569849 w 15633609"/>
              <a:gd name="connsiteY153" fmla="*/ 7469171 h 11307763"/>
              <a:gd name="connsiteX154" fmla="*/ 13586251 w 15633609"/>
              <a:gd name="connsiteY154" fmla="*/ 7508426 h 11307763"/>
              <a:gd name="connsiteX155" fmla="*/ 13602787 w 15633609"/>
              <a:gd name="connsiteY155" fmla="*/ 7547611 h 11307763"/>
              <a:gd name="connsiteX156" fmla="*/ 13619452 w 15633609"/>
              <a:gd name="connsiteY156" fmla="*/ 7586729 h 11307763"/>
              <a:gd name="connsiteX157" fmla="*/ 13636247 w 15633609"/>
              <a:gd name="connsiteY157" fmla="*/ 7625779 h 11307763"/>
              <a:gd name="connsiteX158" fmla="*/ 13653169 w 15633609"/>
              <a:gd name="connsiteY158" fmla="*/ 7664764 h 11307763"/>
              <a:gd name="connsiteX159" fmla="*/ 13670217 w 15633609"/>
              <a:gd name="connsiteY159" fmla="*/ 7703683 h 11307763"/>
              <a:gd name="connsiteX160" fmla="*/ 13687389 w 15633609"/>
              <a:gd name="connsiteY160" fmla="*/ 7742540 h 11307763"/>
              <a:gd name="connsiteX161" fmla="*/ 13704683 w 15633609"/>
              <a:gd name="connsiteY161" fmla="*/ 7781334 h 11307763"/>
              <a:gd name="connsiteX162" fmla="*/ 13722098 w 15633609"/>
              <a:gd name="connsiteY162" fmla="*/ 7820067 h 11307763"/>
              <a:gd name="connsiteX163" fmla="*/ 13739632 w 15633609"/>
              <a:gd name="connsiteY163" fmla="*/ 7858740 h 11307763"/>
              <a:gd name="connsiteX164" fmla="*/ 13757283 w 15633609"/>
              <a:gd name="connsiteY164" fmla="*/ 7897355 h 11307763"/>
              <a:gd name="connsiteX165" fmla="*/ 13775050 w 15633609"/>
              <a:gd name="connsiteY165" fmla="*/ 7935911 h 11307763"/>
              <a:gd name="connsiteX166" fmla="*/ 13792931 w 15633609"/>
              <a:gd name="connsiteY166" fmla="*/ 7974412 h 11307763"/>
              <a:gd name="connsiteX167" fmla="*/ 13810924 w 15633609"/>
              <a:gd name="connsiteY167" fmla="*/ 8012857 h 11307763"/>
              <a:gd name="connsiteX168" fmla="*/ 13829028 w 15633609"/>
              <a:gd name="connsiteY168" fmla="*/ 8051248 h 11307763"/>
              <a:gd name="connsiteX169" fmla="*/ 13847242 w 15633609"/>
              <a:gd name="connsiteY169" fmla="*/ 8089587 h 11307763"/>
              <a:gd name="connsiteX170" fmla="*/ 13865562 w 15633609"/>
              <a:gd name="connsiteY170" fmla="*/ 8127873 h 11307763"/>
              <a:gd name="connsiteX171" fmla="*/ 13883989 w 15633609"/>
              <a:gd name="connsiteY171" fmla="*/ 8166110 h 11307763"/>
              <a:gd name="connsiteX172" fmla="*/ 13902519 w 15633609"/>
              <a:gd name="connsiteY172" fmla="*/ 8204296 h 11307763"/>
              <a:gd name="connsiteX173" fmla="*/ 13921152 w 15633609"/>
              <a:gd name="connsiteY173" fmla="*/ 8242435 h 11307763"/>
              <a:gd name="connsiteX174" fmla="*/ 13939886 w 15633609"/>
              <a:gd name="connsiteY174" fmla="*/ 8280527 h 11307763"/>
              <a:gd name="connsiteX175" fmla="*/ 13958719 w 15633609"/>
              <a:gd name="connsiteY175" fmla="*/ 8318574 h 11307763"/>
              <a:gd name="connsiteX176" fmla="*/ 13977649 w 15633609"/>
              <a:gd name="connsiteY176" fmla="*/ 8356575 h 11307763"/>
              <a:gd name="connsiteX177" fmla="*/ 13996675 w 15633609"/>
              <a:gd name="connsiteY177" fmla="*/ 8394533 h 11307763"/>
              <a:gd name="connsiteX178" fmla="*/ 14015796 w 15633609"/>
              <a:gd name="connsiteY178" fmla="*/ 8432450 h 11307763"/>
              <a:gd name="connsiteX179" fmla="*/ 14035009 w 15633609"/>
              <a:gd name="connsiteY179" fmla="*/ 8470325 h 11307763"/>
              <a:gd name="connsiteX180" fmla="*/ 14054313 w 15633609"/>
              <a:gd name="connsiteY180" fmla="*/ 8508160 h 11307763"/>
              <a:gd name="connsiteX181" fmla="*/ 14073706 w 15633609"/>
              <a:gd name="connsiteY181" fmla="*/ 8545957 h 11307763"/>
              <a:gd name="connsiteX182" fmla="*/ 14093186 w 15633609"/>
              <a:gd name="connsiteY182" fmla="*/ 8583716 h 11307763"/>
              <a:gd name="connsiteX183" fmla="*/ 14112752 w 15633609"/>
              <a:gd name="connsiteY183" fmla="*/ 8621439 h 11307763"/>
              <a:gd name="connsiteX184" fmla="*/ 14132403 w 15633609"/>
              <a:gd name="connsiteY184" fmla="*/ 8659126 h 11307763"/>
              <a:gd name="connsiteX185" fmla="*/ 14171950 w 15633609"/>
              <a:gd name="connsiteY185" fmla="*/ 8734401 h 11307763"/>
              <a:gd name="connsiteX186" fmla="*/ 14211815 w 15633609"/>
              <a:gd name="connsiteY186" fmla="*/ 8809550 h 11307763"/>
              <a:gd name="connsiteX187" fmla="*/ 14251983 w 15633609"/>
              <a:gd name="connsiteY187" fmla="*/ 8884582 h 11307763"/>
              <a:gd name="connsiteX188" fmla="*/ 14292441 w 15633609"/>
              <a:gd name="connsiteY188" fmla="*/ 8959507 h 11307763"/>
              <a:gd name="connsiteX189" fmla="*/ 14333177 w 15633609"/>
              <a:gd name="connsiteY189" fmla="*/ 9034334 h 11307763"/>
              <a:gd name="connsiteX190" fmla="*/ 14374177 w 15633609"/>
              <a:gd name="connsiteY190" fmla="*/ 9109073 h 11307763"/>
              <a:gd name="connsiteX191" fmla="*/ 14436142 w 15633609"/>
              <a:gd name="connsiteY191" fmla="*/ 9221036 h 11307763"/>
              <a:gd name="connsiteX192" fmla="*/ 14498627 w 15633609"/>
              <a:gd name="connsiteY192" fmla="*/ 9332854 h 11307763"/>
              <a:gd name="connsiteX193" fmla="*/ 14582671 w 15633609"/>
              <a:gd name="connsiteY193" fmla="*/ 9481773 h 11307763"/>
              <a:gd name="connsiteX194" fmla="*/ 14667452 w 15633609"/>
              <a:gd name="connsiteY194" fmla="*/ 9630565 h 11307763"/>
              <a:gd name="connsiteX195" fmla="*/ 14795776 w 15633609"/>
              <a:gd name="connsiteY195" fmla="*/ 9853682 h 11307763"/>
              <a:gd name="connsiteX196" fmla="*/ 15272668 w 15633609"/>
              <a:gd name="connsiteY196" fmla="*/ 10674932 h 11307763"/>
              <a:gd name="connsiteX197" fmla="*/ 15446180 w 15633609"/>
              <a:gd name="connsiteY197" fmla="*/ 10976499 h 11307763"/>
              <a:gd name="connsiteX198" fmla="*/ 15554022 w 15633609"/>
              <a:gd name="connsiteY198" fmla="*/ 11166221 h 11307763"/>
              <a:gd name="connsiteX199" fmla="*/ 15633609 w 15633609"/>
              <a:gd name="connsiteY199" fmla="*/ 11307763 h 11307763"/>
              <a:gd name="connsiteX200" fmla="*/ 0 w 15633609"/>
              <a:gd name="connsiteY200" fmla="*/ 11307763 h 1130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5633609" h="11307763">
                <a:moveTo>
                  <a:pt x="0" y="0"/>
                </a:moveTo>
                <a:lnTo>
                  <a:pt x="13600449" y="0"/>
                </a:lnTo>
                <a:lnTo>
                  <a:pt x="13581182" y="53290"/>
                </a:lnTo>
                <a:lnTo>
                  <a:pt x="13558589" y="116593"/>
                </a:lnTo>
                <a:lnTo>
                  <a:pt x="13536379" y="179648"/>
                </a:lnTo>
                <a:lnTo>
                  <a:pt x="13514550" y="242456"/>
                </a:lnTo>
                <a:lnTo>
                  <a:pt x="13493100" y="305018"/>
                </a:lnTo>
                <a:lnTo>
                  <a:pt x="13472027" y="367337"/>
                </a:lnTo>
                <a:lnTo>
                  <a:pt x="13451330" y="429411"/>
                </a:lnTo>
                <a:lnTo>
                  <a:pt x="13431008" y="491244"/>
                </a:lnTo>
                <a:lnTo>
                  <a:pt x="13411058" y="552836"/>
                </a:lnTo>
                <a:lnTo>
                  <a:pt x="13391480" y="614189"/>
                </a:lnTo>
                <a:lnTo>
                  <a:pt x="13372270" y="675303"/>
                </a:lnTo>
                <a:lnTo>
                  <a:pt x="13353428" y="736179"/>
                </a:lnTo>
                <a:lnTo>
                  <a:pt x="13334952" y="796820"/>
                </a:lnTo>
                <a:lnTo>
                  <a:pt x="13316841" y="857225"/>
                </a:lnTo>
                <a:lnTo>
                  <a:pt x="13299092" y="917397"/>
                </a:lnTo>
                <a:lnTo>
                  <a:pt x="13281704" y="977336"/>
                </a:lnTo>
                <a:lnTo>
                  <a:pt x="13264675" y="1037044"/>
                </a:lnTo>
                <a:lnTo>
                  <a:pt x="13248005" y="1096522"/>
                </a:lnTo>
                <a:lnTo>
                  <a:pt x="13231690" y="1155770"/>
                </a:lnTo>
                <a:lnTo>
                  <a:pt x="13215729" y="1214791"/>
                </a:lnTo>
                <a:lnTo>
                  <a:pt x="13200122" y="1273585"/>
                </a:lnTo>
                <a:lnTo>
                  <a:pt x="13184865" y="1332154"/>
                </a:lnTo>
                <a:lnTo>
                  <a:pt x="13169958" y="1390498"/>
                </a:lnTo>
                <a:lnTo>
                  <a:pt x="13155398" y="1448619"/>
                </a:lnTo>
                <a:lnTo>
                  <a:pt x="13141185" y="1506519"/>
                </a:lnTo>
                <a:lnTo>
                  <a:pt x="13127316" y="1564197"/>
                </a:lnTo>
                <a:lnTo>
                  <a:pt x="13113790" y="1621656"/>
                </a:lnTo>
                <a:lnTo>
                  <a:pt x="13100605" y="1678897"/>
                </a:lnTo>
                <a:lnTo>
                  <a:pt x="13087759" y="1735920"/>
                </a:lnTo>
                <a:lnTo>
                  <a:pt x="13075251" y="1792727"/>
                </a:lnTo>
                <a:lnTo>
                  <a:pt x="13063080" y="1849320"/>
                </a:lnTo>
                <a:lnTo>
                  <a:pt x="13051242" y="1905699"/>
                </a:lnTo>
                <a:lnTo>
                  <a:pt x="13039738" y="1961865"/>
                </a:lnTo>
                <a:lnTo>
                  <a:pt x="13028565" y="2017820"/>
                </a:lnTo>
                <a:lnTo>
                  <a:pt x="13017721" y="2073565"/>
                </a:lnTo>
                <a:lnTo>
                  <a:pt x="13007205" y="2129101"/>
                </a:lnTo>
                <a:lnTo>
                  <a:pt x="12997016" y="2184430"/>
                </a:lnTo>
                <a:lnTo>
                  <a:pt x="12987151" y="2239551"/>
                </a:lnTo>
                <a:lnTo>
                  <a:pt x="12977609" y="2294468"/>
                </a:lnTo>
                <a:lnTo>
                  <a:pt x="12968388" y="2349180"/>
                </a:lnTo>
                <a:lnTo>
                  <a:pt x="12959486" y="2403689"/>
                </a:lnTo>
                <a:lnTo>
                  <a:pt x="12950903" y="2457997"/>
                </a:lnTo>
                <a:lnTo>
                  <a:pt x="12942636" y="2512103"/>
                </a:lnTo>
                <a:lnTo>
                  <a:pt x="12934683" y="2566011"/>
                </a:lnTo>
                <a:lnTo>
                  <a:pt x="12927044" y="2619720"/>
                </a:lnTo>
                <a:lnTo>
                  <a:pt x="12919715" y="2673232"/>
                </a:lnTo>
                <a:lnTo>
                  <a:pt x="12912696" y="2726548"/>
                </a:lnTo>
                <a:lnTo>
                  <a:pt x="12905986" y="2779669"/>
                </a:lnTo>
                <a:lnTo>
                  <a:pt x="12899581" y="2832597"/>
                </a:lnTo>
                <a:lnTo>
                  <a:pt x="12893481" y="2885332"/>
                </a:lnTo>
                <a:lnTo>
                  <a:pt x="12887685" y="2937876"/>
                </a:lnTo>
                <a:lnTo>
                  <a:pt x="12882189" y="2990230"/>
                </a:lnTo>
                <a:lnTo>
                  <a:pt x="12876994" y="3042396"/>
                </a:lnTo>
                <a:lnTo>
                  <a:pt x="12872096" y="3094373"/>
                </a:lnTo>
                <a:lnTo>
                  <a:pt x="12867494" y="3146165"/>
                </a:lnTo>
                <a:lnTo>
                  <a:pt x="12863188" y="3197771"/>
                </a:lnTo>
                <a:lnTo>
                  <a:pt x="12859174" y="3249192"/>
                </a:lnTo>
                <a:lnTo>
                  <a:pt x="12855452" y="3300431"/>
                </a:lnTo>
                <a:lnTo>
                  <a:pt x="12852020" y="3351489"/>
                </a:lnTo>
                <a:lnTo>
                  <a:pt x="12848875" y="3402365"/>
                </a:lnTo>
                <a:lnTo>
                  <a:pt x="12846017" y="3453063"/>
                </a:lnTo>
                <a:lnTo>
                  <a:pt x="12843444" y="3503582"/>
                </a:lnTo>
                <a:lnTo>
                  <a:pt x="12841154" y="3553924"/>
                </a:lnTo>
                <a:lnTo>
                  <a:pt x="12839145" y="3604090"/>
                </a:lnTo>
                <a:lnTo>
                  <a:pt x="12837417" y="3654082"/>
                </a:lnTo>
                <a:lnTo>
                  <a:pt x="12835966" y="3703900"/>
                </a:lnTo>
                <a:lnTo>
                  <a:pt x="12834792" y="3753546"/>
                </a:lnTo>
                <a:lnTo>
                  <a:pt x="12833892" y="3803021"/>
                </a:lnTo>
                <a:lnTo>
                  <a:pt x="12833266" y="3852326"/>
                </a:lnTo>
                <a:lnTo>
                  <a:pt x="12832911" y="3901463"/>
                </a:lnTo>
                <a:lnTo>
                  <a:pt x="12832827" y="3950432"/>
                </a:lnTo>
                <a:lnTo>
                  <a:pt x="12833010" y="3999234"/>
                </a:lnTo>
                <a:lnTo>
                  <a:pt x="12833460" y="4047871"/>
                </a:lnTo>
                <a:lnTo>
                  <a:pt x="12834174" y="4096344"/>
                </a:lnTo>
                <a:lnTo>
                  <a:pt x="12835152" y="4144655"/>
                </a:lnTo>
                <a:lnTo>
                  <a:pt x="12836392" y="4192804"/>
                </a:lnTo>
                <a:lnTo>
                  <a:pt x="12837891" y="4240792"/>
                </a:lnTo>
                <a:lnTo>
                  <a:pt x="12839649" y="4288621"/>
                </a:lnTo>
                <a:lnTo>
                  <a:pt x="12841663" y="4336292"/>
                </a:lnTo>
                <a:lnTo>
                  <a:pt x="12843933" y="4383807"/>
                </a:lnTo>
                <a:lnTo>
                  <a:pt x="12846455" y="4431165"/>
                </a:lnTo>
                <a:lnTo>
                  <a:pt x="12849229" y="4478369"/>
                </a:lnTo>
                <a:lnTo>
                  <a:pt x="12852253" y="4525420"/>
                </a:lnTo>
                <a:lnTo>
                  <a:pt x="12855526" y="4572318"/>
                </a:lnTo>
                <a:lnTo>
                  <a:pt x="12859045" y="4619066"/>
                </a:lnTo>
                <a:lnTo>
                  <a:pt x="12862809" y="4665663"/>
                </a:lnTo>
                <a:lnTo>
                  <a:pt x="12866816" y="4712112"/>
                </a:lnTo>
                <a:lnTo>
                  <a:pt x="12871065" y="4758414"/>
                </a:lnTo>
                <a:lnTo>
                  <a:pt x="12875554" y="4804569"/>
                </a:lnTo>
                <a:lnTo>
                  <a:pt x="12880282" y="4850580"/>
                </a:lnTo>
                <a:lnTo>
                  <a:pt x="12885246" y="4896446"/>
                </a:lnTo>
                <a:lnTo>
                  <a:pt x="12890445" y="4942170"/>
                </a:lnTo>
                <a:lnTo>
                  <a:pt x="12895878" y="4987752"/>
                </a:lnTo>
                <a:lnTo>
                  <a:pt x="12901542" y="5033194"/>
                </a:lnTo>
                <a:lnTo>
                  <a:pt x="12907436" y="5078497"/>
                </a:lnTo>
                <a:lnTo>
                  <a:pt x="12913559" y="5123661"/>
                </a:lnTo>
                <a:lnTo>
                  <a:pt x="12919909" y="5168689"/>
                </a:lnTo>
                <a:lnTo>
                  <a:pt x="12926483" y="5213582"/>
                </a:lnTo>
                <a:lnTo>
                  <a:pt x="12933281" y="5258339"/>
                </a:lnTo>
                <a:lnTo>
                  <a:pt x="12940301" y="5302964"/>
                </a:lnTo>
                <a:lnTo>
                  <a:pt x="12947541" y="5347457"/>
                </a:lnTo>
                <a:lnTo>
                  <a:pt x="12955000" y="5391819"/>
                </a:lnTo>
                <a:lnTo>
                  <a:pt x="12962675" y="5436051"/>
                </a:lnTo>
                <a:lnTo>
                  <a:pt x="12970566" y="5480154"/>
                </a:lnTo>
                <a:lnTo>
                  <a:pt x="12978669" y="5524130"/>
                </a:lnTo>
                <a:lnTo>
                  <a:pt x="12986985" y="5567980"/>
                </a:lnTo>
                <a:lnTo>
                  <a:pt x="12995511" y="5611705"/>
                </a:lnTo>
                <a:lnTo>
                  <a:pt x="13004246" y="5655307"/>
                </a:lnTo>
                <a:lnTo>
                  <a:pt x="13013187" y="5698785"/>
                </a:lnTo>
                <a:lnTo>
                  <a:pt x="13022334" y="5742143"/>
                </a:lnTo>
                <a:lnTo>
                  <a:pt x="13031684" y="5785380"/>
                </a:lnTo>
                <a:lnTo>
                  <a:pt x="13041236" y="5828498"/>
                </a:lnTo>
                <a:lnTo>
                  <a:pt x="13050988" y="5871498"/>
                </a:lnTo>
                <a:lnTo>
                  <a:pt x="13060939" y="5914381"/>
                </a:lnTo>
                <a:lnTo>
                  <a:pt x="13071087" y="5957149"/>
                </a:lnTo>
                <a:lnTo>
                  <a:pt x="13081430" y="5999803"/>
                </a:lnTo>
                <a:lnTo>
                  <a:pt x="13091967" y="6042343"/>
                </a:lnTo>
                <a:lnTo>
                  <a:pt x="13102695" y="6084772"/>
                </a:lnTo>
                <a:lnTo>
                  <a:pt x="13113614" y="6127090"/>
                </a:lnTo>
                <a:lnTo>
                  <a:pt x="13124722" y="6169298"/>
                </a:lnTo>
                <a:lnTo>
                  <a:pt x="13136016" y="6211398"/>
                </a:lnTo>
                <a:lnTo>
                  <a:pt x="13147496" y="6253390"/>
                </a:lnTo>
                <a:lnTo>
                  <a:pt x="13159160" y="6295277"/>
                </a:lnTo>
                <a:lnTo>
                  <a:pt x="13171005" y="6337058"/>
                </a:lnTo>
                <a:lnTo>
                  <a:pt x="13183031" y="6378736"/>
                </a:lnTo>
                <a:lnTo>
                  <a:pt x="13195236" y="6420312"/>
                </a:lnTo>
                <a:lnTo>
                  <a:pt x="13207618" y="6461786"/>
                </a:lnTo>
                <a:lnTo>
                  <a:pt x="13220175" y="6503160"/>
                </a:lnTo>
                <a:lnTo>
                  <a:pt x="13232905" y="6544435"/>
                </a:lnTo>
                <a:lnTo>
                  <a:pt x="13245808" y="6585612"/>
                </a:lnTo>
                <a:lnTo>
                  <a:pt x="13258881" y="6626693"/>
                </a:lnTo>
                <a:lnTo>
                  <a:pt x="13272123" y="6667678"/>
                </a:lnTo>
                <a:lnTo>
                  <a:pt x="13285533" y="6708569"/>
                </a:lnTo>
                <a:lnTo>
                  <a:pt x="13299107" y="6749367"/>
                </a:lnTo>
                <a:lnTo>
                  <a:pt x="13312845" y="6790073"/>
                </a:lnTo>
                <a:lnTo>
                  <a:pt x="13326746" y="6830689"/>
                </a:lnTo>
                <a:lnTo>
                  <a:pt x="13340807" y="6871215"/>
                </a:lnTo>
                <a:lnTo>
                  <a:pt x="13355026" y="6911653"/>
                </a:lnTo>
                <a:lnTo>
                  <a:pt x="13369403" y="6952003"/>
                </a:lnTo>
                <a:lnTo>
                  <a:pt x="13383935" y="6992268"/>
                </a:lnTo>
                <a:lnTo>
                  <a:pt x="13398622" y="7032448"/>
                </a:lnTo>
                <a:lnTo>
                  <a:pt x="13413460" y="7072544"/>
                </a:lnTo>
                <a:lnTo>
                  <a:pt x="13428449" y="7112558"/>
                </a:lnTo>
                <a:lnTo>
                  <a:pt x="13443587" y="7152491"/>
                </a:lnTo>
                <a:lnTo>
                  <a:pt x="13458871" y="7192343"/>
                </a:lnTo>
                <a:lnTo>
                  <a:pt x="13474302" y="7232117"/>
                </a:lnTo>
                <a:lnTo>
                  <a:pt x="13489876" y="7271813"/>
                </a:lnTo>
                <a:lnTo>
                  <a:pt x="13505593" y="7311433"/>
                </a:lnTo>
                <a:lnTo>
                  <a:pt x="13521450" y="7350977"/>
                </a:lnTo>
                <a:lnTo>
                  <a:pt x="13537446" y="7390448"/>
                </a:lnTo>
                <a:lnTo>
                  <a:pt x="13553580" y="7429845"/>
                </a:lnTo>
                <a:lnTo>
                  <a:pt x="13569849" y="7469171"/>
                </a:lnTo>
                <a:lnTo>
                  <a:pt x="13586251" y="7508426"/>
                </a:lnTo>
                <a:lnTo>
                  <a:pt x="13602787" y="7547611"/>
                </a:lnTo>
                <a:lnTo>
                  <a:pt x="13619452" y="7586729"/>
                </a:lnTo>
                <a:lnTo>
                  <a:pt x="13636247" y="7625779"/>
                </a:lnTo>
                <a:lnTo>
                  <a:pt x="13653169" y="7664764"/>
                </a:lnTo>
                <a:lnTo>
                  <a:pt x="13670217" y="7703683"/>
                </a:lnTo>
                <a:lnTo>
                  <a:pt x="13687389" y="7742540"/>
                </a:lnTo>
                <a:lnTo>
                  <a:pt x="13704683" y="7781334"/>
                </a:lnTo>
                <a:lnTo>
                  <a:pt x="13722098" y="7820067"/>
                </a:lnTo>
                <a:lnTo>
                  <a:pt x="13739632" y="7858740"/>
                </a:lnTo>
                <a:lnTo>
                  <a:pt x="13757283" y="7897355"/>
                </a:lnTo>
                <a:lnTo>
                  <a:pt x="13775050" y="7935911"/>
                </a:lnTo>
                <a:lnTo>
                  <a:pt x="13792931" y="7974412"/>
                </a:lnTo>
                <a:lnTo>
                  <a:pt x="13810924" y="8012857"/>
                </a:lnTo>
                <a:lnTo>
                  <a:pt x="13829028" y="8051248"/>
                </a:lnTo>
                <a:lnTo>
                  <a:pt x="13847242" y="8089587"/>
                </a:lnTo>
                <a:lnTo>
                  <a:pt x="13865562" y="8127873"/>
                </a:lnTo>
                <a:lnTo>
                  <a:pt x="13883989" y="8166110"/>
                </a:lnTo>
                <a:lnTo>
                  <a:pt x="13902519" y="8204296"/>
                </a:lnTo>
                <a:lnTo>
                  <a:pt x="13921152" y="8242435"/>
                </a:lnTo>
                <a:lnTo>
                  <a:pt x="13939886" y="8280527"/>
                </a:lnTo>
                <a:lnTo>
                  <a:pt x="13958719" y="8318574"/>
                </a:lnTo>
                <a:lnTo>
                  <a:pt x="13977649" y="8356575"/>
                </a:lnTo>
                <a:lnTo>
                  <a:pt x="13996675" y="8394533"/>
                </a:lnTo>
                <a:lnTo>
                  <a:pt x="14015796" y="8432450"/>
                </a:lnTo>
                <a:lnTo>
                  <a:pt x="14035009" y="8470325"/>
                </a:lnTo>
                <a:lnTo>
                  <a:pt x="14054313" y="8508160"/>
                </a:lnTo>
                <a:lnTo>
                  <a:pt x="14073706" y="8545957"/>
                </a:lnTo>
                <a:lnTo>
                  <a:pt x="14093186" y="8583716"/>
                </a:lnTo>
                <a:lnTo>
                  <a:pt x="14112752" y="8621439"/>
                </a:lnTo>
                <a:lnTo>
                  <a:pt x="14132403" y="8659126"/>
                </a:lnTo>
                <a:lnTo>
                  <a:pt x="14171950" y="8734401"/>
                </a:lnTo>
                <a:lnTo>
                  <a:pt x="14211815" y="8809550"/>
                </a:lnTo>
                <a:lnTo>
                  <a:pt x="14251983" y="8884582"/>
                </a:lnTo>
                <a:lnTo>
                  <a:pt x="14292441" y="8959507"/>
                </a:lnTo>
                <a:lnTo>
                  <a:pt x="14333177" y="9034334"/>
                </a:lnTo>
                <a:lnTo>
                  <a:pt x="14374177" y="9109073"/>
                </a:lnTo>
                <a:lnTo>
                  <a:pt x="14436142" y="9221036"/>
                </a:lnTo>
                <a:lnTo>
                  <a:pt x="14498627" y="9332854"/>
                </a:lnTo>
                <a:lnTo>
                  <a:pt x="14582671" y="9481773"/>
                </a:lnTo>
                <a:lnTo>
                  <a:pt x="14667452" y="9630565"/>
                </a:lnTo>
                <a:lnTo>
                  <a:pt x="14795776" y="9853682"/>
                </a:lnTo>
                <a:lnTo>
                  <a:pt x="15272668" y="10674932"/>
                </a:lnTo>
                <a:lnTo>
                  <a:pt x="15446180" y="10976499"/>
                </a:lnTo>
                <a:lnTo>
                  <a:pt x="15554022" y="11166221"/>
                </a:lnTo>
                <a:lnTo>
                  <a:pt x="15633609" y="11307763"/>
                </a:lnTo>
                <a:lnTo>
                  <a:pt x="0" y="11307763"/>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5" name="Text Placeholder 2">
            <a:extLst>
              <a:ext uri="{FF2B5EF4-FFF2-40B4-BE49-F238E27FC236}">
                <a16:creationId xmlns:a16="http://schemas.microsoft.com/office/drawing/2014/main" id="{26690566-6807-478B-842D-F5AB25A5420F}"/>
              </a:ext>
            </a:extLst>
          </p:cNvPr>
          <p:cNvSpPr>
            <a:spLocks noGrp="1"/>
          </p:cNvSpPr>
          <p:nvPr>
            <p:ph type="body" sz="quarter" idx="15"/>
          </p:nvPr>
        </p:nvSpPr>
        <p:spPr>
          <a:xfrm>
            <a:off x="8303685" y="1416001"/>
            <a:ext cx="3456945"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F54843EE-89F0-474F-A438-CCD6E63C5C3A}"/>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0" name="Rectangle 9">
            <a:hlinkClick r:id="rId2"/>
            <a:extLst>
              <a:ext uri="{FF2B5EF4-FFF2-40B4-BE49-F238E27FC236}">
                <a16:creationId xmlns:a16="http://schemas.microsoft.com/office/drawing/2014/main" id="{59EFD54B-5084-4493-98CD-406BBC16C6BC}"/>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1" name="Picture 10">
            <a:extLst>
              <a:ext uri="{FF2B5EF4-FFF2-40B4-BE49-F238E27FC236}">
                <a16:creationId xmlns:a16="http://schemas.microsoft.com/office/drawing/2014/main" id="{50A37059-A6CA-4A16-859E-45B549666CFA}"/>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2" name="Title 1">
            <a:extLst>
              <a:ext uri="{FF2B5EF4-FFF2-40B4-BE49-F238E27FC236}">
                <a16:creationId xmlns:a16="http://schemas.microsoft.com/office/drawing/2014/main" id="{881E7258-4646-4D7F-9430-5D4A66ADBB9A}"/>
              </a:ext>
            </a:extLst>
          </p:cNvPr>
          <p:cNvSpPr>
            <a:spLocks noGrp="1"/>
          </p:cNvSpPr>
          <p:nvPr>
            <p:ph type="title"/>
          </p:nvPr>
        </p:nvSpPr>
        <p:spPr>
          <a:xfrm>
            <a:off x="8302454" y="441140"/>
            <a:ext cx="3456945" cy="393955"/>
          </a:xfrm>
        </p:spPr>
        <p:txBody>
          <a:bodyPr/>
          <a:lstStyle/>
          <a:p>
            <a:r>
              <a:rPr lang="en-US"/>
              <a:t>Click to edit Master title style</a:t>
            </a:r>
            <a:endParaRPr lang="en-GB"/>
          </a:p>
        </p:txBody>
      </p:sp>
    </p:spTree>
    <p:extLst>
      <p:ext uri="{BB962C8B-B14F-4D97-AF65-F5344CB8AC3E}">
        <p14:creationId xmlns:p14="http://schemas.microsoft.com/office/powerpoint/2010/main" val="17004345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DF3B3A2-DECF-4E1E-8224-F551F72431E6}"/>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5" name="Text Placeholder 4">
            <a:extLst>
              <a:ext uri="{FF2B5EF4-FFF2-40B4-BE49-F238E27FC236}">
                <a16:creationId xmlns:a16="http://schemas.microsoft.com/office/drawing/2014/main" id="{CD9199F2-FD0B-48CB-BF88-E2A9677AD29D}"/>
              </a:ext>
            </a:extLst>
          </p:cNvPr>
          <p:cNvSpPr>
            <a:spLocks noGrp="1"/>
          </p:cNvSpPr>
          <p:nvPr>
            <p:ph type="body" sz="quarter" idx="10"/>
          </p:nvPr>
        </p:nvSpPr>
        <p:spPr>
          <a:xfrm>
            <a:off x="432001" y="5120019"/>
            <a:ext cx="5424816" cy="1333699"/>
          </a:xfrm>
        </p:spPr>
        <p:txBody>
          <a:bodyPr anchor="b"/>
          <a:lstStyle>
            <a:lvl1pPr>
              <a:defRPr sz="1200" b="1">
                <a:solidFill>
                  <a:schemeClr val="tx1"/>
                </a:solidFill>
              </a:defRPr>
            </a:lvl1pPr>
            <a:lvl2pPr>
              <a:defRPr sz="1200" b="0">
                <a:solidFill>
                  <a:schemeClr val="tx1"/>
                </a:solidFill>
              </a:defRPr>
            </a:lvl2pPr>
            <a:lvl3pPr marL="0" indent="0">
              <a:buFontTx/>
              <a:buNone/>
              <a:defRPr sz="1200" b="0">
                <a:solidFill>
                  <a:schemeClr val="tx1"/>
                </a:solidFill>
              </a:defRPr>
            </a:lvl3pPr>
            <a:lvl4pPr marL="0" indent="0">
              <a:buFontTx/>
              <a:buNone/>
              <a:defRPr sz="1200" b="0">
                <a:solidFill>
                  <a:schemeClr val="tx1"/>
                </a:solidFill>
              </a:defRPr>
            </a:lvl4pPr>
            <a:lvl5pPr marL="0" indent="0">
              <a:buFontTx/>
              <a:buNone/>
              <a:defRPr sz="1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DD4BF8BF-9CAC-4BF8-B555-D6E364C618FB}"/>
              </a:ext>
            </a:extLst>
          </p:cNvPr>
          <p:cNvPicPr>
            <a:picLocks noChangeAspect="1"/>
          </p:cNvPicPr>
          <p:nvPr userDrawn="1"/>
        </p:nvPicPr>
        <p:blipFill>
          <a:blip r:embed="rId2"/>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10965090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93202-ABC8-43FB-AC03-1A7B67092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198649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a:p>
        </p:txBody>
      </p:sp>
      <p:grpSp>
        <p:nvGrpSpPr>
          <p:cNvPr id="10" name="Guidance note">
            <a:extLst>
              <a:ext uri="{FF2B5EF4-FFF2-40B4-BE49-F238E27FC236}">
                <a16:creationId xmlns:a16="http://schemas.microsoft.com/office/drawing/2014/main" id="{632E5E5C-A081-4838-96EC-2018DFBEF9DF}"/>
              </a:ext>
            </a:extLst>
          </p:cNvPr>
          <p:cNvGrpSpPr/>
          <p:nvPr userDrawn="1"/>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5039916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4F340-DC34-40A9-AAD0-1975F2301B87}"/>
              </a:ext>
            </a:extLst>
          </p:cNvPr>
          <p:cNvSpPr>
            <a:spLocks noGrp="1"/>
          </p:cNvSpPr>
          <p:nvPr>
            <p:ph type="title"/>
          </p:nvPr>
        </p:nvSpPr>
        <p:spPr/>
        <p:txBody>
          <a:bodyPr/>
          <a:lstStyle/>
          <a:p>
            <a:r>
              <a:rPr lang="en-US"/>
              <a:t>Click to edit Master title style</a:t>
            </a:r>
            <a:endParaRPr lang="en-GB"/>
          </a:p>
        </p:txBody>
      </p:sp>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4" name="Guidance note">
            <a:extLst>
              <a:ext uri="{FF2B5EF4-FFF2-40B4-BE49-F238E27FC236}">
                <a16:creationId xmlns:a16="http://schemas.microsoft.com/office/drawing/2014/main" id="{F560F193-177D-4395-B1BB-A42292DDC151}"/>
              </a:ext>
            </a:extLst>
          </p:cNvPr>
          <p:cNvGrpSpPr/>
          <p:nvPr userDrawn="1"/>
        </p:nvGrpSpPr>
        <p:grpSpPr>
          <a:xfrm>
            <a:off x="12514259" y="-2970"/>
            <a:ext cx="2576459" cy="3511851"/>
            <a:chOff x="10925224" y="286"/>
            <a:chExt cx="2952328" cy="4024464"/>
          </a:xfrm>
        </p:grpSpPr>
        <p:sp>
          <p:nvSpPr>
            <p:cNvPr id="25" name="Guidance note">
              <a:extLst>
                <a:ext uri="{FF2B5EF4-FFF2-40B4-BE49-F238E27FC236}">
                  <a16:creationId xmlns:a16="http://schemas.microsoft.com/office/drawing/2014/main" id="{AF29402F-0B0A-44A5-B263-0C8C1E5B7779}"/>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6" name="Group 25">
              <a:extLst>
                <a:ext uri="{FF2B5EF4-FFF2-40B4-BE49-F238E27FC236}">
                  <a16:creationId xmlns:a16="http://schemas.microsoft.com/office/drawing/2014/main" id="{75E3892D-FEFD-4962-9795-DC2F17463B75}"/>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7" name="Picture 3">
                <a:extLst>
                  <a:ext uri="{FF2B5EF4-FFF2-40B4-BE49-F238E27FC236}">
                    <a16:creationId xmlns:a16="http://schemas.microsoft.com/office/drawing/2014/main" id="{1EE9A39B-0904-456F-B59F-2F4E55120F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992D0BE-FA95-458F-8ED2-677D7AE90B42}"/>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4630688"/>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5" name="Guidance note">
            <a:extLst>
              <a:ext uri="{FF2B5EF4-FFF2-40B4-BE49-F238E27FC236}">
                <a16:creationId xmlns:a16="http://schemas.microsoft.com/office/drawing/2014/main" id="{8D58E090-A402-4396-9C34-AACC618598E9}"/>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9007DA49-FBBA-426F-8BA1-C45A5B9C3B51}"/>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7A2C458C-0867-42D1-96EC-960A20373E5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317CCC4E-121E-4D81-894F-BC8D76CF9C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FDB760BE-4E51-4DA4-A2FA-EA5369BB40F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920722625"/>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dirty="0"/>
              <a:t>INSERT PICTURE</a:t>
            </a:r>
          </a:p>
        </p:txBody>
      </p:sp>
      <p:grpSp>
        <p:nvGrpSpPr>
          <p:cNvPr id="22" name="Guidance note">
            <a:extLst>
              <a:ext uri="{FF2B5EF4-FFF2-40B4-BE49-F238E27FC236}">
                <a16:creationId xmlns:a16="http://schemas.microsoft.com/office/drawing/2014/main" id="{01782A72-73F6-4D14-8B35-52467DA934D1}"/>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BA2FA1E4-352E-4936-9547-427ED8A3A4D0}"/>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7CA143A2-801C-4CD0-8D12-326B73247494}"/>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5C9ED126-1C4E-4635-A8FB-BCBFE68F79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36520D67-05A8-460E-B163-63A8C5C3076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921907843"/>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5" name="Guidance note">
            <a:extLst>
              <a:ext uri="{FF2B5EF4-FFF2-40B4-BE49-F238E27FC236}">
                <a16:creationId xmlns:a16="http://schemas.microsoft.com/office/drawing/2014/main" id="{4C75A555-DA44-4479-9698-0614FBA84EB2}"/>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C63E074A-E363-483E-970D-D9D5B8E95E9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896FFC9E-ABDE-4220-B6F9-2A72B081BE11}"/>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783C9DE9-FE0B-4105-9B20-8A9F98F20D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02F88B-920A-4BBA-AA4D-ABF9A90CB5A1}"/>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26578491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8304000"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5" name="Guidance note">
            <a:extLst>
              <a:ext uri="{FF2B5EF4-FFF2-40B4-BE49-F238E27FC236}">
                <a16:creationId xmlns:a16="http://schemas.microsoft.com/office/drawing/2014/main" id="{8D653A98-CF56-446A-9721-D28CD48D3FD4}"/>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8C9C3EDE-A918-437D-A5D8-7697D56218D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5F3C91CB-65FA-4CDB-8765-78FFE5FC273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5C5CF7EE-ECFD-4A37-B9C3-BD2D0C0176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4A33F702-07EE-4E88-900B-16CB8EA2DA6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24120854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r>
              <a:rPr lang="en-GB" dirty="0"/>
              <a:t> </a:t>
            </a:r>
          </a:p>
        </p:txBody>
      </p:sp>
      <p:sp>
        <p:nvSpPr>
          <p:cNvPr id="2" name="Title 1">
            <a:extLst>
              <a:ext uri="{FF2B5EF4-FFF2-40B4-BE49-F238E27FC236}">
                <a16:creationId xmlns:a16="http://schemas.microsoft.com/office/drawing/2014/main" id="{0642CC84-39CD-4CBB-B3E7-E705009B80B3}"/>
              </a:ext>
            </a:extLst>
          </p:cNvPr>
          <p:cNvSpPr>
            <a:spLocks noGrp="1"/>
          </p:cNvSpPr>
          <p:nvPr>
            <p:ph type="title"/>
          </p:nvPr>
        </p:nvSpPr>
        <p:spPr/>
        <p:txBody>
          <a:bodyPr/>
          <a:lstStyle/>
          <a:p>
            <a:r>
              <a:rPr lang="en-US"/>
              <a:t>Click to edit Master title style</a:t>
            </a:r>
            <a:endParaRPr lang="en-GB"/>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2" name="Guidance note">
            <a:extLst>
              <a:ext uri="{FF2B5EF4-FFF2-40B4-BE49-F238E27FC236}">
                <a16:creationId xmlns:a16="http://schemas.microsoft.com/office/drawing/2014/main" id="{F6BD485F-7180-4CEC-839E-F9483AEAF584}"/>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F86419A7-5EC4-4AC8-BB23-375E60D2C6B7}"/>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A4B3781D-97B0-49DA-A922-2F4A49B5EEE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D16DEB41-48C9-4F3C-BCFC-0DDD665BFB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5625153F-0A02-4860-9759-AE6F2DB1F863}"/>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7997685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_Copy_Bullet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1BE0F4E-7F52-BF43-AF16-31579F5CC45F}"/>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8" name="Title 1">
            <a:extLst>
              <a:ext uri="{FF2B5EF4-FFF2-40B4-BE49-F238E27FC236}">
                <a16:creationId xmlns:a16="http://schemas.microsoft.com/office/drawing/2014/main" id="{5273F311-619C-EE41-937C-5749C9503E0D}"/>
              </a:ext>
            </a:extLst>
          </p:cNvPr>
          <p:cNvSpPr>
            <a:spLocks noGrp="1"/>
          </p:cNvSpPr>
          <p:nvPr>
            <p:ph type="title"/>
          </p:nvPr>
        </p:nvSpPr>
        <p:spPr>
          <a:xfrm>
            <a:off x="627025" y="560117"/>
            <a:ext cx="5043199" cy="1289948"/>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9" name="Text Placeholder 11">
            <a:extLst>
              <a:ext uri="{FF2B5EF4-FFF2-40B4-BE49-F238E27FC236}">
                <a16:creationId xmlns:a16="http://schemas.microsoft.com/office/drawing/2014/main" id="{40614858-C7E0-384B-835C-E29EEB6B5850}"/>
              </a:ext>
            </a:extLst>
          </p:cNvPr>
          <p:cNvSpPr>
            <a:spLocks noGrp="1"/>
          </p:cNvSpPr>
          <p:nvPr>
            <p:ph type="body" sz="quarter" idx="11"/>
          </p:nvPr>
        </p:nvSpPr>
        <p:spPr>
          <a:xfrm>
            <a:off x="627024" y="2410182"/>
            <a:ext cx="5043199" cy="2024936"/>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0" name="Text Placeholder 11">
            <a:extLst>
              <a:ext uri="{FF2B5EF4-FFF2-40B4-BE49-F238E27FC236}">
                <a16:creationId xmlns:a16="http://schemas.microsoft.com/office/drawing/2014/main" id="{09C47B6E-226B-D145-B819-97EEF7D88F7A}"/>
              </a:ext>
            </a:extLst>
          </p:cNvPr>
          <p:cNvSpPr>
            <a:spLocks noGrp="1"/>
          </p:cNvSpPr>
          <p:nvPr>
            <p:ph type="body" sz="quarter" idx="12"/>
          </p:nvPr>
        </p:nvSpPr>
        <p:spPr>
          <a:xfrm>
            <a:off x="627024" y="4595737"/>
            <a:ext cx="5043199" cy="228034"/>
          </a:xfrm>
          <a:prstGeom prst="rect">
            <a:avLst/>
          </a:prstGeom>
          <a:ln>
            <a:noFill/>
          </a:ln>
        </p:spPr>
        <p:txBody>
          <a:bodyPr/>
          <a:lstStyle>
            <a:lvl1pPr marL="0" indent="0">
              <a:buNone/>
              <a:defRPr sz="1200" b="1" i="1">
                <a:solidFill>
                  <a:srgbClr val="E75400"/>
                </a:solidFill>
                <a:latin typeface="Helvetica Neue LT Std 97 Black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2" name="Text Placeholder 11">
            <a:extLst>
              <a:ext uri="{FF2B5EF4-FFF2-40B4-BE49-F238E27FC236}">
                <a16:creationId xmlns:a16="http://schemas.microsoft.com/office/drawing/2014/main" id="{60F38ADB-7D45-C04A-9FF2-6847299BBE4E}"/>
              </a:ext>
            </a:extLst>
          </p:cNvPr>
          <p:cNvSpPr>
            <a:spLocks noGrp="1"/>
          </p:cNvSpPr>
          <p:nvPr>
            <p:ph type="body" sz="quarter" idx="13"/>
          </p:nvPr>
        </p:nvSpPr>
        <p:spPr>
          <a:xfrm>
            <a:off x="627023" y="4978510"/>
            <a:ext cx="5043199" cy="867691"/>
          </a:xfrm>
          <a:prstGeom prst="rect">
            <a:avLst/>
          </a:prstGeom>
          <a:ln>
            <a:noFill/>
          </a:ln>
        </p:spPr>
        <p:txBody>
          <a:bodyPr numCol="2"/>
          <a:lstStyle>
            <a:lvl1pPr marL="285750" indent="-2857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20201E"/>
                </a:solidFill>
                <a:latin typeface="Helvetica Neue LT Std 45 Light" panose="020B0403020202020204" pitchFamily="34" charset="0"/>
              </a:defRPr>
            </a:lvl3pPr>
            <a:lvl4pPr marL="1371566" indent="0">
              <a:buFont typeface="Arial" panose="020B0604020202020204" pitchFamily="34" charset="0"/>
              <a:buNone/>
              <a:defRPr sz="1400" b="0" i="0">
                <a:solidFill>
                  <a:srgbClr val="20201E"/>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1" name="Picture 10">
            <a:extLst>
              <a:ext uri="{FF2B5EF4-FFF2-40B4-BE49-F238E27FC236}">
                <a16:creationId xmlns:a16="http://schemas.microsoft.com/office/drawing/2014/main" id="{06368F39-CE94-4F4E-BC80-9950DABBFD3A}"/>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0533738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878C4F-BC10-44FA-BC77-6768BE68A2F6}"/>
              </a:ext>
            </a:extLst>
          </p:cNvPr>
          <p:cNvSpPr>
            <a:spLocks noGrp="1"/>
          </p:cNvSpPr>
          <p:nvPr>
            <p:ph type="title"/>
          </p:nvPr>
        </p:nvSpPr>
        <p:spPr/>
        <p:txBody>
          <a:bodyPr/>
          <a:lstStyle/>
          <a:p>
            <a:r>
              <a:rPr lang="en-US"/>
              <a:t>Click to edit Master title style</a:t>
            </a:r>
            <a:endParaRPr lang="en-GB"/>
          </a:p>
        </p:txBody>
      </p:sp>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7"/>
            <a:ext cx="7392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3" name="Guidance note">
            <a:extLst>
              <a:ext uri="{FF2B5EF4-FFF2-40B4-BE49-F238E27FC236}">
                <a16:creationId xmlns:a16="http://schemas.microsoft.com/office/drawing/2014/main" id="{C6220EA2-47DD-43D0-9331-5CA1710205F1}"/>
              </a:ext>
            </a:extLst>
          </p:cNvPr>
          <p:cNvGrpSpPr/>
          <p:nvPr userDrawn="1"/>
        </p:nvGrpSpPr>
        <p:grpSpPr>
          <a:xfrm>
            <a:off x="12514259" y="-2970"/>
            <a:ext cx="2576459" cy="3511851"/>
            <a:chOff x="10925224" y="286"/>
            <a:chExt cx="2952328" cy="4024464"/>
          </a:xfrm>
        </p:grpSpPr>
        <p:sp>
          <p:nvSpPr>
            <p:cNvPr id="24" name="Guidance note">
              <a:extLst>
                <a:ext uri="{FF2B5EF4-FFF2-40B4-BE49-F238E27FC236}">
                  <a16:creationId xmlns:a16="http://schemas.microsoft.com/office/drawing/2014/main" id="{2CF5DA98-8560-415B-8960-59469744CC96}"/>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5" name="Group 24">
              <a:extLst>
                <a:ext uri="{FF2B5EF4-FFF2-40B4-BE49-F238E27FC236}">
                  <a16:creationId xmlns:a16="http://schemas.microsoft.com/office/drawing/2014/main" id="{78E71987-5BD9-4DE7-9F3A-329F8F826E8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6" name="Picture 3">
                <a:extLst>
                  <a:ext uri="{FF2B5EF4-FFF2-40B4-BE49-F238E27FC236}">
                    <a16:creationId xmlns:a16="http://schemas.microsoft.com/office/drawing/2014/main" id="{FC9137C3-4121-48D7-AB68-03D7AA9055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7" name="Rounded Rectangle 20">
                <a:extLst>
                  <a:ext uri="{FF2B5EF4-FFF2-40B4-BE49-F238E27FC236}">
                    <a16:creationId xmlns:a16="http://schemas.microsoft.com/office/drawing/2014/main" id="{CD8F4824-0475-4119-BF77-90AE7EEC80E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179883770"/>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62524-0972-45E6-8233-6ABAD7F79AAC}"/>
              </a:ext>
            </a:extLst>
          </p:cNvPr>
          <p:cNvSpPr>
            <a:spLocks noGrp="1"/>
          </p:cNvSpPr>
          <p:nvPr>
            <p:ph type="title"/>
          </p:nvPr>
        </p:nvSpPr>
        <p:spPr/>
        <p:txBody>
          <a:bodyPr/>
          <a:lstStyle/>
          <a:p>
            <a:r>
              <a:rPr lang="en-US"/>
              <a:t>Click to edit Master title style</a:t>
            </a:r>
            <a:endParaRPr lang="en-GB"/>
          </a:p>
        </p:txBody>
      </p:sp>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grpSp>
        <p:nvGrpSpPr>
          <p:cNvPr id="25" name="Guidance note">
            <a:extLst>
              <a:ext uri="{FF2B5EF4-FFF2-40B4-BE49-F238E27FC236}">
                <a16:creationId xmlns:a16="http://schemas.microsoft.com/office/drawing/2014/main" id="{2B9602E7-D537-490B-9711-4C94A1263400}"/>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A260A4C8-FE16-4419-895F-1BDE2239A65A}"/>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2F154759-8702-4699-8D62-C0E5762F4453}"/>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1E7040CA-37E8-4B53-84A1-45C657E7F6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CAF4B175-7E0B-4F34-B662-4F63EA174C7D}"/>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306167133"/>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18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60960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5CA6738F-1383-4C63-86BC-6C31BCD1E25B}"/>
              </a:ext>
            </a:extLst>
          </p:cNvPr>
          <p:cNvSpPr>
            <a:spLocks noGrp="1"/>
          </p:cNvSpPr>
          <p:nvPr>
            <p:ph type="title"/>
          </p:nvPr>
        </p:nvSpPr>
        <p:spPr/>
        <p:txBody>
          <a:bodyPr/>
          <a:lstStyle/>
          <a:p>
            <a:r>
              <a:rPr lang="en-US"/>
              <a:t>Click to edit Master title style</a:t>
            </a:r>
            <a:endParaRPr lang="en-GB"/>
          </a:p>
        </p:txBody>
      </p:sp>
      <p:sp>
        <p:nvSpPr>
          <p:cNvPr id="16" name="Text Placeholder 3">
            <a:extLst>
              <a:ext uri="{FF2B5EF4-FFF2-40B4-BE49-F238E27FC236}">
                <a16:creationId xmlns:a16="http://schemas.microsoft.com/office/drawing/2014/main" id="{43E568BE-ED6A-426F-B0BF-A1453B694ED5}"/>
              </a:ext>
            </a:extLst>
          </p:cNvPr>
          <p:cNvSpPr>
            <a:spLocks noGrp="1"/>
          </p:cNvSpPr>
          <p:nvPr>
            <p:ph type="body" sz="quarter" idx="16"/>
          </p:nvPr>
        </p:nvSpPr>
        <p:spPr>
          <a:xfrm>
            <a:off x="432000"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5DFB1F70-48E1-4D12-8CA0-02A9C5416B1F}"/>
              </a:ext>
            </a:extLst>
          </p:cNvPr>
          <p:cNvSpPr>
            <a:spLocks noGrp="1"/>
          </p:cNvSpPr>
          <p:nvPr>
            <p:ph type="body" sz="quarter" idx="17"/>
          </p:nvPr>
        </p:nvSpPr>
        <p:spPr>
          <a:xfrm>
            <a:off x="6337516"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8" name="Guidance note">
            <a:extLst>
              <a:ext uri="{FF2B5EF4-FFF2-40B4-BE49-F238E27FC236}">
                <a16:creationId xmlns:a16="http://schemas.microsoft.com/office/drawing/2014/main" id="{053114DC-01DB-4172-B8B9-F6B6A6FCE692}"/>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8DE85B72-FB6B-447A-858A-8B2561669D13}"/>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D8EC3649-E284-438D-8DCD-251552F54088}"/>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C3022D24-E487-419A-9A91-5B6F67F14A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FD7CCEB6-B56D-45AB-9808-6E4B26A114F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563959587"/>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2000"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42068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6" name="Picture Placeholder 2">
            <a:extLst>
              <a:ext uri="{FF2B5EF4-FFF2-40B4-BE49-F238E27FC236}">
                <a16:creationId xmlns:a16="http://schemas.microsoft.com/office/drawing/2014/main" id="{D515E9C8-29C7-4E99-B52B-311CBD5099A9}"/>
              </a:ext>
            </a:extLst>
          </p:cNvPr>
          <p:cNvSpPr>
            <a:spLocks noGrp="1"/>
          </p:cNvSpPr>
          <p:nvPr>
            <p:ph type="pic" sz="quarter" idx="24" hasCustomPrompt="1"/>
          </p:nvPr>
        </p:nvSpPr>
        <p:spPr>
          <a:xfrm>
            <a:off x="79817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20" name="Text Placeholder 3">
            <a:extLst>
              <a:ext uri="{FF2B5EF4-FFF2-40B4-BE49-F238E27FC236}">
                <a16:creationId xmlns:a16="http://schemas.microsoft.com/office/drawing/2014/main" id="{4656B92A-8C51-4E0D-9A97-008FAAAA53E0}"/>
              </a:ext>
            </a:extLst>
          </p:cNvPr>
          <p:cNvSpPr>
            <a:spLocks noGrp="1"/>
          </p:cNvSpPr>
          <p:nvPr>
            <p:ph type="body" sz="quarter" idx="16"/>
          </p:nvPr>
        </p:nvSpPr>
        <p:spPr>
          <a:xfrm>
            <a:off x="432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3">
            <a:extLst>
              <a:ext uri="{FF2B5EF4-FFF2-40B4-BE49-F238E27FC236}">
                <a16:creationId xmlns:a16="http://schemas.microsoft.com/office/drawing/2014/main" id="{EA95D6EE-CA00-40A4-BFBB-A0BB7573F2B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F93AEB12-C997-4994-99B9-11940CF7DB83}"/>
              </a:ext>
            </a:extLst>
          </p:cNvPr>
          <p:cNvSpPr>
            <a:spLocks noGrp="1"/>
          </p:cNvSpPr>
          <p:nvPr>
            <p:ph type="body" sz="quarter" idx="17"/>
          </p:nvPr>
        </p:nvSpPr>
        <p:spPr>
          <a:xfrm>
            <a:off x="8304000"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8" name="Guidance note">
            <a:extLst>
              <a:ext uri="{FF2B5EF4-FFF2-40B4-BE49-F238E27FC236}">
                <a16:creationId xmlns:a16="http://schemas.microsoft.com/office/drawing/2014/main" id="{8F8469DA-FA58-409C-8234-09A9506501FE}"/>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6E771D66-7805-4DEB-BB9F-EF1E415C56EB}"/>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7B72BB3D-7A3C-4684-BA16-7BC42D52C71E}"/>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54391195-43CF-4392-A400-03DECFD12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36A616C4-BC31-4393-8C8F-08A21867FCE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3" name="Title 2">
            <a:extLst>
              <a:ext uri="{FF2B5EF4-FFF2-40B4-BE49-F238E27FC236}">
                <a16:creationId xmlns:a16="http://schemas.microsoft.com/office/drawing/2014/main" id="{1EED9939-C8C6-4136-91EB-74F055235F9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36778563"/>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62847" y="1414222"/>
            <a:ext cx="11266309" cy="20926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6E983326-A70F-4957-A3ED-4F2F5C0FDFC2}" type="datetime1">
              <a:rPr lang="en-US"/>
              <a:pPr>
                <a:defRPr/>
              </a:pPr>
              <a:t>10/29/2020</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5D2633F-9E37-4580-B197-799DECA1053C}" type="slidenum">
              <a:rPr lang="en-US" altLang="en-US"/>
              <a:pPr>
                <a:defRPr/>
              </a:pPr>
              <a:t>‹#›</a:t>
            </a:fld>
            <a:endParaRPr lang="en-US" altLang="en-US" dirty="0"/>
          </a:p>
        </p:txBody>
      </p:sp>
    </p:spTree>
    <p:extLst>
      <p:ext uri="{BB962C8B-B14F-4D97-AF65-F5344CB8AC3E}">
        <p14:creationId xmlns:p14="http://schemas.microsoft.com/office/powerpoint/2010/main" val="16778617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9"/>
            <a:ext cx="9144000" cy="369332"/>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E4360EE5-B971-48D2-BEA4-C832F4090A87}" type="datetimeFigureOut">
              <a:rPr lang="en-GB" smtClean="0"/>
              <a:t>29/10/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63742C98-D2F8-4429-B0F8-A9187C275404}" type="slidenum">
              <a:rPr lang="en-GB" smtClean="0"/>
              <a:t>‹#›</a:t>
            </a:fld>
            <a:endParaRPr lang="en-GB" dirty="0"/>
          </a:p>
        </p:txBody>
      </p:sp>
    </p:spTree>
    <p:extLst>
      <p:ext uri="{BB962C8B-B14F-4D97-AF65-F5344CB8AC3E}">
        <p14:creationId xmlns:p14="http://schemas.microsoft.com/office/powerpoint/2010/main" val="5986284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590"/>
          <a:stretch/>
        </p:blipFill>
        <p:spPr>
          <a:xfrm>
            <a:off x="0" y="1"/>
            <a:ext cx="12192000" cy="6863379"/>
          </a:xfrm>
          <a:prstGeom prst="rect">
            <a:avLst/>
          </a:prstGeom>
        </p:spPr>
      </p:pic>
      <p:sp>
        <p:nvSpPr>
          <p:cNvPr id="8" name="Rectangle 7"/>
          <p:cNvSpPr/>
          <p:nvPr userDrawn="1"/>
        </p:nvSpPr>
        <p:spPr>
          <a:xfrm>
            <a:off x="-71021" y="1331651"/>
            <a:ext cx="12263021" cy="50158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 name="Title 1"/>
          <p:cNvSpPr>
            <a:spLocks noGrp="1"/>
          </p:cNvSpPr>
          <p:nvPr>
            <p:ph type="title" hasCustomPrompt="1"/>
          </p:nvPr>
        </p:nvSpPr>
        <p:spPr>
          <a:xfrm>
            <a:off x="858417" y="6418496"/>
            <a:ext cx="11011027" cy="365125"/>
          </a:xfrm>
          <a:prstGeom prst="rect">
            <a:avLst/>
          </a:prstGeom>
        </p:spPr>
        <p:txBody>
          <a:bodyPr/>
          <a:lstStyle>
            <a:lvl1pPr marL="0" marR="0" indent="0" algn="l" defTabSz="914377" rtl="0" eaLnBrk="1" fontAlgn="auto" latinLnBrk="0" hangingPunct="1">
              <a:lnSpc>
                <a:spcPct val="90000"/>
              </a:lnSpc>
              <a:spcBef>
                <a:spcPct val="0"/>
              </a:spcBef>
              <a:spcAft>
                <a:spcPts val="0"/>
              </a:spcAft>
              <a:buClrTx/>
              <a:buSzTx/>
              <a:buFontTx/>
              <a:buNone/>
              <a:tabLst/>
              <a:defRPr sz="1600" baseline="0">
                <a:solidFill>
                  <a:schemeClr val="bg1"/>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lang="en-US"/>
              <a:t>Add presentation title here</a:t>
            </a:r>
            <a:endParaRPr lang="en-GB"/>
          </a:p>
        </p:txBody>
      </p:sp>
      <p:sp>
        <p:nvSpPr>
          <p:cNvPr id="9" name="Slide Number Placeholder 6"/>
          <p:cNvSpPr>
            <a:spLocks noGrp="1"/>
          </p:cNvSpPr>
          <p:nvPr>
            <p:ph type="sldNum" sz="quarter" idx="12"/>
          </p:nvPr>
        </p:nvSpPr>
        <p:spPr>
          <a:xfrm>
            <a:off x="225313" y="6418496"/>
            <a:ext cx="621091" cy="365125"/>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stStyle>
          <a:p>
            <a:fld id="{66F0D756-37D6-48FF-A3A3-FEAB76692BFF}" type="slidenum">
              <a:rPr lang="en-GB" smtClean="0"/>
              <a:pPr/>
              <a:t>‹#›</a:t>
            </a:fld>
            <a:endParaRPr lang="en-GB" dirty="0"/>
          </a:p>
        </p:txBody>
      </p:sp>
    </p:spTree>
    <p:extLst>
      <p:ext uri="{BB962C8B-B14F-4D97-AF65-F5344CB8AC3E}">
        <p14:creationId xmlns:p14="http://schemas.microsoft.com/office/powerpoint/2010/main" val="237030428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INTR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11FBAF8-F67E-8C4F-93C7-5212A8CCAF34}"/>
              </a:ext>
            </a:extLst>
          </p:cNvPr>
          <p:cNvSpPr/>
          <p:nvPr/>
        </p:nvSpPr>
        <p:spPr>
          <a:xfrm>
            <a:off x="1593130" y="1777993"/>
            <a:ext cx="7286919" cy="3331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AF27D59-4236-2040-B62F-72DA9623B435}"/>
              </a:ext>
            </a:extLst>
          </p:cNvPr>
          <p:cNvSpPr txBox="1">
            <a:spLocks/>
          </p:cNvSpPr>
          <p:nvPr/>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dirty="0"/>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1697037" y="3289300"/>
            <a:ext cx="7079317" cy="1677988"/>
          </a:xfrm>
          <a:prstGeom prst="rect">
            <a:avLst/>
          </a:prstGeom>
        </p:spPr>
        <p:txBody>
          <a:bodyPr/>
          <a:lstStyle>
            <a:lvl1pPr marL="0" indent="0">
              <a:buNone/>
              <a:defRPr sz="1600" b="0" i="0">
                <a:solidFill>
                  <a:srgbClr val="FFBF22"/>
                </a:solidFill>
                <a:latin typeface="Helvetica Neue LT Std 45 Light" panose="020B0403020202020204" pitchFamily="34" charset="0"/>
              </a:defRPr>
            </a:lvl1pPr>
            <a:lvl2pPr marL="457189" indent="0">
              <a:buNone/>
              <a:defRPr sz="1800" b="0" i="0">
                <a:solidFill>
                  <a:srgbClr val="E8BC28"/>
                </a:solidFill>
                <a:latin typeface="Helvetica Neue LT Std 45 Light" panose="020B0403020202020204" pitchFamily="34" charset="0"/>
              </a:defRPr>
            </a:lvl2pPr>
            <a:lvl3pPr marL="914377" indent="0">
              <a:buNone/>
              <a:defRPr sz="1600" b="0" i="0">
                <a:solidFill>
                  <a:srgbClr val="E8BC28"/>
                </a:solidFill>
                <a:latin typeface="Helvetica Neue LT Std 45 Light" panose="020B0403020202020204" pitchFamily="34" charset="0"/>
              </a:defRPr>
            </a:lvl3pPr>
            <a:lvl4pPr marL="1371566" indent="0">
              <a:buNone/>
              <a:defRPr sz="1400" b="0" i="0">
                <a:solidFill>
                  <a:srgbClr val="E8BC28"/>
                </a:solidFill>
                <a:latin typeface="Helvetica Neue LT Std 45 Light" panose="020B0403020202020204" pitchFamily="34" charset="0"/>
              </a:defRPr>
            </a:lvl4pPr>
            <a:lvl5pPr marL="1828755" indent="0">
              <a:buNone/>
              <a:defRPr sz="1400" b="0" i="0">
                <a:solidFill>
                  <a:srgbClr val="E8BC28"/>
                </a:solidFill>
                <a:latin typeface="Helvetica Neue LT Std 45 Light" panose="020B0403020202020204" pitchFamily="34" charset="0"/>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1697037" y="1885223"/>
            <a:ext cx="7079318" cy="1227137"/>
          </a:xfrm>
          <a:prstGeom prst="rect">
            <a:avLst/>
          </a:prstGeom>
        </p:spPr>
        <p:txBody>
          <a:bodyPr/>
          <a:lstStyle>
            <a:lvl1pPr marL="0" indent="0">
              <a:buNone/>
              <a:defRPr sz="4800" b="0" i="0">
                <a:solidFill>
                  <a:srgbClr val="FFBF22"/>
                </a:solidFill>
                <a:latin typeface="Helvetica Neue LT Std 65 Medium" panose="020B0604020202020204" pitchFamily="34" charset="0"/>
              </a:defRPr>
            </a:lvl1pPr>
          </a:lstStyle>
          <a:p>
            <a:pPr lvl="0"/>
            <a:r>
              <a:rPr lang="en-GB" dirty="0"/>
              <a:t>Click to edit Master text styles</a:t>
            </a:r>
          </a:p>
        </p:txBody>
      </p:sp>
      <p:grpSp>
        <p:nvGrpSpPr>
          <p:cNvPr id="2" name="Group 1">
            <a:extLst>
              <a:ext uri="{FF2B5EF4-FFF2-40B4-BE49-F238E27FC236}">
                <a16:creationId xmlns:a16="http://schemas.microsoft.com/office/drawing/2014/main" id="{131008A5-1E2A-D74A-A5EA-31B620D704E1}"/>
              </a:ext>
            </a:extLst>
          </p:cNvPr>
          <p:cNvGrpSpPr/>
          <p:nvPr userDrawn="1"/>
        </p:nvGrpSpPr>
        <p:grpSpPr>
          <a:xfrm>
            <a:off x="0" y="0"/>
            <a:ext cx="12192000" cy="6858000"/>
            <a:chOff x="0" y="0"/>
            <a:chExt cx="12192000" cy="6858000"/>
          </a:xfrm>
        </p:grpSpPr>
        <p:pic>
          <p:nvPicPr>
            <p:cNvPr id="7" name="Picture 6" descr="A close up of a cable&#10;&#10;Description automatically generated">
              <a:extLst>
                <a:ext uri="{FF2B5EF4-FFF2-40B4-BE49-F238E27FC236}">
                  <a16:creationId xmlns:a16="http://schemas.microsoft.com/office/drawing/2014/main" id="{5404E37C-C7FD-044A-9344-97CB07453AF2}"/>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Effect>
                        <a14:brightnessContrast contrast="20000"/>
                      </a14:imgEffect>
                    </a14:imgLayer>
                  </a14:imgProps>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FDCDE178-F199-F04B-AF12-FB14043FCC5F}"/>
                </a:ext>
              </a:extLst>
            </p:cNvPr>
            <p:cNvPicPr>
              <a:picLocks noChangeAspect="1"/>
            </p:cNvPicPr>
            <p:nvPr userDrawn="1"/>
          </p:nvPicPr>
          <p:blipFill>
            <a:blip r:embed="rId4"/>
            <a:stretch>
              <a:fillRect/>
            </a:stretch>
          </p:blipFill>
          <p:spPr>
            <a:xfrm>
              <a:off x="0" y="5816600"/>
              <a:ext cx="12192000" cy="1041400"/>
            </a:xfrm>
            <a:prstGeom prst="rect">
              <a:avLst/>
            </a:prstGeom>
          </p:spPr>
        </p:pic>
      </p:grpSp>
    </p:spTree>
    <p:extLst>
      <p:ext uri="{BB962C8B-B14F-4D97-AF65-F5344CB8AC3E}">
        <p14:creationId xmlns:p14="http://schemas.microsoft.com/office/powerpoint/2010/main" val="216589209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BCE18BB-8A9A-4230-868D-0996713794E9}"/>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3" name="Text Placeholder 2">
            <a:extLst>
              <a:ext uri="{FF2B5EF4-FFF2-40B4-BE49-F238E27FC236}">
                <a16:creationId xmlns:a16="http://schemas.microsoft.com/office/drawing/2014/main" id="{3A043140-9E20-47E5-ADE6-D31C09457807}"/>
              </a:ext>
            </a:extLst>
          </p:cNvPr>
          <p:cNvSpPr>
            <a:spLocks noGrp="1"/>
          </p:cNvSpPr>
          <p:nvPr>
            <p:ph type="body" sz="quarter" idx="15"/>
          </p:nvPr>
        </p:nvSpPr>
        <p:spPr>
          <a:xfrm>
            <a:off x="431800" y="1416001"/>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6" name="Text Placeholder 2">
            <a:extLst>
              <a:ext uri="{FF2B5EF4-FFF2-40B4-BE49-F238E27FC236}">
                <a16:creationId xmlns:a16="http://schemas.microsoft.com/office/drawing/2014/main" id="{1825EDD5-C8D0-479D-8200-3E2F103CDD2A}"/>
              </a:ext>
            </a:extLst>
          </p:cNvPr>
          <p:cNvSpPr>
            <a:spLocks noGrp="1"/>
          </p:cNvSpPr>
          <p:nvPr>
            <p:ph type="body" sz="quarter" idx="16"/>
          </p:nvPr>
        </p:nvSpPr>
        <p:spPr>
          <a:xfrm>
            <a:off x="431800" y="1791735"/>
            <a:ext cx="7391400"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98FBF951-2FE8-4B4E-8C56-DDECA1E6F8E1}"/>
              </a:ext>
            </a:extLst>
          </p:cNvPr>
          <p:cNvSpPr/>
          <p:nvPr userDrawn="1"/>
        </p:nvSpPr>
        <p:spPr>
          <a:xfrm>
            <a:off x="12514257" y="-2970"/>
            <a:ext cx="2576459" cy="4130221"/>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a:p>
            <a:pPr>
              <a:spcAft>
                <a:spcPts val="136"/>
              </a:spcAft>
            </a:pPr>
            <a:r>
              <a:rPr lang="en-GB" sz="849" kern="1200" noProof="0" dirty="0">
                <a:solidFill>
                  <a:schemeClr val="bg1">
                    <a:lumMod val="50000"/>
                  </a:schemeClr>
                </a:solidFill>
                <a:latin typeface="+mn-lt"/>
                <a:ea typeface="+mn-ea"/>
                <a:cs typeface="+mn-cs"/>
              </a:rPr>
              <a:t>When you have placed your image you may need to change the colour of the text so it can be seen against the image. This can be changed to dark grey or white.</a:t>
            </a:r>
          </a:p>
        </p:txBody>
      </p:sp>
      <p:sp>
        <p:nvSpPr>
          <p:cNvPr id="7" name="Rectangle 6">
            <a:hlinkClick r:id="rId2"/>
            <a:extLst>
              <a:ext uri="{FF2B5EF4-FFF2-40B4-BE49-F238E27FC236}">
                <a16:creationId xmlns:a16="http://schemas.microsoft.com/office/drawing/2014/main" id="{0A0E5D64-357E-499F-BEC7-89044AF1284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3" name="Picture 12">
            <a:extLst>
              <a:ext uri="{FF2B5EF4-FFF2-40B4-BE49-F238E27FC236}">
                <a16:creationId xmlns:a16="http://schemas.microsoft.com/office/drawing/2014/main" id="{DC0E0B6B-9082-4BDB-A555-BA6DEB512DD5}"/>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4" name="Title 3">
            <a:extLst>
              <a:ext uri="{FF2B5EF4-FFF2-40B4-BE49-F238E27FC236}">
                <a16:creationId xmlns:a16="http://schemas.microsoft.com/office/drawing/2014/main" id="{85FE02F7-EA91-42A2-AC0B-ADF0B456DEC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dirty="0"/>
          </a:p>
        </p:txBody>
      </p:sp>
    </p:spTree>
    <p:extLst>
      <p:ext uri="{BB962C8B-B14F-4D97-AF65-F5344CB8AC3E}">
        <p14:creationId xmlns:p14="http://schemas.microsoft.com/office/powerpoint/2010/main" val="2071212501"/>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Key message lef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D4D86A5-6CC8-471F-8BD3-04C9F0CDCDD9}"/>
              </a:ext>
            </a:extLst>
          </p:cNvPr>
          <p:cNvSpPr>
            <a:spLocks noGrp="1"/>
          </p:cNvSpPr>
          <p:nvPr>
            <p:ph type="pic" sz="quarter" idx="16" hasCustomPrompt="1"/>
          </p:nvPr>
        </p:nvSpPr>
        <p:spPr>
          <a:xfrm>
            <a:off x="2706879" y="0"/>
            <a:ext cx="9485121" cy="6857037"/>
          </a:xfrm>
          <a:custGeom>
            <a:avLst/>
            <a:gdLst>
              <a:gd name="connsiteX0" fmla="*/ 925004 w 7113841"/>
              <a:gd name="connsiteY0" fmla="*/ 0 h 5142778"/>
              <a:gd name="connsiteX1" fmla="*/ 7113841 w 7113841"/>
              <a:gd name="connsiteY1" fmla="*/ 0 h 5142778"/>
              <a:gd name="connsiteX2" fmla="*/ 7113841 w 7113841"/>
              <a:gd name="connsiteY2" fmla="*/ 4345781 h 5142778"/>
              <a:gd name="connsiteX3" fmla="*/ 7113839 w 7113841"/>
              <a:gd name="connsiteY3" fmla="*/ 4345781 h 5142778"/>
              <a:gd name="connsiteX4" fmla="*/ 7113839 w 7113841"/>
              <a:gd name="connsiteY4" fmla="*/ 4344165 h 5142778"/>
              <a:gd name="connsiteX5" fmla="*/ 7065051 w 7113841"/>
              <a:gd name="connsiteY5" fmla="*/ 4326824 h 5142778"/>
              <a:gd name="connsiteX6" fmla="*/ 7016980 w 7113841"/>
              <a:gd name="connsiteY6" fmla="*/ 4310591 h 5142778"/>
              <a:gd name="connsiteX7" fmla="*/ 6969613 w 7113841"/>
              <a:gd name="connsiteY7" fmla="*/ 4295447 h 5142778"/>
              <a:gd name="connsiteX8" fmla="*/ 6922939 w 7113841"/>
              <a:gd name="connsiteY8" fmla="*/ 4281374 h 5142778"/>
              <a:gd name="connsiteX9" fmla="*/ 6876941 w 7113841"/>
              <a:gd name="connsiteY9" fmla="*/ 4268353 h 5142778"/>
              <a:gd name="connsiteX10" fmla="*/ 6831609 w 7113841"/>
              <a:gd name="connsiteY10" fmla="*/ 4256365 h 5142778"/>
              <a:gd name="connsiteX11" fmla="*/ 6786928 w 7113841"/>
              <a:gd name="connsiteY11" fmla="*/ 4245394 h 5142778"/>
              <a:gd name="connsiteX12" fmla="*/ 6742887 w 7113841"/>
              <a:gd name="connsiteY12" fmla="*/ 4235421 h 5142778"/>
              <a:gd name="connsiteX13" fmla="*/ 6699472 w 7113841"/>
              <a:gd name="connsiteY13" fmla="*/ 4226427 h 5142778"/>
              <a:gd name="connsiteX14" fmla="*/ 6656669 w 7113841"/>
              <a:gd name="connsiteY14" fmla="*/ 4218394 h 5142778"/>
              <a:gd name="connsiteX15" fmla="*/ 6614465 w 7113841"/>
              <a:gd name="connsiteY15" fmla="*/ 4211304 h 5142778"/>
              <a:gd name="connsiteX16" fmla="*/ 6572851 w 7113841"/>
              <a:gd name="connsiteY16" fmla="*/ 4205138 h 5142778"/>
              <a:gd name="connsiteX17" fmla="*/ 6552259 w 7113841"/>
              <a:gd name="connsiteY17" fmla="*/ 4202397 h 5142778"/>
              <a:gd name="connsiteX18" fmla="*/ 6531808 w 7113841"/>
              <a:gd name="connsiteY18" fmla="*/ 4199880 h 5142778"/>
              <a:gd name="connsiteX19" fmla="*/ 6511499 w 7113841"/>
              <a:gd name="connsiteY19" fmla="*/ 4197584 h 5142778"/>
              <a:gd name="connsiteX20" fmla="*/ 6491327 w 7113841"/>
              <a:gd name="connsiteY20" fmla="*/ 4195509 h 5142778"/>
              <a:gd name="connsiteX21" fmla="*/ 6471293 w 7113841"/>
              <a:gd name="connsiteY21" fmla="*/ 4193650 h 5142778"/>
              <a:gd name="connsiteX22" fmla="*/ 6451393 w 7113841"/>
              <a:gd name="connsiteY22" fmla="*/ 4192007 h 5142778"/>
              <a:gd name="connsiteX23" fmla="*/ 6431629 w 7113841"/>
              <a:gd name="connsiteY23" fmla="*/ 4190577 h 5142778"/>
              <a:gd name="connsiteX24" fmla="*/ 6411994 w 7113841"/>
              <a:gd name="connsiteY24" fmla="*/ 4189358 h 5142778"/>
              <a:gd name="connsiteX25" fmla="*/ 6392492 w 7113841"/>
              <a:gd name="connsiteY25" fmla="*/ 4188346 h 5142778"/>
              <a:gd name="connsiteX26" fmla="*/ 6373117 w 7113841"/>
              <a:gd name="connsiteY26" fmla="*/ 4187541 h 5142778"/>
              <a:gd name="connsiteX27" fmla="*/ 6353871 w 7113841"/>
              <a:gd name="connsiteY27" fmla="*/ 4186940 h 5142778"/>
              <a:gd name="connsiteX28" fmla="*/ 6334749 w 7113841"/>
              <a:gd name="connsiteY28" fmla="*/ 4186540 h 5142778"/>
              <a:gd name="connsiteX29" fmla="*/ 6315752 w 7113841"/>
              <a:gd name="connsiteY29" fmla="*/ 4186339 h 5142778"/>
              <a:gd name="connsiteX30" fmla="*/ 6296876 w 7113841"/>
              <a:gd name="connsiteY30" fmla="*/ 4186336 h 5142778"/>
              <a:gd name="connsiteX31" fmla="*/ 6278122 w 7113841"/>
              <a:gd name="connsiteY31" fmla="*/ 4186526 h 5142778"/>
              <a:gd name="connsiteX32" fmla="*/ 6259485 w 7113841"/>
              <a:gd name="connsiteY32" fmla="*/ 4186909 h 5142778"/>
              <a:gd name="connsiteX33" fmla="*/ 6240968 w 7113841"/>
              <a:gd name="connsiteY33" fmla="*/ 4187483 h 5142778"/>
              <a:gd name="connsiteX34" fmla="*/ 6222565 w 7113841"/>
              <a:gd name="connsiteY34" fmla="*/ 4188243 h 5142778"/>
              <a:gd name="connsiteX35" fmla="*/ 6204277 w 7113841"/>
              <a:gd name="connsiteY35" fmla="*/ 4189190 h 5142778"/>
              <a:gd name="connsiteX36" fmla="*/ 6186101 w 7113841"/>
              <a:gd name="connsiteY36" fmla="*/ 4190320 h 5142778"/>
              <a:gd name="connsiteX37" fmla="*/ 6168036 w 7113841"/>
              <a:gd name="connsiteY37" fmla="*/ 4191630 h 5142778"/>
              <a:gd name="connsiteX38" fmla="*/ 6150080 w 7113841"/>
              <a:gd name="connsiteY38" fmla="*/ 4193119 h 5142778"/>
              <a:gd name="connsiteX39" fmla="*/ 6132232 w 7113841"/>
              <a:gd name="connsiteY39" fmla="*/ 4194785 h 5142778"/>
              <a:gd name="connsiteX40" fmla="*/ 6114490 w 7113841"/>
              <a:gd name="connsiteY40" fmla="*/ 4196625 h 5142778"/>
              <a:gd name="connsiteX41" fmla="*/ 6096852 w 7113841"/>
              <a:gd name="connsiteY41" fmla="*/ 4198636 h 5142778"/>
              <a:gd name="connsiteX42" fmla="*/ 6079317 w 7113841"/>
              <a:gd name="connsiteY42" fmla="*/ 4200817 h 5142778"/>
              <a:gd name="connsiteX43" fmla="*/ 6061883 w 7113841"/>
              <a:gd name="connsiteY43" fmla="*/ 4203166 h 5142778"/>
              <a:gd name="connsiteX44" fmla="*/ 6044549 w 7113841"/>
              <a:gd name="connsiteY44" fmla="*/ 4205679 h 5142778"/>
              <a:gd name="connsiteX45" fmla="*/ 6027313 w 7113841"/>
              <a:gd name="connsiteY45" fmla="*/ 4208355 h 5142778"/>
              <a:gd name="connsiteX46" fmla="*/ 6010172 w 7113841"/>
              <a:gd name="connsiteY46" fmla="*/ 4211191 h 5142778"/>
              <a:gd name="connsiteX47" fmla="*/ 5976173 w 7113841"/>
              <a:gd name="connsiteY47" fmla="*/ 4217335 h 5142778"/>
              <a:gd name="connsiteX48" fmla="*/ 5942540 w 7113841"/>
              <a:gd name="connsiteY48" fmla="*/ 4224094 h 5142778"/>
              <a:gd name="connsiteX49" fmla="*/ 5892747 w 7113841"/>
              <a:gd name="connsiteY49" fmla="*/ 4235344 h 5142778"/>
              <a:gd name="connsiteX50" fmla="*/ 5859970 w 7113841"/>
              <a:gd name="connsiteY50" fmla="*/ 4243558 h 5142778"/>
              <a:gd name="connsiteX51" fmla="*/ 5827512 w 7113841"/>
              <a:gd name="connsiteY51" fmla="*/ 4252322 h 5142778"/>
              <a:gd name="connsiteX52" fmla="*/ 5795362 w 7113841"/>
              <a:gd name="connsiteY52" fmla="*/ 4261618 h 5142778"/>
              <a:gd name="connsiteX53" fmla="*/ 5763504 w 7113841"/>
              <a:gd name="connsiteY53" fmla="*/ 4271428 h 5142778"/>
              <a:gd name="connsiteX54" fmla="*/ 5731928 w 7113841"/>
              <a:gd name="connsiteY54" fmla="*/ 4281734 h 5142778"/>
              <a:gd name="connsiteX55" fmla="*/ 5700619 w 7113841"/>
              <a:gd name="connsiteY55" fmla="*/ 4292517 h 5142778"/>
              <a:gd name="connsiteX56" fmla="*/ 5669565 w 7113841"/>
              <a:gd name="connsiteY56" fmla="*/ 4303758 h 5142778"/>
              <a:gd name="connsiteX57" fmla="*/ 5638752 w 7113841"/>
              <a:gd name="connsiteY57" fmla="*/ 4315440 h 5142778"/>
              <a:gd name="connsiteX58" fmla="*/ 5608167 w 7113841"/>
              <a:gd name="connsiteY58" fmla="*/ 4327545 h 5142778"/>
              <a:gd name="connsiteX59" fmla="*/ 5577799 w 7113841"/>
              <a:gd name="connsiteY59" fmla="*/ 4340054 h 5142778"/>
              <a:gd name="connsiteX60" fmla="*/ 5547632 w 7113841"/>
              <a:gd name="connsiteY60" fmla="*/ 4352948 h 5142778"/>
              <a:gd name="connsiteX61" fmla="*/ 5517655 w 7113841"/>
              <a:gd name="connsiteY61" fmla="*/ 4366210 h 5142778"/>
              <a:gd name="connsiteX62" fmla="*/ 5487855 w 7113841"/>
              <a:gd name="connsiteY62" fmla="*/ 4379822 h 5142778"/>
              <a:gd name="connsiteX63" fmla="*/ 5443456 w 7113841"/>
              <a:gd name="connsiteY63" fmla="*/ 4400854 h 5142778"/>
              <a:gd name="connsiteX64" fmla="*/ 5399381 w 7113841"/>
              <a:gd name="connsiteY64" fmla="*/ 4422570 h 5142778"/>
              <a:gd name="connsiteX65" fmla="*/ 5355585 w 7113841"/>
              <a:gd name="connsiteY65" fmla="*/ 4444908 h 5142778"/>
              <a:gd name="connsiteX66" fmla="*/ 5312025 w 7113841"/>
              <a:gd name="connsiteY66" fmla="*/ 4467805 h 5142778"/>
              <a:gd name="connsiteX67" fmla="*/ 5254235 w 7113841"/>
              <a:gd name="connsiteY67" fmla="*/ 4499099 h 5142778"/>
              <a:gd name="connsiteX68" fmla="*/ 5167962 w 7113841"/>
              <a:gd name="connsiteY68" fmla="*/ 4547383 h 5142778"/>
              <a:gd name="connsiteX69" fmla="*/ 4952295 w 7113841"/>
              <a:gd name="connsiteY69" fmla="*/ 4672140 h 5142778"/>
              <a:gd name="connsiteX70" fmla="*/ 4791671 w 7113841"/>
              <a:gd name="connsiteY70" fmla="*/ 4763822 h 5142778"/>
              <a:gd name="connsiteX71" fmla="*/ 4717297 w 7113841"/>
              <a:gd name="connsiteY71" fmla="*/ 4804607 h 5142778"/>
              <a:gd name="connsiteX72" fmla="*/ 4656988 w 7113841"/>
              <a:gd name="connsiteY72" fmla="*/ 4836560 h 5142778"/>
              <a:gd name="connsiteX73" fmla="*/ 4611217 w 7113841"/>
              <a:gd name="connsiteY73" fmla="*/ 4860036 h 5142778"/>
              <a:gd name="connsiteX74" fmla="*/ 4564933 w 7113841"/>
              <a:gd name="connsiteY74" fmla="*/ 4883024 h 5142778"/>
              <a:gd name="connsiteX75" fmla="*/ 4518093 w 7113841"/>
              <a:gd name="connsiteY75" fmla="*/ 4905462 h 5142778"/>
              <a:gd name="connsiteX76" fmla="*/ 4470653 w 7113841"/>
              <a:gd name="connsiteY76" fmla="*/ 4927290 h 5142778"/>
              <a:gd name="connsiteX77" fmla="*/ 4438671 w 7113841"/>
              <a:gd name="connsiteY77" fmla="*/ 4941472 h 5142778"/>
              <a:gd name="connsiteX78" fmla="*/ 4406390 w 7113841"/>
              <a:gd name="connsiteY78" fmla="*/ 4955337 h 5142778"/>
              <a:gd name="connsiteX79" fmla="*/ 4373797 w 7113841"/>
              <a:gd name="connsiteY79" fmla="*/ 4968866 h 5142778"/>
              <a:gd name="connsiteX80" fmla="*/ 4340879 w 7113841"/>
              <a:gd name="connsiteY80" fmla="*/ 4982041 h 5142778"/>
              <a:gd name="connsiteX81" fmla="*/ 4307622 w 7113841"/>
              <a:gd name="connsiteY81" fmla="*/ 4994845 h 5142778"/>
              <a:gd name="connsiteX82" fmla="*/ 4274014 w 7113841"/>
              <a:gd name="connsiteY82" fmla="*/ 5007258 h 5142778"/>
              <a:gd name="connsiteX83" fmla="*/ 4240041 w 7113841"/>
              <a:gd name="connsiteY83" fmla="*/ 5019263 h 5142778"/>
              <a:gd name="connsiteX84" fmla="*/ 4205691 w 7113841"/>
              <a:gd name="connsiteY84" fmla="*/ 5030841 h 5142778"/>
              <a:gd name="connsiteX85" fmla="*/ 4170950 w 7113841"/>
              <a:gd name="connsiteY85" fmla="*/ 5041974 h 5142778"/>
              <a:gd name="connsiteX86" fmla="*/ 4135806 w 7113841"/>
              <a:gd name="connsiteY86" fmla="*/ 5052643 h 5142778"/>
              <a:gd name="connsiteX87" fmla="*/ 4100246 w 7113841"/>
              <a:gd name="connsiteY87" fmla="*/ 5062831 h 5142778"/>
              <a:gd name="connsiteX88" fmla="*/ 4064256 w 7113841"/>
              <a:gd name="connsiteY88" fmla="*/ 5072519 h 5142778"/>
              <a:gd name="connsiteX89" fmla="*/ 4027823 w 7113841"/>
              <a:gd name="connsiteY89" fmla="*/ 5081689 h 5142778"/>
              <a:gd name="connsiteX90" fmla="*/ 3990935 w 7113841"/>
              <a:gd name="connsiteY90" fmla="*/ 5090323 h 5142778"/>
              <a:gd name="connsiteX91" fmla="*/ 3953578 w 7113841"/>
              <a:gd name="connsiteY91" fmla="*/ 5098402 h 5142778"/>
              <a:gd name="connsiteX92" fmla="*/ 3915739 w 7113841"/>
              <a:gd name="connsiteY92" fmla="*/ 5105908 h 5142778"/>
              <a:gd name="connsiteX93" fmla="*/ 3877406 w 7113841"/>
              <a:gd name="connsiteY93" fmla="*/ 5112824 h 5142778"/>
              <a:gd name="connsiteX94" fmla="*/ 3838565 w 7113841"/>
              <a:gd name="connsiteY94" fmla="*/ 5119129 h 5142778"/>
              <a:gd name="connsiteX95" fmla="*/ 3799203 w 7113841"/>
              <a:gd name="connsiteY95" fmla="*/ 5124807 h 5142778"/>
              <a:gd name="connsiteX96" fmla="*/ 3759308 w 7113841"/>
              <a:gd name="connsiteY96" fmla="*/ 5129839 h 5142778"/>
              <a:gd name="connsiteX97" fmla="*/ 3718865 w 7113841"/>
              <a:gd name="connsiteY97" fmla="*/ 5134207 h 5142778"/>
              <a:gd name="connsiteX98" fmla="*/ 3677863 w 7113841"/>
              <a:gd name="connsiteY98" fmla="*/ 5137893 h 5142778"/>
              <a:gd name="connsiteX99" fmla="*/ 3636288 w 7113841"/>
              <a:gd name="connsiteY99" fmla="*/ 5140877 h 5142778"/>
              <a:gd name="connsiteX100" fmla="*/ 3600919 w 7113841"/>
              <a:gd name="connsiteY100" fmla="*/ 5142778 h 5142778"/>
              <a:gd name="connsiteX101" fmla="*/ 0 w 7113841"/>
              <a:gd name="connsiteY101" fmla="*/ 5142778 h 5142778"/>
              <a:gd name="connsiteX102" fmla="*/ 36355 w 7113841"/>
              <a:gd name="connsiteY102" fmla="*/ 5078128 h 5142778"/>
              <a:gd name="connsiteX103" fmla="*/ 85405 w 7113841"/>
              <a:gd name="connsiteY103" fmla="*/ 4991843 h 5142778"/>
              <a:gd name="connsiteX104" fmla="*/ 164324 w 7113841"/>
              <a:gd name="connsiteY104" fmla="*/ 4854690 h 5142778"/>
              <a:gd name="connsiteX105" fmla="*/ 381230 w 7113841"/>
              <a:gd name="connsiteY105" fmla="*/ 4481186 h 5142778"/>
              <a:gd name="connsiteX106" fmla="*/ 439596 w 7113841"/>
              <a:gd name="connsiteY106" fmla="*/ 4379712 h 5142778"/>
              <a:gd name="connsiteX107" fmla="*/ 478157 w 7113841"/>
              <a:gd name="connsiteY107" fmla="*/ 4312042 h 5142778"/>
              <a:gd name="connsiteX108" fmla="*/ 516383 w 7113841"/>
              <a:gd name="connsiteY108" fmla="*/ 4244314 h 5142778"/>
              <a:gd name="connsiteX109" fmla="*/ 544803 w 7113841"/>
              <a:gd name="connsiteY109" fmla="*/ 4193459 h 5142778"/>
              <a:gd name="connsiteX110" fmla="*/ 572987 w 7113841"/>
              <a:gd name="connsiteY110" fmla="*/ 4142538 h 5142778"/>
              <a:gd name="connsiteX111" fmla="*/ 591636 w 7113841"/>
              <a:gd name="connsiteY111" fmla="*/ 4108547 h 5142778"/>
              <a:gd name="connsiteX112" fmla="*/ 610163 w 7113841"/>
              <a:gd name="connsiteY112" fmla="*/ 4074516 h 5142778"/>
              <a:gd name="connsiteX113" fmla="*/ 628565 w 7113841"/>
              <a:gd name="connsiteY113" fmla="*/ 4040440 h 5142778"/>
              <a:gd name="connsiteX114" fmla="*/ 646835 w 7113841"/>
              <a:gd name="connsiteY114" fmla="*/ 4006315 h 5142778"/>
              <a:gd name="connsiteX115" fmla="*/ 664966 w 7113841"/>
              <a:gd name="connsiteY115" fmla="*/ 3972137 h 5142778"/>
              <a:gd name="connsiteX116" fmla="*/ 682954 w 7113841"/>
              <a:gd name="connsiteY116" fmla="*/ 3937902 h 5142778"/>
              <a:gd name="connsiteX117" fmla="*/ 691892 w 7113841"/>
              <a:gd name="connsiteY117" fmla="*/ 3920762 h 5142778"/>
              <a:gd name="connsiteX118" fmla="*/ 700791 w 7113841"/>
              <a:gd name="connsiteY118" fmla="*/ 3903606 h 5142778"/>
              <a:gd name="connsiteX119" fmla="*/ 709652 w 7113841"/>
              <a:gd name="connsiteY119" fmla="*/ 3886433 h 5142778"/>
              <a:gd name="connsiteX120" fmla="*/ 718472 w 7113841"/>
              <a:gd name="connsiteY120" fmla="*/ 3869243 h 5142778"/>
              <a:gd name="connsiteX121" fmla="*/ 727252 w 7113841"/>
              <a:gd name="connsiteY121" fmla="*/ 3852035 h 5142778"/>
              <a:gd name="connsiteX122" fmla="*/ 735991 w 7113841"/>
              <a:gd name="connsiteY122" fmla="*/ 3834810 h 5142778"/>
              <a:gd name="connsiteX123" fmla="*/ 744687 w 7113841"/>
              <a:gd name="connsiteY123" fmla="*/ 3817565 h 5142778"/>
              <a:gd name="connsiteX124" fmla="*/ 753341 w 7113841"/>
              <a:gd name="connsiteY124" fmla="*/ 3800302 h 5142778"/>
              <a:gd name="connsiteX125" fmla="*/ 761951 w 7113841"/>
              <a:gd name="connsiteY125" fmla="*/ 3783019 h 5142778"/>
              <a:gd name="connsiteX126" fmla="*/ 770517 w 7113841"/>
              <a:gd name="connsiteY126" fmla="*/ 3765715 h 5142778"/>
              <a:gd name="connsiteX127" fmla="*/ 779038 w 7113841"/>
              <a:gd name="connsiteY127" fmla="*/ 3748391 h 5142778"/>
              <a:gd name="connsiteX128" fmla="*/ 787512 w 7113841"/>
              <a:gd name="connsiteY128" fmla="*/ 3731046 h 5142778"/>
              <a:gd name="connsiteX129" fmla="*/ 795941 w 7113841"/>
              <a:gd name="connsiteY129" fmla="*/ 3713678 h 5142778"/>
              <a:gd name="connsiteX130" fmla="*/ 804322 w 7113841"/>
              <a:gd name="connsiteY130" fmla="*/ 3696288 h 5142778"/>
              <a:gd name="connsiteX131" fmla="*/ 812655 w 7113841"/>
              <a:gd name="connsiteY131" fmla="*/ 3678875 h 5142778"/>
              <a:gd name="connsiteX132" fmla="*/ 820938 w 7113841"/>
              <a:gd name="connsiteY132" fmla="*/ 3661439 h 5142778"/>
              <a:gd name="connsiteX133" fmla="*/ 829172 w 7113841"/>
              <a:gd name="connsiteY133" fmla="*/ 3643979 h 5142778"/>
              <a:gd name="connsiteX134" fmla="*/ 837357 w 7113841"/>
              <a:gd name="connsiteY134" fmla="*/ 3626494 h 5142778"/>
              <a:gd name="connsiteX135" fmla="*/ 845490 w 7113841"/>
              <a:gd name="connsiteY135" fmla="*/ 3608984 h 5142778"/>
              <a:gd name="connsiteX136" fmla="*/ 853571 w 7113841"/>
              <a:gd name="connsiteY136" fmla="*/ 3591449 h 5142778"/>
              <a:gd name="connsiteX137" fmla="*/ 861599 w 7113841"/>
              <a:gd name="connsiteY137" fmla="*/ 3573886 h 5142778"/>
              <a:gd name="connsiteX138" fmla="*/ 869574 w 7113841"/>
              <a:gd name="connsiteY138" fmla="*/ 3556298 h 5142778"/>
              <a:gd name="connsiteX139" fmla="*/ 877495 w 7113841"/>
              <a:gd name="connsiteY139" fmla="*/ 3538682 h 5142778"/>
              <a:gd name="connsiteX140" fmla="*/ 885361 w 7113841"/>
              <a:gd name="connsiteY140" fmla="*/ 3521039 h 5142778"/>
              <a:gd name="connsiteX141" fmla="*/ 893171 w 7113841"/>
              <a:gd name="connsiteY141" fmla="*/ 3503367 h 5142778"/>
              <a:gd name="connsiteX142" fmla="*/ 900925 w 7113841"/>
              <a:gd name="connsiteY142" fmla="*/ 3485666 h 5142778"/>
              <a:gd name="connsiteX143" fmla="*/ 908622 w 7113841"/>
              <a:gd name="connsiteY143" fmla="*/ 3467936 h 5142778"/>
              <a:gd name="connsiteX144" fmla="*/ 916260 w 7113841"/>
              <a:gd name="connsiteY144" fmla="*/ 3450176 h 5142778"/>
              <a:gd name="connsiteX145" fmla="*/ 923841 w 7113841"/>
              <a:gd name="connsiteY145" fmla="*/ 3432385 h 5142778"/>
              <a:gd name="connsiteX146" fmla="*/ 931361 w 7113841"/>
              <a:gd name="connsiteY146" fmla="*/ 3414563 h 5142778"/>
              <a:gd name="connsiteX147" fmla="*/ 938822 w 7113841"/>
              <a:gd name="connsiteY147" fmla="*/ 3396710 h 5142778"/>
              <a:gd name="connsiteX148" fmla="*/ 946221 w 7113841"/>
              <a:gd name="connsiteY148" fmla="*/ 3378825 h 5142778"/>
              <a:gd name="connsiteX149" fmla="*/ 953559 w 7113841"/>
              <a:gd name="connsiteY149" fmla="*/ 3360907 h 5142778"/>
              <a:gd name="connsiteX150" fmla="*/ 960835 w 7113841"/>
              <a:gd name="connsiteY150" fmla="*/ 3342956 h 5142778"/>
              <a:gd name="connsiteX151" fmla="*/ 968048 w 7113841"/>
              <a:gd name="connsiteY151" fmla="*/ 3324971 h 5142778"/>
              <a:gd name="connsiteX152" fmla="*/ 975195 w 7113841"/>
              <a:gd name="connsiteY152" fmla="*/ 3306952 h 5142778"/>
              <a:gd name="connsiteX153" fmla="*/ 982280 w 7113841"/>
              <a:gd name="connsiteY153" fmla="*/ 3288898 h 5142778"/>
              <a:gd name="connsiteX154" fmla="*/ 989297 w 7113841"/>
              <a:gd name="connsiteY154" fmla="*/ 3270809 h 5142778"/>
              <a:gd name="connsiteX155" fmla="*/ 996250 w 7113841"/>
              <a:gd name="connsiteY155" fmla="*/ 3252684 h 5142778"/>
              <a:gd name="connsiteX156" fmla="*/ 1003136 w 7113841"/>
              <a:gd name="connsiteY156" fmla="*/ 3234522 h 5142778"/>
              <a:gd name="connsiteX157" fmla="*/ 1009953 w 7113841"/>
              <a:gd name="connsiteY157" fmla="*/ 3216324 h 5142778"/>
              <a:gd name="connsiteX158" fmla="*/ 1016702 w 7113841"/>
              <a:gd name="connsiteY158" fmla="*/ 3198088 h 5142778"/>
              <a:gd name="connsiteX159" fmla="*/ 1023381 w 7113841"/>
              <a:gd name="connsiteY159" fmla="*/ 3179814 h 5142778"/>
              <a:gd name="connsiteX160" fmla="*/ 1029991 w 7113841"/>
              <a:gd name="connsiteY160" fmla="*/ 3161502 h 5142778"/>
              <a:gd name="connsiteX161" fmla="*/ 1036530 w 7113841"/>
              <a:gd name="connsiteY161" fmla="*/ 3143151 h 5142778"/>
              <a:gd name="connsiteX162" fmla="*/ 1042998 w 7113841"/>
              <a:gd name="connsiteY162" fmla="*/ 3124759 h 5142778"/>
              <a:gd name="connsiteX163" fmla="*/ 1049393 w 7113841"/>
              <a:gd name="connsiteY163" fmla="*/ 3106328 h 5142778"/>
              <a:gd name="connsiteX164" fmla="*/ 1055715 w 7113841"/>
              <a:gd name="connsiteY164" fmla="*/ 3087856 h 5142778"/>
              <a:gd name="connsiteX165" fmla="*/ 1061964 w 7113841"/>
              <a:gd name="connsiteY165" fmla="*/ 3069343 h 5142778"/>
              <a:gd name="connsiteX166" fmla="*/ 1068138 w 7113841"/>
              <a:gd name="connsiteY166" fmla="*/ 3050788 h 5142778"/>
              <a:gd name="connsiteX167" fmla="*/ 1074237 w 7113841"/>
              <a:gd name="connsiteY167" fmla="*/ 3032191 h 5142778"/>
              <a:gd name="connsiteX168" fmla="*/ 1080260 w 7113841"/>
              <a:gd name="connsiteY168" fmla="*/ 3013551 h 5142778"/>
              <a:gd name="connsiteX169" fmla="*/ 1086206 w 7113841"/>
              <a:gd name="connsiteY169" fmla="*/ 2994867 h 5142778"/>
              <a:gd name="connsiteX170" fmla="*/ 1092075 w 7113841"/>
              <a:gd name="connsiteY170" fmla="*/ 2976140 h 5142778"/>
              <a:gd name="connsiteX171" fmla="*/ 1097865 w 7113841"/>
              <a:gd name="connsiteY171" fmla="*/ 2957368 h 5142778"/>
              <a:gd name="connsiteX172" fmla="*/ 1103577 w 7113841"/>
              <a:gd name="connsiteY172" fmla="*/ 2938551 h 5142778"/>
              <a:gd name="connsiteX173" fmla="*/ 1109208 w 7113841"/>
              <a:gd name="connsiteY173" fmla="*/ 2919688 h 5142778"/>
              <a:gd name="connsiteX174" fmla="*/ 1114759 w 7113841"/>
              <a:gd name="connsiteY174" fmla="*/ 2900780 h 5142778"/>
              <a:gd name="connsiteX175" fmla="*/ 1120228 w 7113841"/>
              <a:gd name="connsiteY175" fmla="*/ 2881825 h 5142778"/>
              <a:gd name="connsiteX176" fmla="*/ 1125617 w 7113841"/>
              <a:gd name="connsiteY176" fmla="*/ 2862822 h 5142778"/>
              <a:gd name="connsiteX177" fmla="*/ 1130921 w 7113841"/>
              <a:gd name="connsiteY177" fmla="*/ 2843773 h 5142778"/>
              <a:gd name="connsiteX178" fmla="*/ 1136143 w 7113841"/>
              <a:gd name="connsiteY178" fmla="*/ 2824674 h 5142778"/>
              <a:gd name="connsiteX179" fmla="*/ 1141280 w 7113841"/>
              <a:gd name="connsiteY179" fmla="*/ 2805527 h 5142778"/>
              <a:gd name="connsiteX180" fmla="*/ 1146332 w 7113841"/>
              <a:gd name="connsiteY180" fmla="*/ 2786331 h 5142778"/>
              <a:gd name="connsiteX181" fmla="*/ 1151298 w 7113841"/>
              <a:gd name="connsiteY181" fmla="*/ 2767085 h 5142778"/>
              <a:gd name="connsiteX182" fmla="*/ 1156178 w 7113841"/>
              <a:gd name="connsiteY182" fmla="*/ 2747788 h 5142778"/>
              <a:gd name="connsiteX183" fmla="*/ 1160971 w 7113841"/>
              <a:gd name="connsiteY183" fmla="*/ 2728441 h 5142778"/>
              <a:gd name="connsiteX184" fmla="*/ 1165675 w 7113841"/>
              <a:gd name="connsiteY184" fmla="*/ 2709042 h 5142778"/>
              <a:gd name="connsiteX185" fmla="*/ 1170290 w 7113841"/>
              <a:gd name="connsiteY185" fmla="*/ 2689591 h 5142778"/>
              <a:gd name="connsiteX186" fmla="*/ 1174816 w 7113841"/>
              <a:gd name="connsiteY186" fmla="*/ 2670087 h 5142778"/>
              <a:gd name="connsiteX187" fmla="*/ 1179252 w 7113841"/>
              <a:gd name="connsiteY187" fmla="*/ 2650531 h 5142778"/>
              <a:gd name="connsiteX188" fmla="*/ 1183597 w 7113841"/>
              <a:gd name="connsiteY188" fmla="*/ 2630921 h 5142778"/>
              <a:gd name="connsiteX189" fmla="*/ 1187850 w 7113841"/>
              <a:gd name="connsiteY189" fmla="*/ 2611257 h 5142778"/>
              <a:gd name="connsiteX190" fmla="*/ 1192010 w 7113841"/>
              <a:gd name="connsiteY190" fmla="*/ 2591538 h 5142778"/>
              <a:gd name="connsiteX191" fmla="*/ 1196077 w 7113841"/>
              <a:gd name="connsiteY191" fmla="*/ 2571764 h 5142778"/>
              <a:gd name="connsiteX192" fmla="*/ 1200049 w 7113841"/>
              <a:gd name="connsiteY192" fmla="*/ 2551934 h 5142778"/>
              <a:gd name="connsiteX193" fmla="*/ 1203927 w 7113841"/>
              <a:gd name="connsiteY193" fmla="*/ 2532048 h 5142778"/>
              <a:gd name="connsiteX194" fmla="*/ 1207710 w 7113841"/>
              <a:gd name="connsiteY194" fmla="*/ 2512105 h 5142778"/>
              <a:gd name="connsiteX195" fmla="*/ 1211395 w 7113841"/>
              <a:gd name="connsiteY195" fmla="*/ 2492104 h 5142778"/>
              <a:gd name="connsiteX196" fmla="*/ 1214985 w 7113841"/>
              <a:gd name="connsiteY196" fmla="*/ 2472046 h 5142778"/>
              <a:gd name="connsiteX197" fmla="*/ 1218476 w 7113841"/>
              <a:gd name="connsiteY197" fmla="*/ 2451929 h 5142778"/>
              <a:gd name="connsiteX198" fmla="*/ 1221868 w 7113841"/>
              <a:gd name="connsiteY198" fmla="*/ 2431753 h 5142778"/>
              <a:gd name="connsiteX199" fmla="*/ 1225161 w 7113841"/>
              <a:gd name="connsiteY199" fmla="*/ 2411518 h 5142778"/>
              <a:gd name="connsiteX200" fmla="*/ 1228353 w 7113841"/>
              <a:gd name="connsiteY200" fmla="*/ 2391223 h 5142778"/>
              <a:gd name="connsiteX201" fmla="*/ 1231446 w 7113841"/>
              <a:gd name="connsiteY201" fmla="*/ 2370867 h 5142778"/>
              <a:gd name="connsiteX202" fmla="*/ 1234436 w 7113841"/>
              <a:gd name="connsiteY202" fmla="*/ 2350449 h 5142778"/>
              <a:gd name="connsiteX203" fmla="*/ 1237324 w 7113841"/>
              <a:gd name="connsiteY203" fmla="*/ 2329971 h 5142778"/>
              <a:gd name="connsiteX204" fmla="*/ 1240109 w 7113841"/>
              <a:gd name="connsiteY204" fmla="*/ 2309430 h 5142778"/>
              <a:gd name="connsiteX205" fmla="*/ 1242790 w 7113841"/>
              <a:gd name="connsiteY205" fmla="*/ 2288826 h 5142778"/>
              <a:gd name="connsiteX206" fmla="*/ 1245366 w 7113841"/>
              <a:gd name="connsiteY206" fmla="*/ 2268159 h 5142778"/>
              <a:gd name="connsiteX207" fmla="*/ 1247837 w 7113841"/>
              <a:gd name="connsiteY207" fmla="*/ 2247428 h 5142778"/>
              <a:gd name="connsiteX208" fmla="*/ 1250202 w 7113841"/>
              <a:gd name="connsiteY208" fmla="*/ 2226633 h 5142778"/>
              <a:gd name="connsiteX209" fmla="*/ 1252460 w 7113841"/>
              <a:gd name="connsiteY209" fmla="*/ 2205773 h 5142778"/>
              <a:gd name="connsiteX210" fmla="*/ 1254610 w 7113841"/>
              <a:gd name="connsiteY210" fmla="*/ 2184847 h 5142778"/>
              <a:gd name="connsiteX211" fmla="*/ 1256651 w 7113841"/>
              <a:gd name="connsiteY211" fmla="*/ 2163856 h 5142778"/>
              <a:gd name="connsiteX212" fmla="*/ 1258584 w 7113841"/>
              <a:gd name="connsiteY212" fmla="*/ 2142798 h 5142778"/>
              <a:gd name="connsiteX213" fmla="*/ 1260407 w 7113841"/>
              <a:gd name="connsiteY213" fmla="*/ 2121673 h 5142778"/>
              <a:gd name="connsiteX214" fmla="*/ 1262119 w 7113841"/>
              <a:gd name="connsiteY214" fmla="*/ 2100480 h 5142778"/>
              <a:gd name="connsiteX215" fmla="*/ 1263719 w 7113841"/>
              <a:gd name="connsiteY215" fmla="*/ 2079219 h 5142778"/>
              <a:gd name="connsiteX216" fmla="*/ 1265207 w 7113841"/>
              <a:gd name="connsiteY216" fmla="*/ 2057890 h 5142778"/>
              <a:gd name="connsiteX217" fmla="*/ 1266583 w 7113841"/>
              <a:gd name="connsiteY217" fmla="*/ 2036492 h 5142778"/>
              <a:gd name="connsiteX218" fmla="*/ 1267845 w 7113841"/>
              <a:gd name="connsiteY218" fmla="*/ 2015023 h 5142778"/>
              <a:gd name="connsiteX219" fmla="*/ 1268992 w 7113841"/>
              <a:gd name="connsiteY219" fmla="*/ 1993484 h 5142778"/>
              <a:gd name="connsiteX220" fmla="*/ 1270024 w 7113841"/>
              <a:gd name="connsiteY220" fmla="*/ 1971875 h 5142778"/>
              <a:gd name="connsiteX221" fmla="*/ 1270940 w 7113841"/>
              <a:gd name="connsiteY221" fmla="*/ 1950194 h 5142778"/>
              <a:gd name="connsiteX222" fmla="*/ 1271740 w 7113841"/>
              <a:gd name="connsiteY222" fmla="*/ 1928441 h 5142778"/>
              <a:gd name="connsiteX223" fmla="*/ 1272422 w 7113841"/>
              <a:gd name="connsiteY223" fmla="*/ 1906616 h 5142778"/>
              <a:gd name="connsiteX224" fmla="*/ 1272986 w 7113841"/>
              <a:gd name="connsiteY224" fmla="*/ 1884718 h 5142778"/>
              <a:gd name="connsiteX225" fmla="*/ 1273430 w 7113841"/>
              <a:gd name="connsiteY225" fmla="*/ 1862747 h 5142778"/>
              <a:gd name="connsiteX226" fmla="*/ 1273755 w 7113841"/>
              <a:gd name="connsiteY226" fmla="*/ 1840700 h 5142778"/>
              <a:gd name="connsiteX227" fmla="*/ 1273961 w 7113841"/>
              <a:gd name="connsiteY227" fmla="*/ 1818581 h 5142778"/>
              <a:gd name="connsiteX228" fmla="*/ 1274005 w 7113841"/>
              <a:gd name="connsiteY228" fmla="*/ 1774114 h 5142778"/>
              <a:gd name="connsiteX229" fmla="*/ 1273844 w 7113841"/>
              <a:gd name="connsiteY229" fmla="*/ 1751767 h 5142778"/>
              <a:gd name="connsiteX230" fmla="*/ 1273558 w 7113841"/>
              <a:gd name="connsiteY230" fmla="*/ 1729342 h 5142778"/>
              <a:gd name="connsiteX231" fmla="*/ 1273150 w 7113841"/>
              <a:gd name="connsiteY231" fmla="*/ 1706841 h 5142778"/>
              <a:gd name="connsiteX232" fmla="*/ 1272616 w 7113841"/>
              <a:gd name="connsiteY232" fmla="*/ 1684263 h 5142778"/>
              <a:gd name="connsiteX233" fmla="*/ 1271956 w 7113841"/>
              <a:gd name="connsiteY233" fmla="*/ 1661605 h 5142778"/>
              <a:gd name="connsiteX234" fmla="*/ 1271170 w 7113841"/>
              <a:gd name="connsiteY234" fmla="*/ 1638868 h 5142778"/>
              <a:gd name="connsiteX235" fmla="*/ 1270256 w 7113841"/>
              <a:gd name="connsiteY235" fmla="*/ 1616053 h 5142778"/>
              <a:gd name="connsiteX236" fmla="*/ 1269215 w 7113841"/>
              <a:gd name="connsiteY236" fmla="*/ 1593157 h 5142778"/>
              <a:gd name="connsiteX237" fmla="*/ 1268044 w 7113841"/>
              <a:gd name="connsiteY237" fmla="*/ 1570181 h 5142778"/>
              <a:gd name="connsiteX238" fmla="*/ 1266744 w 7113841"/>
              <a:gd name="connsiteY238" fmla="*/ 1547124 h 5142778"/>
              <a:gd name="connsiteX239" fmla="*/ 1265314 w 7113841"/>
              <a:gd name="connsiteY239" fmla="*/ 1523985 h 5142778"/>
              <a:gd name="connsiteX240" fmla="*/ 1263753 w 7113841"/>
              <a:gd name="connsiteY240" fmla="*/ 1500764 h 5142778"/>
              <a:gd name="connsiteX241" fmla="*/ 1262060 w 7113841"/>
              <a:gd name="connsiteY241" fmla="*/ 1477461 h 5142778"/>
              <a:gd name="connsiteX242" fmla="*/ 1260234 w 7113841"/>
              <a:gd name="connsiteY242" fmla="*/ 1454074 h 5142778"/>
              <a:gd name="connsiteX243" fmla="*/ 1258276 w 7113841"/>
              <a:gd name="connsiteY243" fmla="*/ 1430604 h 5142778"/>
              <a:gd name="connsiteX244" fmla="*/ 1256182 w 7113841"/>
              <a:gd name="connsiteY244" fmla="*/ 1407049 h 5142778"/>
              <a:gd name="connsiteX245" fmla="*/ 1253955 w 7113841"/>
              <a:gd name="connsiteY245" fmla="*/ 1383410 h 5142778"/>
              <a:gd name="connsiteX246" fmla="*/ 1251592 w 7113841"/>
              <a:gd name="connsiteY246" fmla="*/ 1359685 h 5142778"/>
              <a:gd name="connsiteX247" fmla="*/ 1249092 w 7113841"/>
              <a:gd name="connsiteY247" fmla="*/ 1335873 h 5142778"/>
              <a:gd name="connsiteX248" fmla="*/ 1246456 w 7113841"/>
              <a:gd name="connsiteY248" fmla="*/ 1311977 h 5142778"/>
              <a:gd name="connsiteX249" fmla="*/ 1243681 w 7113841"/>
              <a:gd name="connsiteY249" fmla="*/ 1287992 h 5142778"/>
              <a:gd name="connsiteX250" fmla="*/ 1240769 w 7113841"/>
              <a:gd name="connsiteY250" fmla="*/ 1263921 h 5142778"/>
              <a:gd name="connsiteX251" fmla="*/ 1237716 w 7113841"/>
              <a:gd name="connsiteY251" fmla="*/ 1239761 h 5142778"/>
              <a:gd name="connsiteX252" fmla="*/ 1234524 w 7113841"/>
              <a:gd name="connsiteY252" fmla="*/ 1215513 h 5142778"/>
              <a:gd name="connsiteX253" fmla="*/ 1231190 w 7113841"/>
              <a:gd name="connsiteY253" fmla="*/ 1191176 h 5142778"/>
              <a:gd name="connsiteX254" fmla="*/ 1227715 w 7113841"/>
              <a:gd name="connsiteY254" fmla="*/ 1166749 h 5142778"/>
              <a:gd name="connsiteX255" fmla="*/ 1224099 w 7113841"/>
              <a:gd name="connsiteY255" fmla="*/ 1142232 h 5142778"/>
              <a:gd name="connsiteX256" fmla="*/ 1220339 w 7113841"/>
              <a:gd name="connsiteY256" fmla="*/ 1117624 h 5142778"/>
              <a:gd name="connsiteX257" fmla="*/ 1216434 w 7113841"/>
              <a:gd name="connsiteY257" fmla="*/ 1092925 h 5142778"/>
              <a:gd name="connsiteX258" fmla="*/ 1212386 w 7113841"/>
              <a:gd name="connsiteY258" fmla="*/ 1068134 h 5142778"/>
              <a:gd name="connsiteX259" fmla="*/ 1208192 w 7113841"/>
              <a:gd name="connsiteY259" fmla="*/ 1043251 h 5142778"/>
              <a:gd name="connsiteX260" fmla="*/ 1203852 w 7113841"/>
              <a:gd name="connsiteY260" fmla="*/ 1018274 h 5142778"/>
              <a:gd name="connsiteX261" fmla="*/ 1199365 w 7113841"/>
              <a:gd name="connsiteY261" fmla="*/ 993205 h 5142778"/>
              <a:gd name="connsiteX262" fmla="*/ 1194731 w 7113841"/>
              <a:gd name="connsiteY262" fmla="*/ 968042 h 5142778"/>
              <a:gd name="connsiteX263" fmla="*/ 1189948 w 7113841"/>
              <a:gd name="connsiteY263" fmla="*/ 942784 h 5142778"/>
              <a:gd name="connsiteX264" fmla="*/ 1185016 w 7113841"/>
              <a:gd name="connsiteY264" fmla="*/ 917431 h 5142778"/>
              <a:gd name="connsiteX265" fmla="*/ 1179934 w 7113841"/>
              <a:gd name="connsiteY265" fmla="*/ 891982 h 5142778"/>
              <a:gd name="connsiteX266" fmla="*/ 1174701 w 7113841"/>
              <a:gd name="connsiteY266" fmla="*/ 866438 h 5142778"/>
              <a:gd name="connsiteX267" fmla="*/ 1169317 w 7113841"/>
              <a:gd name="connsiteY267" fmla="*/ 840796 h 5142778"/>
              <a:gd name="connsiteX268" fmla="*/ 1163781 w 7113841"/>
              <a:gd name="connsiteY268" fmla="*/ 815058 h 5142778"/>
              <a:gd name="connsiteX269" fmla="*/ 1158092 w 7113841"/>
              <a:gd name="connsiteY269" fmla="*/ 789222 h 5142778"/>
              <a:gd name="connsiteX270" fmla="*/ 1152249 w 7113841"/>
              <a:gd name="connsiteY270" fmla="*/ 763287 h 5142778"/>
              <a:gd name="connsiteX271" fmla="*/ 1146253 w 7113841"/>
              <a:gd name="connsiteY271" fmla="*/ 737255 h 5142778"/>
              <a:gd name="connsiteX272" fmla="*/ 1140101 w 7113841"/>
              <a:gd name="connsiteY272" fmla="*/ 711122 h 5142778"/>
              <a:gd name="connsiteX273" fmla="*/ 1133793 w 7113841"/>
              <a:gd name="connsiteY273" fmla="*/ 684890 h 5142778"/>
              <a:gd name="connsiteX274" fmla="*/ 1127327 w 7113841"/>
              <a:gd name="connsiteY274" fmla="*/ 658557 h 5142778"/>
              <a:gd name="connsiteX275" fmla="*/ 1120705 w 7113841"/>
              <a:gd name="connsiteY275" fmla="*/ 632123 h 5142778"/>
              <a:gd name="connsiteX276" fmla="*/ 1113925 w 7113841"/>
              <a:gd name="connsiteY276" fmla="*/ 605589 h 5142778"/>
              <a:gd name="connsiteX277" fmla="*/ 1106986 w 7113841"/>
              <a:gd name="connsiteY277" fmla="*/ 578951 h 5142778"/>
              <a:gd name="connsiteX278" fmla="*/ 1099887 w 7113841"/>
              <a:gd name="connsiteY278" fmla="*/ 552212 h 5142778"/>
              <a:gd name="connsiteX279" fmla="*/ 1092628 w 7113841"/>
              <a:gd name="connsiteY279" fmla="*/ 525369 h 5142778"/>
              <a:gd name="connsiteX280" fmla="*/ 1085207 w 7113841"/>
              <a:gd name="connsiteY280" fmla="*/ 498423 h 5142778"/>
              <a:gd name="connsiteX281" fmla="*/ 1077624 w 7113841"/>
              <a:gd name="connsiteY281" fmla="*/ 471372 h 5142778"/>
              <a:gd name="connsiteX282" fmla="*/ 1069880 w 7113841"/>
              <a:gd name="connsiteY282" fmla="*/ 444217 h 5142778"/>
              <a:gd name="connsiteX283" fmla="*/ 1061971 w 7113841"/>
              <a:gd name="connsiteY283" fmla="*/ 416957 h 5142778"/>
              <a:gd name="connsiteX284" fmla="*/ 1053898 w 7113841"/>
              <a:gd name="connsiteY284" fmla="*/ 389591 h 5142778"/>
              <a:gd name="connsiteX285" fmla="*/ 1045660 w 7113841"/>
              <a:gd name="connsiteY285" fmla="*/ 362118 h 5142778"/>
              <a:gd name="connsiteX286" fmla="*/ 1037256 w 7113841"/>
              <a:gd name="connsiteY286" fmla="*/ 334538 h 5142778"/>
              <a:gd name="connsiteX287" fmla="*/ 1028686 w 7113841"/>
              <a:gd name="connsiteY287" fmla="*/ 306852 h 5142778"/>
              <a:gd name="connsiteX288" fmla="*/ 1019950 w 7113841"/>
              <a:gd name="connsiteY288" fmla="*/ 279057 h 5142778"/>
              <a:gd name="connsiteX289" fmla="*/ 1011045 w 7113841"/>
              <a:gd name="connsiteY289" fmla="*/ 251154 h 5142778"/>
              <a:gd name="connsiteX290" fmla="*/ 1001971 w 7113841"/>
              <a:gd name="connsiteY290" fmla="*/ 223142 h 5142778"/>
              <a:gd name="connsiteX291" fmla="*/ 992728 w 7113841"/>
              <a:gd name="connsiteY291" fmla="*/ 195020 h 5142778"/>
              <a:gd name="connsiteX292" fmla="*/ 983314 w 7113841"/>
              <a:gd name="connsiteY292" fmla="*/ 166788 h 5142778"/>
              <a:gd name="connsiteX293" fmla="*/ 973730 w 7113841"/>
              <a:gd name="connsiteY293" fmla="*/ 138446 h 5142778"/>
              <a:gd name="connsiteX294" fmla="*/ 963974 w 7113841"/>
              <a:gd name="connsiteY294" fmla="*/ 109992 h 5142778"/>
              <a:gd name="connsiteX295" fmla="*/ 954045 w 7113841"/>
              <a:gd name="connsiteY295" fmla="*/ 81427 h 5142778"/>
              <a:gd name="connsiteX296" fmla="*/ 943943 w 7113841"/>
              <a:gd name="connsiteY296" fmla="*/ 52750 h 5142778"/>
              <a:gd name="connsiteX297" fmla="*/ 933667 w 7113841"/>
              <a:gd name="connsiteY297" fmla="*/ 23959 h 514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7113841" h="5142778">
                <a:moveTo>
                  <a:pt x="925004" y="0"/>
                </a:moveTo>
                <a:lnTo>
                  <a:pt x="7113841" y="0"/>
                </a:lnTo>
                <a:lnTo>
                  <a:pt x="7113841" y="4345781"/>
                </a:lnTo>
                <a:lnTo>
                  <a:pt x="7113839" y="4345781"/>
                </a:lnTo>
                <a:lnTo>
                  <a:pt x="7113839" y="4344165"/>
                </a:lnTo>
                <a:lnTo>
                  <a:pt x="7065051" y="4326824"/>
                </a:lnTo>
                <a:lnTo>
                  <a:pt x="7016980" y="4310591"/>
                </a:lnTo>
                <a:lnTo>
                  <a:pt x="6969613" y="4295447"/>
                </a:lnTo>
                <a:lnTo>
                  <a:pt x="6922939" y="4281374"/>
                </a:lnTo>
                <a:lnTo>
                  <a:pt x="6876941" y="4268353"/>
                </a:lnTo>
                <a:lnTo>
                  <a:pt x="6831609" y="4256365"/>
                </a:lnTo>
                <a:lnTo>
                  <a:pt x="6786928" y="4245394"/>
                </a:lnTo>
                <a:lnTo>
                  <a:pt x="6742887" y="4235421"/>
                </a:lnTo>
                <a:lnTo>
                  <a:pt x="6699472" y="4226427"/>
                </a:lnTo>
                <a:lnTo>
                  <a:pt x="6656669" y="4218394"/>
                </a:lnTo>
                <a:lnTo>
                  <a:pt x="6614465" y="4211304"/>
                </a:lnTo>
                <a:lnTo>
                  <a:pt x="6572851" y="4205138"/>
                </a:lnTo>
                <a:lnTo>
                  <a:pt x="6552259" y="4202397"/>
                </a:lnTo>
                <a:lnTo>
                  <a:pt x="6531808" y="4199880"/>
                </a:lnTo>
                <a:lnTo>
                  <a:pt x="6511499" y="4197584"/>
                </a:lnTo>
                <a:lnTo>
                  <a:pt x="6491327" y="4195509"/>
                </a:lnTo>
                <a:lnTo>
                  <a:pt x="6471293" y="4193650"/>
                </a:lnTo>
                <a:lnTo>
                  <a:pt x="6451393" y="4192007"/>
                </a:lnTo>
                <a:lnTo>
                  <a:pt x="6431629" y="4190577"/>
                </a:lnTo>
                <a:lnTo>
                  <a:pt x="6411994" y="4189358"/>
                </a:lnTo>
                <a:lnTo>
                  <a:pt x="6392492" y="4188346"/>
                </a:lnTo>
                <a:lnTo>
                  <a:pt x="6373117" y="4187541"/>
                </a:lnTo>
                <a:lnTo>
                  <a:pt x="6353871" y="4186940"/>
                </a:lnTo>
                <a:lnTo>
                  <a:pt x="6334749" y="4186540"/>
                </a:lnTo>
                <a:lnTo>
                  <a:pt x="6315752" y="4186339"/>
                </a:lnTo>
                <a:lnTo>
                  <a:pt x="6296876" y="4186336"/>
                </a:lnTo>
                <a:lnTo>
                  <a:pt x="6278122" y="4186526"/>
                </a:lnTo>
                <a:lnTo>
                  <a:pt x="6259485" y="4186909"/>
                </a:lnTo>
                <a:lnTo>
                  <a:pt x="6240968" y="4187483"/>
                </a:lnTo>
                <a:lnTo>
                  <a:pt x="6222565" y="4188243"/>
                </a:lnTo>
                <a:lnTo>
                  <a:pt x="6204277" y="4189190"/>
                </a:lnTo>
                <a:lnTo>
                  <a:pt x="6186101" y="4190320"/>
                </a:lnTo>
                <a:lnTo>
                  <a:pt x="6168036" y="4191630"/>
                </a:lnTo>
                <a:lnTo>
                  <a:pt x="6150080" y="4193119"/>
                </a:lnTo>
                <a:lnTo>
                  <a:pt x="6132232" y="4194785"/>
                </a:lnTo>
                <a:lnTo>
                  <a:pt x="6114490" y="4196625"/>
                </a:lnTo>
                <a:lnTo>
                  <a:pt x="6096852" y="4198636"/>
                </a:lnTo>
                <a:lnTo>
                  <a:pt x="6079317" y="4200817"/>
                </a:lnTo>
                <a:lnTo>
                  <a:pt x="6061883" y="4203166"/>
                </a:lnTo>
                <a:lnTo>
                  <a:pt x="6044549" y="4205679"/>
                </a:lnTo>
                <a:lnTo>
                  <a:pt x="6027313" y="4208355"/>
                </a:lnTo>
                <a:lnTo>
                  <a:pt x="6010172" y="4211191"/>
                </a:lnTo>
                <a:lnTo>
                  <a:pt x="5976173" y="4217335"/>
                </a:lnTo>
                <a:lnTo>
                  <a:pt x="5942540" y="4224094"/>
                </a:lnTo>
                <a:lnTo>
                  <a:pt x="5892747" y="4235344"/>
                </a:lnTo>
                <a:lnTo>
                  <a:pt x="5859970" y="4243558"/>
                </a:lnTo>
                <a:lnTo>
                  <a:pt x="5827512" y="4252322"/>
                </a:lnTo>
                <a:lnTo>
                  <a:pt x="5795362" y="4261618"/>
                </a:lnTo>
                <a:lnTo>
                  <a:pt x="5763504" y="4271428"/>
                </a:lnTo>
                <a:lnTo>
                  <a:pt x="5731928" y="4281734"/>
                </a:lnTo>
                <a:lnTo>
                  <a:pt x="5700619" y="4292517"/>
                </a:lnTo>
                <a:lnTo>
                  <a:pt x="5669565" y="4303758"/>
                </a:lnTo>
                <a:lnTo>
                  <a:pt x="5638752" y="4315440"/>
                </a:lnTo>
                <a:lnTo>
                  <a:pt x="5608167" y="4327545"/>
                </a:lnTo>
                <a:lnTo>
                  <a:pt x="5577799" y="4340054"/>
                </a:lnTo>
                <a:lnTo>
                  <a:pt x="5547632" y="4352948"/>
                </a:lnTo>
                <a:lnTo>
                  <a:pt x="5517655" y="4366210"/>
                </a:lnTo>
                <a:lnTo>
                  <a:pt x="5487855" y="4379822"/>
                </a:lnTo>
                <a:lnTo>
                  <a:pt x="5443456" y="4400854"/>
                </a:lnTo>
                <a:lnTo>
                  <a:pt x="5399381" y="4422570"/>
                </a:lnTo>
                <a:lnTo>
                  <a:pt x="5355585" y="4444908"/>
                </a:lnTo>
                <a:lnTo>
                  <a:pt x="5312025" y="4467805"/>
                </a:lnTo>
                <a:lnTo>
                  <a:pt x="5254235" y="4499099"/>
                </a:lnTo>
                <a:lnTo>
                  <a:pt x="5167962" y="4547383"/>
                </a:lnTo>
                <a:lnTo>
                  <a:pt x="4952295" y="4672140"/>
                </a:lnTo>
                <a:lnTo>
                  <a:pt x="4791671" y="4763822"/>
                </a:lnTo>
                <a:lnTo>
                  <a:pt x="4717297" y="4804607"/>
                </a:lnTo>
                <a:lnTo>
                  <a:pt x="4656988" y="4836560"/>
                </a:lnTo>
                <a:lnTo>
                  <a:pt x="4611217" y="4860036"/>
                </a:lnTo>
                <a:lnTo>
                  <a:pt x="4564933" y="4883024"/>
                </a:lnTo>
                <a:lnTo>
                  <a:pt x="4518093" y="4905462"/>
                </a:lnTo>
                <a:lnTo>
                  <a:pt x="4470653" y="4927290"/>
                </a:lnTo>
                <a:lnTo>
                  <a:pt x="4438671" y="4941472"/>
                </a:lnTo>
                <a:lnTo>
                  <a:pt x="4406390" y="4955337"/>
                </a:lnTo>
                <a:lnTo>
                  <a:pt x="4373797" y="4968866"/>
                </a:lnTo>
                <a:lnTo>
                  <a:pt x="4340879" y="4982041"/>
                </a:lnTo>
                <a:lnTo>
                  <a:pt x="4307622" y="4994845"/>
                </a:lnTo>
                <a:lnTo>
                  <a:pt x="4274014" y="5007258"/>
                </a:lnTo>
                <a:lnTo>
                  <a:pt x="4240041" y="5019263"/>
                </a:lnTo>
                <a:lnTo>
                  <a:pt x="4205691" y="5030841"/>
                </a:lnTo>
                <a:lnTo>
                  <a:pt x="4170950" y="5041974"/>
                </a:lnTo>
                <a:lnTo>
                  <a:pt x="4135806" y="5052643"/>
                </a:lnTo>
                <a:lnTo>
                  <a:pt x="4100246" y="5062831"/>
                </a:lnTo>
                <a:lnTo>
                  <a:pt x="4064256" y="5072519"/>
                </a:lnTo>
                <a:lnTo>
                  <a:pt x="4027823" y="5081689"/>
                </a:lnTo>
                <a:lnTo>
                  <a:pt x="3990935" y="5090323"/>
                </a:lnTo>
                <a:lnTo>
                  <a:pt x="3953578" y="5098402"/>
                </a:lnTo>
                <a:lnTo>
                  <a:pt x="3915739" y="5105908"/>
                </a:lnTo>
                <a:lnTo>
                  <a:pt x="3877406" y="5112824"/>
                </a:lnTo>
                <a:lnTo>
                  <a:pt x="3838565" y="5119129"/>
                </a:lnTo>
                <a:lnTo>
                  <a:pt x="3799203" y="5124807"/>
                </a:lnTo>
                <a:lnTo>
                  <a:pt x="3759308" y="5129839"/>
                </a:lnTo>
                <a:lnTo>
                  <a:pt x="3718865" y="5134207"/>
                </a:lnTo>
                <a:lnTo>
                  <a:pt x="3677863" y="5137893"/>
                </a:lnTo>
                <a:lnTo>
                  <a:pt x="3636288" y="5140877"/>
                </a:lnTo>
                <a:lnTo>
                  <a:pt x="3600919" y="5142778"/>
                </a:lnTo>
                <a:lnTo>
                  <a:pt x="0" y="5142778"/>
                </a:lnTo>
                <a:lnTo>
                  <a:pt x="36355" y="5078128"/>
                </a:lnTo>
                <a:lnTo>
                  <a:pt x="85405" y="4991843"/>
                </a:lnTo>
                <a:lnTo>
                  <a:pt x="164324" y="4854690"/>
                </a:lnTo>
                <a:lnTo>
                  <a:pt x="381230" y="4481186"/>
                </a:lnTo>
                <a:lnTo>
                  <a:pt x="439596" y="4379712"/>
                </a:lnTo>
                <a:lnTo>
                  <a:pt x="478157" y="4312042"/>
                </a:lnTo>
                <a:lnTo>
                  <a:pt x="516383" y="4244314"/>
                </a:lnTo>
                <a:lnTo>
                  <a:pt x="544803" y="4193459"/>
                </a:lnTo>
                <a:lnTo>
                  <a:pt x="572987" y="4142538"/>
                </a:lnTo>
                <a:lnTo>
                  <a:pt x="591636" y="4108547"/>
                </a:lnTo>
                <a:lnTo>
                  <a:pt x="610163" y="4074516"/>
                </a:lnTo>
                <a:lnTo>
                  <a:pt x="628565" y="4040440"/>
                </a:lnTo>
                <a:lnTo>
                  <a:pt x="646835" y="4006315"/>
                </a:lnTo>
                <a:lnTo>
                  <a:pt x="664966" y="3972137"/>
                </a:lnTo>
                <a:lnTo>
                  <a:pt x="682954" y="3937902"/>
                </a:lnTo>
                <a:lnTo>
                  <a:pt x="691892" y="3920762"/>
                </a:lnTo>
                <a:lnTo>
                  <a:pt x="700791" y="3903606"/>
                </a:lnTo>
                <a:lnTo>
                  <a:pt x="709652" y="3886433"/>
                </a:lnTo>
                <a:lnTo>
                  <a:pt x="718472" y="3869243"/>
                </a:lnTo>
                <a:lnTo>
                  <a:pt x="727252" y="3852035"/>
                </a:lnTo>
                <a:lnTo>
                  <a:pt x="735991" y="3834810"/>
                </a:lnTo>
                <a:lnTo>
                  <a:pt x="744687" y="3817565"/>
                </a:lnTo>
                <a:lnTo>
                  <a:pt x="753341" y="3800302"/>
                </a:lnTo>
                <a:lnTo>
                  <a:pt x="761951" y="3783019"/>
                </a:lnTo>
                <a:lnTo>
                  <a:pt x="770517" y="3765715"/>
                </a:lnTo>
                <a:lnTo>
                  <a:pt x="779038" y="3748391"/>
                </a:lnTo>
                <a:lnTo>
                  <a:pt x="787512" y="3731046"/>
                </a:lnTo>
                <a:lnTo>
                  <a:pt x="795941" y="3713678"/>
                </a:lnTo>
                <a:lnTo>
                  <a:pt x="804322" y="3696288"/>
                </a:lnTo>
                <a:lnTo>
                  <a:pt x="812655" y="3678875"/>
                </a:lnTo>
                <a:lnTo>
                  <a:pt x="820938" y="3661439"/>
                </a:lnTo>
                <a:lnTo>
                  <a:pt x="829172" y="3643979"/>
                </a:lnTo>
                <a:lnTo>
                  <a:pt x="837357" y="3626494"/>
                </a:lnTo>
                <a:lnTo>
                  <a:pt x="845490" y="3608984"/>
                </a:lnTo>
                <a:lnTo>
                  <a:pt x="853571" y="3591449"/>
                </a:lnTo>
                <a:lnTo>
                  <a:pt x="861599" y="3573886"/>
                </a:lnTo>
                <a:lnTo>
                  <a:pt x="869574" y="3556298"/>
                </a:lnTo>
                <a:lnTo>
                  <a:pt x="877495" y="3538682"/>
                </a:lnTo>
                <a:lnTo>
                  <a:pt x="885361" y="3521039"/>
                </a:lnTo>
                <a:lnTo>
                  <a:pt x="893171" y="3503367"/>
                </a:lnTo>
                <a:lnTo>
                  <a:pt x="900925" y="3485666"/>
                </a:lnTo>
                <a:lnTo>
                  <a:pt x="908622" y="3467936"/>
                </a:lnTo>
                <a:lnTo>
                  <a:pt x="916260" y="3450176"/>
                </a:lnTo>
                <a:lnTo>
                  <a:pt x="923841" y="3432385"/>
                </a:lnTo>
                <a:lnTo>
                  <a:pt x="931361" y="3414563"/>
                </a:lnTo>
                <a:lnTo>
                  <a:pt x="938822" y="3396710"/>
                </a:lnTo>
                <a:lnTo>
                  <a:pt x="946221" y="3378825"/>
                </a:lnTo>
                <a:lnTo>
                  <a:pt x="953559" y="3360907"/>
                </a:lnTo>
                <a:lnTo>
                  <a:pt x="960835" y="3342956"/>
                </a:lnTo>
                <a:lnTo>
                  <a:pt x="968048" y="3324971"/>
                </a:lnTo>
                <a:lnTo>
                  <a:pt x="975195" y="3306952"/>
                </a:lnTo>
                <a:lnTo>
                  <a:pt x="982280" y="3288898"/>
                </a:lnTo>
                <a:lnTo>
                  <a:pt x="989297" y="3270809"/>
                </a:lnTo>
                <a:lnTo>
                  <a:pt x="996250" y="3252684"/>
                </a:lnTo>
                <a:lnTo>
                  <a:pt x="1003136" y="3234522"/>
                </a:lnTo>
                <a:lnTo>
                  <a:pt x="1009953" y="3216324"/>
                </a:lnTo>
                <a:lnTo>
                  <a:pt x="1016702" y="3198088"/>
                </a:lnTo>
                <a:lnTo>
                  <a:pt x="1023381" y="3179814"/>
                </a:lnTo>
                <a:lnTo>
                  <a:pt x="1029991" y="3161502"/>
                </a:lnTo>
                <a:lnTo>
                  <a:pt x="1036530" y="3143151"/>
                </a:lnTo>
                <a:lnTo>
                  <a:pt x="1042998" y="3124759"/>
                </a:lnTo>
                <a:lnTo>
                  <a:pt x="1049393" y="3106328"/>
                </a:lnTo>
                <a:lnTo>
                  <a:pt x="1055715" y="3087856"/>
                </a:lnTo>
                <a:lnTo>
                  <a:pt x="1061964" y="3069343"/>
                </a:lnTo>
                <a:lnTo>
                  <a:pt x="1068138" y="3050788"/>
                </a:lnTo>
                <a:lnTo>
                  <a:pt x="1074237" y="3032191"/>
                </a:lnTo>
                <a:lnTo>
                  <a:pt x="1080260" y="3013551"/>
                </a:lnTo>
                <a:lnTo>
                  <a:pt x="1086206" y="2994867"/>
                </a:lnTo>
                <a:lnTo>
                  <a:pt x="1092075" y="2976140"/>
                </a:lnTo>
                <a:lnTo>
                  <a:pt x="1097865" y="2957368"/>
                </a:lnTo>
                <a:lnTo>
                  <a:pt x="1103577" y="2938551"/>
                </a:lnTo>
                <a:lnTo>
                  <a:pt x="1109208" y="2919688"/>
                </a:lnTo>
                <a:lnTo>
                  <a:pt x="1114759" y="2900780"/>
                </a:lnTo>
                <a:lnTo>
                  <a:pt x="1120228" y="2881825"/>
                </a:lnTo>
                <a:lnTo>
                  <a:pt x="1125617" y="2862822"/>
                </a:lnTo>
                <a:lnTo>
                  <a:pt x="1130921" y="2843773"/>
                </a:lnTo>
                <a:lnTo>
                  <a:pt x="1136143" y="2824674"/>
                </a:lnTo>
                <a:lnTo>
                  <a:pt x="1141280" y="2805527"/>
                </a:lnTo>
                <a:lnTo>
                  <a:pt x="1146332" y="2786331"/>
                </a:lnTo>
                <a:lnTo>
                  <a:pt x="1151298" y="2767085"/>
                </a:lnTo>
                <a:lnTo>
                  <a:pt x="1156178" y="2747788"/>
                </a:lnTo>
                <a:lnTo>
                  <a:pt x="1160971" y="2728441"/>
                </a:lnTo>
                <a:lnTo>
                  <a:pt x="1165675" y="2709042"/>
                </a:lnTo>
                <a:lnTo>
                  <a:pt x="1170290" y="2689591"/>
                </a:lnTo>
                <a:lnTo>
                  <a:pt x="1174816" y="2670087"/>
                </a:lnTo>
                <a:lnTo>
                  <a:pt x="1179252" y="2650531"/>
                </a:lnTo>
                <a:lnTo>
                  <a:pt x="1183597" y="2630921"/>
                </a:lnTo>
                <a:lnTo>
                  <a:pt x="1187850" y="2611257"/>
                </a:lnTo>
                <a:lnTo>
                  <a:pt x="1192010" y="2591538"/>
                </a:lnTo>
                <a:lnTo>
                  <a:pt x="1196077" y="2571764"/>
                </a:lnTo>
                <a:lnTo>
                  <a:pt x="1200049" y="2551934"/>
                </a:lnTo>
                <a:lnTo>
                  <a:pt x="1203927" y="2532048"/>
                </a:lnTo>
                <a:lnTo>
                  <a:pt x="1207710" y="2512105"/>
                </a:lnTo>
                <a:lnTo>
                  <a:pt x="1211395" y="2492104"/>
                </a:lnTo>
                <a:lnTo>
                  <a:pt x="1214985" y="2472046"/>
                </a:lnTo>
                <a:lnTo>
                  <a:pt x="1218476" y="2451929"/>
                </a:lnTo>
                <a:lnTo>
                  <a:pt x="1221868" y="2431753"/>
                </a:lnTo>
                <a:lnTo>
                  <a:pt x="1225161" y="2411518"/>
                </a:lnTo>
                <a:lnTo>
                  <a:pt x="1228353" y="2391223"/>
                </a:lnTo>
                <a:lnTo>
                  <a:pt x="1231446" y="2370867"/>
                </a:lnTo>
                <a:lnTo>
                  <a:pt x="1234436" y="2350449"/>
                </a:lnTo>
                <a:lnTo>
                  <a:pt x="1237324" y="2329971"/>
                </a:lnTo>
                <a:lnTo>
                  <a:pt x="1240109" y="2309430"/>
                </a:lnTo>
                <a:lnTo>
                  <a:pt x="1242790" y="2288826"/>
                </a:lnTo>
                <a:lnTo>
                  <a:pt x="1245366" y="2268159"/>
                </a:lnTo>
                <a:lnTo>
                  <a:pt x="1247837" y="2247428"/>
                </a:lnTo>
                <a:lnTo>
                  <a:pt x="1250202" y="2226633"/>
                </a:lnTo>
                <a:lnTo>
                  <a:pt x="1252460" y="2205773"/>
                </a:lnTo>
                <a:lnTo>
                  <a:pt x="1254610" y="2184847"/>
                </a:lnTo>
                <a:lnTo>
                  <a:pt x="1256651" y="2163856"/>
                </a:lnTo>
                <a:lnTo>
                  <a:pt x="1258584" y="2142798"/>
                </a:lnTo>
                <a:lnTo>
                  <a:pt x="1260407" y="2121673"/>
                </a:lnTo>
                <a:lnTo>
                  <a:pt x="1262119" y="2100480"/>
                </a:lnTo>
                <a:lnTo>
                  <a:pt x="1263719" y="2079219"/>
                </a:lnTo>
                <a:lnTo>
                  <a:pt x="1265207" y="2057890"/>
                </a:lnTo>
                <a:lnTo>
                  <a:pt x="1266583" y="2036492"/>
                </a:lnTo>
                <a:lnTo>
                  <a:pt x="1267845" y="2015023"/>
                </a:lnTo>
                <a:lnTo>
                  <a:pt x="1268992" y="1993484"/>
                </a:lnTo>
                <a:lnTo>
                  <a:pt x="1270024" y="1971875"/>
                </a:lnTo>
                <a:lnTo>
                  <a:pt x="1270940" y="1950194"/>
                </a:lnTo>
                <a:lnTo>
                  <a:pt x="1271740" y="1928441"/>
                </a:lnTo>
                <a:lnTo>
                  <a:pt x="1272422" y="1906616"/>
                </a:lnTo>
                <a:lnTo>
                  <a:pt x="1272986" y="1884718"/>
                </a:lnTo>
                <a:lnTo>
                  <a:pt x="1273430" y="1862747"/>
                </a:lnTo>
                <a:lnTo>
                  <a:pt x="1273755" y="1840700"/>
                </a:lnTo>
                <a:lnTo>
                  <a:pt x="1273961" y="1818581"/>
                </a:lnTo>
                <a:lnTo>
                  <a:pt x="1274005" y="1774114"/>
                </a:lnTo>
                <a:lnTo>
                  <a:pt x="1273844" y="1751767"/>
                </a:lnTo>
                <a:lnTo>
                  <a:pt x="1273558" y="1729342"/>
                </a:lnTo>
                <a:lnTo>
                  <a:pt x="1273150" y="1706841"/>
                </a:lnTo>
                <a:lnTo>
                  <a:pt x="1272616" y="1684263"/>
                </a:lnTo>
                <a:lnTo>
                  <a:pt x="1271956" y="1661605"/>
                </a:lnTo>
                <a:lnTo>
                  <a:pt x="1271170" y="1638868"/>
                </a:lnTo>
                <a:lnTo>
                  <a:pt x="1270256" y="1616053"/>
                </a:lnTo>
                <a:lnTo>
                  <a:pt x="1269215" y="1593157"/>
                </a:lnTo>
                <a:lnTo>
                  <a:pt x="1268044" y="1570181"/>
                </a:lnTo>
                <a:lnTo>
                  <a:pt x="1266744" y="1547124"/>
                </a:lnTo>
                <a:lnTo>
                  <a:pt x="1265314" y="1523985"/>
                </a:lnTo>
                <a:lnTo>
                  <a:pt x="1263753" y="1500764"/>
                </a:lnTo>
                <a:lnTo>
                  <a:pt x="1262060" y="1477461"/>
                </a:lnTo>
                <a:lnTo>
                  <a:pt x="1260234" y="1454074"/>
                </a:lnTo>
                <a:lnTo>
                  <a:pt x="1258276" y="1430604"/>
                </a:lnTo>
                <a:lnTo>
                  <a:pt x="1256182" y="1407049"/>
                </a:lnTo>
                <a:lnTo>
                  <a:pt x="1253955" y="1383410"/>
                </a:lnTo>
                <a:lnTo>
                  <a:pt x="1251592" y="1359685"/>
                </a:lnTo>
                <a:lnTo>
                  <a:pt x="1249092" y="1335873"/>
                </a:lnTo>
                <a:lnTo>
                  <a:pt x="1246456" y="1311977"/>
                </a:lnTo>
                <a:lnTo>
                  <a:pt x="1243681" y="1287992"/>
                </a:lnTo>
                <a:lnTo>
                  <a:pt x="1240769" y="1263921"/>
                </a:lnTo>
                <a:lnTo>
                  <a:pt x="1237716" y="1239761"/>
                </a:lnTo>
                <a:lnTo>
                  <a:pt x="1234524" y="1215513"/>
                </a:lnTo>
                <a:lnTo>
                  <a:pt x="1231190" y="1191176"/>
                </a:lnTo>
                <a:lnTo>
                  <a:pt x="1227715" y="1166749"/>
                </a:lnTo>
                <a:lnTo>
                  <a:pt x="1224099" y="1142232"/>
                </a:lnTo>
                <a:lnTo>
                  <a:pt x="1220339" y="1117624"/>
                </a:lnTo>
                <a:lnTo>
                  <a:pt x="1216434" y="1092925"/>
                </a:lnTo>
                <a:lnTo>
                  <a:pt x="1212386" y="1068134"/>
                </a:lnTo>
                <a:lnTo>
                  <a:pt x="1208192" y="1043251"/>
                </a:lnTo>
                <a:lnTo>
                  <a:pt x="1203852" y="1018274"/>
                </a:lnTo>
                <a:lnTo>
                  <a:pt x="1199365" y="993205"/>
                </a:lnTo>
                <a:lnTo>
                  <a:pt x="1194731" y="968042"/>
                </a:lnTo>
                <a:lnTo>
                  <a:pt x="1189948" y="942784"/>
                </a:lnTo>
                <a:lnTo>
                  <a:pt x="1185016" y="917431"/>
                </a:lnTo>
                <a:lnTo>
                  <a:pt x="1179934" y="891982"/>
                </a:lnTo>
                <a:lnTo>
                  <a:pt x="1174701" y="866438"/>
                </a:lnTo>
                <a:lnTo>
                  <a:pt x="1169317" y="840796"/>
                </a:lnTo>
                <a:lnTo>
                  <a:pt x="1163781" y="815058"/>
                </a:lnTo>
                <a:lnTo>
                  <a:pt x="1158092" y="789222"/>
                </a:lnTo>
                <a:lnTo>
                  <a:pt x="1152249" y="763287"/>
                </a:lnTo>
                <a:lnTo>
                  <a:pt x="1146253" y="737255"/>
                </a:lnTo>
                <a:lnTo>
                  <a:pt x="1140101" y="711122"/>
                </a:lnTo>
                <a:lnTo>
                  <a:pt x="1133793" y="684890"/>
                </a:lnTo>
                <a:lnTo>
                  <a:pt x="1127327" y="658557"/>
                </a:lnTo>
                <a:lnTo>
                  <a:pt x="1120705" y="632123"/>
                </a:lnTo>
                <a:lnTo>
                  <a:pt x="1113925" y="605589"/>
                </a:lnTo>
                <a:lnTo>
                  <a:pt x="1106986" y="578951"/>
                </a:lnTo>
                <a:lnTo>
                  <a:pt x="1099887" y="552212"/>
                </a:lnTo>
                <a:lnTo>
                  <a:pt x="1092628" y="525369"/>
                </a:lnTo>
                <a:lnTo>
                  <a:pt x="1085207" y="498423"/>
                </a:lnTo>
                <a:lnTo>
                  <a:pt x="1077624" y="471372"/>
                </a:lnTo>
                <a:lnTo>
                  <a:pt x="1069880" y="444217"/>
                </a:lnTo>
                <a:lnTo>
                  <a:pt x="1061971" y="416957"/>
                </a:lnTo>
                <a:lnTo>
                  <a:pt x="1053898" y="389591"/>
                </a:lnTo>
                <a:lnTo>
                  <a:pt x="1045660" y="362118"/>
                </a:lnTo>
                <a:lnTo>
                  <a:pt x="1037256" y="334538"/>
                </a:lnTo>
                <a:lnTo>
                  <a:pt x="1028686" y="306852"/>
                </a:lnTo>
                <a:lnTo>
                  <a:pt x="1019950" y="279057"/>
                </a:lnTo>
                <a:lnTo>
                  <a:pt x="1011045" y="251154"/>
                </a:lnTo>
                <a:lnTo>
                  <a:pt x="1001971" y="223142"/>
                </a:lnTo>
                <a:lnTo>
                  <a:pt x="992728" y="195020"/>
                </a:lnTo>
                <a:lnTo>
                  <a:pt x="983314" y="166788"/>
                </a:lnTo>
                <a:lnTo>
                  <a:pt x="973730" y="138446"/>
                </a:lnTo>
                <a:lnTo>
                  <a:pt x="963974" y="109992"/>
                </a:lnTo>
                <a:lnTo>
                  <a:pt x="954045" y="81427"/>
                </a:lnTo>
                <a:lnTo>
                  <a:pt x="943943" y="52750"/>
                </a:lnTo>
                <a:lnTo>
                  <a:pt x="933667" y="23959"/>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6" name="Text Placeholder 2">
            <a:extLst>
              <a:ext uri="{FF2B5EF4-FFF2-40B4-BE49-F238E27FC236}">
                <a16:creationId xmlns:a16="http://schemas.microsoft.com/office/drawing/2014/main" id="{472E4862-F26F-4BEA-9FEB-DFE15AA4E10A}"/>
              </a:ext>
            </a:extLst>
          </p:cNvPr>
          <p:cNvSpPr>
            <a:spLocks noGrp="1"/>
          </p:cNvSpPr>
          <p:nvPr>
            <p:ph type="body" sz="quarter" idx="15"/>
          </p:nvPr>
        </p:nvSpPr>
        <p:spPr>
          <a:xfrm>
            <a:off x="432000" y="1416001"/>
            <a:ext cx="3456317"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10" name="Round Diagonal Corner Rectangle 4">
            <a:extLst>
              <a:ext uri="{FF2B5EF4-FFF2-40B4-BE49-F238E27FC236}">
                <a16:creationId xmlns:a16="http://schemas.microsoft.com/office/drawing/2014/main" id="{B1508920-DE1E-4600-ABEC-66488997A7F2}"/>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2" name="Rectangle 11">
            <a:hlinkClick r:id="rId2"/>
            <a:extLst>
              <a:ext uri="{FF2B5EF4-FFF2-40B4-BE49-F238E27FC236}">
                <a16:creationId xmlns:a16="http://schemas.microsoft.com/office/drawing/2014/main" id="{5CCFFF65-EF68-45FF-A126-7B581810B374}"/>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8" name="Picture 7">
            <a:extLst>
              <a:ext uri="{FF2B5EF4-FFF2-40B4-BE49-F238E27FC236}">
                <a16:creationId xmlns:a16="http://schemas.microsoft.com/office/drawing/2014/main" id="{A4694E5B-8288-4F85-9F48-AF84A3810CE6}"/>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3" name="Title 2">
            <a:extLst>
              <a:ext uri="{FF2B5EF4-FFF2-40B4-BE49-F238E27FC236}">
                <a16:creationId xmlns:a16="http://schemas.microsoft.com/office/drawing/2014/main" id="{3E108CA2-B250-42BE-9D56-C09CE2724843}"/>
              </a:ext>
            </a:extLst>
          </p:cNvPr>
          <p:cNvSpPr>
            <a:spLocks noGrp="1"/>
          </p:cNvSpPr>
          <p:nvPr>
            <p:ph type="title"/>
          </p:nvPr>
        </p:nvSpPr>
        <p:spPr>
          <a:xfrm>
            <a:off x="431402" y="441140"/>
            <a:ext cx="3456917" cy="393955"/>
          </a:xfrm>
        </p:spPr>
        <p:txBody>
          <a:bodyPr/>
          <a:lstStyle/>
          <a:p>
            <a:r>
              <a:rPr lang="en-US"/>
              <a:t>Click to edit Master title style</a:t>
            </a:r>
            <a:endParaRPr lang="en-GB" dirty="0"/>
          </a:p>
        </p:txBody>
      </p:sp>
    </p:spTree>
    <p:extLst>
      <p:ext uri="{BB962C8B-B14F-4D97-AF65-F5344CB8AC3E}">
        <p14:creationId xmlns:p14="http://schemas.microsoft.com/office/powerpoint/2010/main" val="18872156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Title_Intro_Copy">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497523" y="2298492"/>
            <a:ext cx="4754880" cy="637747"/>
          </a:xfrm>
          <a:prstGeom prst="rect">
            <a:avLst/>
          </a:prstGeom>
          <a:ln>
            <a:noFill/>
          </a:ln>
        </p:spPr>
        <p:txBody>
          <a:bodyPr/>
          <a:lstStyle>
            <a:lvl1pPr marL="0" indent="0">
              <a:buNone/>
              <a:defRPr sz="1400" b="0" i="0">
                <a:solidFill>
                  <a:srgbClr val="FFBF22"/>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497523" y="3291081"/>
            <a:ext cx="8371840" cy="2050789"/>
          </a:xfrm>
          <a:prstGeom prst="rect">
            <a:avLst/>
          </a:prstGeom>
          <a:ln>
            <a:noFill/>
          </a:ln>
        </p:spPr>
        <p:txBody>
          <a:bodyPr numCol="2"/>
          <a:lstStyle>
            <a:lvl1pPr marL="0" indent="0">
              <a:buNone/>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5" name="Picture 4">
            <a:extLst>
              <a:ext uri="{FF2B5EF4-FFF2-40B4-BE49-F238E27FC236}">
                <a16:creationId xmlns:a16="http://schemas.microsoft.com/office/drawing/2014/main" id="{D3E91914-15F0-C444-9769-0EC96228BFAC}"/>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27067793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Key message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B576D51F-52D4-4DC0-8A7D-6D12557F5F23}"/>
              </a:ext>
            </a:extLst>
          </p:cNvPr>
          <p:cNvSpPr>
            <a:spLocks noGrp="1"/>
          </p:cNvSpPr>
          <p:nvPr>
            <p:ph type="pic" sz="quarter" idx="16" hasCustomPrompt="1"/>
          </p:nvPr>
        </p:nvSpPr>
        <p:spPr>
          <a:xfrm>
            <a:off x="-8119" y="0"/>
            <a:ext cx="9480900" cy="6857037"/>
          </a:xfrm>
          <a:custGeom>
            <a:avLst/>
            <a:gdLst>
              <a:gd name="connsiteX0" fmla="*/ 0 w 15633609"/>
              <a:gd name="connsiteY0" fmla="*/ 0 h 11307763"/>
              <a:gd name="connsiteX1" fmla="*/ 13600449 w 15633609"/>
              <a:gd name="connsiteY1" fmla="*/ 0 h 11307763"/>
              <a:gd name="connsiteX2" fmla="*/ 13581182 w 15633609"/>
              <a:gd name="connsiteY2" fmla="*/ 53290 h 11307763"/>
              <a:gd name="connsiteX3" fmla="*/ 13558589 w 15633609"/>
              <a:gd name="connsiteY3" fmla="*/ 116593 h 11307763"/>
              <a:gd name="connsiteX4" fmla="*/ 13536379 w 15633609"/>
              <a:gd name="connsiteY4" fmla="*/ 179648 h 11307763"/>
              <a:gd name="connsiteX5" fmla="*/ 13514550 w 15633609"/>
              <a:gd name="connsiteY5" fmla="*/ 242456 h 11307763"/>
              <a:gd name="connsiteX6" fmla="*/ 13493100 w 15633609"/>
              <a:gd name="connsiteY6" fmla="*/ 305018 h 11307763"/>
              <a:gd name="connsiteX7" fmla="*/ 13472027 w 15633609"/>
              <a:gd name="connsiteY7" fmla="*/ 367337 h 11307763"/>
              <a:gd name="connsiteX8" fmla="*/ 13451330 w 15633609"/>
              <a:gd name="connsiteY8" fmla="*/ 429411 h 11307763"/>
              <a:gd name="connsiteX9" fmla="*/ 13431008 w 15633609"/>
              <a:gd name="connsiteY9" fmla="*/ 491244 h 11307763"/>
              <a:gd name="connsiteX10" fmla="*/ 13411058 w 15633609"/>
              <a:gd name="connsiteY10" fmla="*/ 552836 h 11307763"/>
              <a:gd name="connsiteX11" fmla="*/ 13391480 w 15633609"/>
              <a:gd name="connsiteY11" fmla="*/ 614189 h 11307763"/>
              <a:gd name="connsiteX12" fmla="*/ 13372270 w 15633609"/>
              <a:gd name="connsiteY12" fmla="*/ 675303 h 11307763"/>
              <a:gd name="connsiteX13" fmla="*/ 13353428 w 15633609"/>
              <a:gd name="connsiteY13" fmla="*/ 736179 h 11307763"/>
              <a:gd name="connsiteX14" fmla="*/ 13334952 w 15633609"/>
              <a:gd name="connsiteY14" fmla="*/ 796820 h 11307763"/>
              <a:gd name="connsiteX15" fmla="*/ 13316841 w 15633609"/>
              <a:gd name="connsiteY15" fmla="*/ 857225 h 11307763"/>
              <a:gd name="connsiteX16" fmla="*/ 13299092 w 15633609"/>
              <a:gd name="connsiteY16" fmla="*/ 917397 h 11307763"/>
              <a:gd name="connsiteX17" fmla="*/ 13281704 w 15633609"/>
              <a:gd name="connsiteY17" fmla="*/ 977336 h 11307763"/>
              <a:gd name="connsiteX18" fmla="*/ 13264675 w 15633609"/>
              <a:gd name="connsiteY18" fmla="*/ 1037044 h 11307763"/>
              <a:gd name="connsiteX19" fmla="*/ 13248005 w 15633609"/>
              <a:gd name="connsiteY19" fmla="*/ 1096522 h 11307763"/>
              <a:gd name="connsiteX20" fmla="*/ 13231690 w 15633609"/>
              <a:gd name="connsiteY20" fmla="*/ 1155770 h 11307763"/>
              <a:gd name="connsiteX21" fmla="*/ 13215729 w 15633609"/>
              <a:gd name="connsiteY21" fmla="*/ 1214791 h 11307763"/>
              <a:gd name="connsiteX22" fmla="*/ 13200122 w 15633609"/>
              <a:gd name="connsiteY22" fmla="*/ 1273585 h 11307763"/>
              <a:gd name="connsiteX23" fmla="*/ 13184865 w 15633609"/>
              <a:gd name="connsiteY23" fmla="*/ 1332154 h 11307763"/>
              <a:gd name="connsiteX24" fmla="*/ 13169958 w 15633609"/>
              <a:gd name="connsiteY24" fmla="*/ 1390498 h 11307763"/>
              <a:gd name="connsiteX25" fmla="*/ 13155398 w 15633609"/>
              <a:gd name="connsiteY25" fmla="*/ 1448619 h 11307763"/>
              <a:gd name="connsiteX26" fmla="*/ 13141185 w 15633609"/>
              <a:gd name="connsiteY26" fmla="*/ 1506519 h 11307763"/>
              <a:gd name="connsiteX27" fmla="*/ 13127316 w 15633609"/>
              <a:gd name="connsiteY27" fmla="*/ 1564197 h 11307763"/>
              <a:gd name="connsiteX28" fmla="*/ 13113790 w 15633609"/>
              <a:gd name="connsiteY28" fmla="*/ 1621656 h 11307763"/>
              <a:gd name="connsiteX29" fmla="*/ 13100605 w 15633609"/>
              <a:gd name="connsiteY29" fmla="*/ 1678897 h 11307763"/>
              <a:gd name="connsiteX30" fmla="*/ 13087759 w 15633609"/>
              <a:gd name="connsiteY30" fmla="*/ 1735920 h 11307763"/>
              <a:gd name="connsiteX31" fmla="*/ 13075251 w 15633609"/>
              <a:gd name="connsiteY31" fmla="*/ 1792727 h 11307763"/>
              <a:gd name="connsiteX32" fmla="*/ 13063080 w 15633609"/>
              <a:gd name="connsiteY32" fmla="*/ 1849320 h 11307763"/>
              <a:gd name="connsiteX33" fmla="*/ 13051242 w 15633609"/>
              <a:gd name="connsiteY33" fmla="*/ 1905699 h 11307763"/>
              <a:gd name="connsiteX34" fmla="*/ 13039738 w 15633609"/>
              <a:gd name="connsiteY34" fmla="*/ 1961865 h 11307763"/>
              <a:gd name="connsiteX35" fmla="*/ 13028565 w 15633609"/>
              <a:gd name="connsiteY35" fmla="*/ 2017820 h 11307763"/>
              <a:gd name="connsiteX36" fmla="*/ 13017721 w 15633609"/>
              <a:gd name="connsiteY36" fmla="*/ 2073565 h 11307763"/>
              <a:gd name="connsiteX37" fmla="*/ 13007205 w 15633609"/>
              <a:gd name="connsiteY37" fmla="*/ 2129101 h 11307763"/>
              <a:gd name="connsiteX38" fmla="*/ 12997016 w 15633609"/>
              <a:gd name="connsiteY38" fmla="*/ 2184430 h 11307763"/>
              <a:gd name="connsiteX39" fmla="*/ 12987151 w 15633609"/>
              <a:gd name="connsiteY39" fmla="*/ 2239551 h 11307763"/>
              <a:gd name="connsiteX40" fmla="*/ 12977609 w 15633609"/>
              <a:gd name="connsiteY40" fmla="*/ 2294468 h 11307763"/>
              <a:gd name="connsiteX41" fmla="*/ 12968388 w 15633609"/>
              <a:gd name="connsiteY41" fmla="*/ 2349180 h 11307763"/>
              <a:gd name="connsiteX42" fmla="*/ 12959486 w 15633609"/>
              <a:gd name="connsiteY42" fmla="*/ 2403689 h 11307763"/>
              <a:gd name="connsiteX43" fmla="*/ 12950903 w 15633609"/>
              <a:gd name="connsiteY43" fmla="*/ 2457997 h 11307763"/>
              <a:gd name="connsiteX44" fmla="*/ 12942636 w 15633609"/>
              <a:gd name="connsiteY44" fmla="*/ 2512103 h 11307763"/>
              <a:gd name="connsiteX45" fmla="*/ 12934683 w 15633609"/>
              <a:gd name="connsiteY45" fmla="*/ 2566011 h 11307763"/>
              <a:gd name="connsiteX46" fmla="*/ 12927044 w 15633609"/>
              <a:gd name="connsiteY46" fmla="*/ 2619720 h 11307763"/>
              <a:gd name="connsiteX47" fmla="*/ 12919715 w 15633609"/>
              <a:gd name="connsiteY47" fmla="*/ 2673232 h 11307763"/>
              <a:gd name="connsiteX48" fmla="*/ 12912696 w 15633609"/>
              <a:gd name="connsiteY48" fmla="*/ 2726548 h 11307763"/>
              <a:gd name="connsiteX49" fmla="*/ 12905986 w 15633609"/>
              <a:gd name="connsiteY49" fmla="*/ 2779669 h 11307763"/>
              <a:gd name="connsiteX50" fmla="*/ 12899581 w 15633609"/>
              <a:gd name="connsiteY50" fmla="*/ 2832597 h 11307763"/>
              <a:gd name="connsiteX51" fmla="*/ 12893481 w 15633609"/>
              <a:gd name="connsiteY51" fmla="*/ 2885332 h 11307763"/>
              <a:gd name="connsiteX52" fmla="*/ 12887685 w 15633609"/>
              <a:gd name="connsiteY52" fmla="*/ 2937876 h 11307763"/>
              <a:gd name="connsiteX53" fmla="*/ 12882189 w 15633609"/>
              <a:gd name="connsiteY53" fmla="*/ 2990230 h 11307763"/>
              <a:gd name="connsiteX54" fmla="*/ 12876994 w 15633609"/>
              <a:gd name="connsiteY54" fmla="*/ 3042396 h 11307763"/>
              <a:gd name="connsiteX55" fmla="*/ 12872096 w 15633609"/>
              <a:gd name="connsiteY55" fmla="*/ 3094373 h 11307763"/>
              <a:gd name="connsiteX56" fmla="*/ 12867494 w 15633609"/>
              <a:gd name="connsiteY56" fmla="*/ 3146165 h 11307763"/>
              <a:gd name="connsiteX57" fmla="*/ 12863188 w 15633609"/>
              <a:gd name="connsiteY57" fmla="*/ 3197771 h 11307763"/>
              <a:gd name="connsiteX58" fmla="*/ 12859174 w 15633609"/>
              <a:gd name="connsiteY58" fmla="*/ 3249192 h 11307763"/>
              <a:gd name="connsiteX59" fmla="*/ 12855452 w 15633609"/>
              <a:gd name="connsiteY59" fmla="*/ 3300431 h 11307763"/>
              <a:gd name="connsiteX60" fmla="*/ 12852020 w 15633609"/>
              <a:gd name="connsiteY60" fmla="*/ 3351489 h 11307763"/>
              <a:gd name="connsiteX61" fmla="*/ 12848875 w 15633609"/>
              <a:gd name="connsiteY61" fmla="*/ 3402365 h 11307763"/>
              <a:gd name="connsiteX62" fmla="*/ 12846017 w 15633609"/>
              <a:gd name="connsiteY62" fmla="*/ 3453063 h 11307763"/>
              <a:gd name="connsiteX63" fmla="*/ 12843444 w 15633609"/>
              <a:gd name="connsiteY63" fmla="*/ 3503582 h 11307763"/>
              <a:gd name="connsiteX64" fmla="*/ 12841154 w 15633609"/>
              <a:gd name="connsiteY64" fmla="*/ 3553924 h 11307763"/>
              <a:gd name="connsiteX65" fmla="*/ 12839145 w 15633609"/>
              <a:gd name="connsiteY65" fmla="*/ 3604090 h 11307763"/>
              <a:gd name="connsiteX66" fmla="*/ 12837417 w 15633609"/>
              <a:gd name="connsiteY66" fmla="*/ 3654082 h 11307763"/>
              <a:gd name="connsiteX67" fmla="*/ 12835966 w 15633609"/>
              <a:gd name="connsiteY67" fmla="*/ 3703900 h 11307763"/>
              <a:gd name="connsiteX68" fmla="*/ 12834792 w 15633609"/>
              <a:gd name="connsiteY68" fmla="*/ 3753546 h 11307763"/>
              <a:gd name="connsiteX69" fmla="*/ 12833892 w 15633609"/>
              <a:gd name="connsiteY69" fmla="*/ 3803021 h 11307763"/>
              <a:gd name="connsiteX70" fmla="*/ 12833266 w 15633609"/>
              <a:gd name="connsiteY70" fmla="*/ 3852326 h 11307763"/>
              <a:gd name="connsiteX71" fmla="*/ 12832911 w 15633609"/>
              <a:gd name="connsiteY71" fmla="*/ 3901463 h 11307763"/>
              <a:gd name="connsiteX72" fmla="*/ 12832827 w 15633609"/>
              <a:gd name="connsiteY72" fmla="*/ 3950432 h 11307763"/>
              <a:gd name="connsiteX73" fmla="*/ 12833010 w 15633609"/>
              <a:gd name="connsiteY73" fmla="*/ 3999234 h 11307763"/>
              <a:gd name="connsiteX74" fmla="*/ 12833460 w 15633609"/>
              <a:gd name="connsiteY74" fmla="*/ 4047871 h 11307763"/>
              <a:gd name="connsiteX75" fmla="*/ 12834174 w 15633609"/>
              <a:gd name="connsiteY75" fmla="*/ 4096344 h 11307763"/>
              <a:gd name="connsiteX76" fmla="*/ 12835152 w 15633609"/>
              <a:gd name="connsiteY76" fmla="*/ 4144655 h 11307763"/>
              <a:gd name="connsiteX77" fmla="*/ 12836392 w 15633609"/>
              <a:gd name="connsiteY77" fmla="*/ 4192804 h 11307763"/>
              <a:gd name="connsiteX78" fmla="*/ 12837891 w 15633609"/>
              <a:gd name="connsiteY78" fmla="*/ 4240792 h 11307763"/>
              <a:gd name="connsiteX79" fmla="*/ 12839649 w 15633609"/>
              <a:gd name="connsiteY79" fmla="*/ 4288621 h 11307763"/>
              <a:gd name="connsiteX80" fmla="*/ 12841663 w 15633609"/>
              <a:gd name="connsiteY80" fmla="*/ 4336292 h 11307763"/>
              <a:gd name="connsiteX81" fmla="*/ 12843933 w 15633609"/>
              <a:gd name="connsiteY81" fmla="*/ 4383807 h 11307763"/>
              <a:gd name="connsiteX82" fmla="*/ 12846455 w 15633609"/>
              <a:gd name="connsiteY82" fmla="*/ 4431165 h 11307763"/>
              <a:gd name="connsiteX83" fmla="*/ 12849229 w 15633609"/>
              <a:gd name="connsiteY83" fmla="*/ 4478369 h 11307763"/>
              <a:gd name="connsiteX84" fmla="*/ 12852253 w 15633609"/>
              <a:gd name="connsiteY84" fmla="*/ 4525420 h 11307763"/>
              <a:gd name="connsiteX85" fmla="*/ 12855526 w 15633609"/>
              <a:gd name="connsiteY85" fmla="*/ 4572318 h 11307763"/>
              <a:gd name="connsiteX86" fmla="*/ 12859045 w 15633609"/>
              <a:gd name="connsiteY86" fmla="*/ 4619066 h 11307763"/>
              <a:gd name="connsiteX87" fmla="*/ 12862809 w 15633609"/>
              <a:gd name="connsiteY87" fmla="*/ 4665663 h 11307763"/>
              <a:gd name="connsiteX88" fmla="*/ 12866816 w 15633609"/>
              <a:gd name="connsiteY88" fmla="*/ 4712112 h 11307763"/>
              <a:gd name="connsiteX89" fmla="*/ 12871065 w 15633609"/>
              <a:gd name="connsiteY89" fmla="*/ 4758414 h 11307763"/>
              <a:gd name="connsiteX90" fmla="*/ 12875554 w 15633609"/>
              <a:gd name="connsiteY90" fmla="*/ 4804569 h 11307763"/>
              <a:gd name="connsiteX91" fmla="*/ 12880282 w 15633609"/>
              <a:gd name="connsiteY91" fmla="*/ 4850580 h 11307763"/>
              <a:gd name="connsiteX92" fmla="*/ 12885246 w 15633609"/>
              <a:gd name="connsiteY92" fmla="*/ 4896446 h 11307763"/>
              <a:gd name="connsiteX93" fmla="*/ 12890445 w 15633609"/>
              <a:gd name="connsiteY93" fmla="*/ 4942170 h 11307763"/>
              <a:gd name="connsiteX94" fmla="*/ 12895878 w 15633609"/>
              <a:gd name="connsiteY94" fmla="*/ 4987752 h 11307763"/>
              <a:gd name="connsiteX95" fmla="*/ 12901542 w 15633609"/>
              <a:gd name="connsiteY95" fmla="*/ 5033194 h 11307763"/>
              <a:gd name="connsiteX96" fmla="*/ 12907436 w 15633609"/>
              <a:gd name="connsiteY96" fmla="*/ 5078497 h 11307763"/>
              <a:gd name="connsiteX97" fmla="*/ 12913559 w 15633609"/>
              <a:gd name="connsiteY97" fmla="*/ 5123661 h 11307763"/>
              <a:gd name="connsiteX98" fmla="*/ 12919909 w 15633609"/>
              <a:gd name="connsiteY98" fmla="*/ 5168689 h 11307763"/>
              <a:gd name="connsiteX99" fmla="*/ 12926483 w 15633609"/>
              <a:gd name="connsiteY99" fmla="*/ 5213582 h 11307763"/>
              <a:gd name="connsiteX100" fmla="*/ 12933281 w 15633609"/>
              <a:gd name="connsiteY100" fmla="*/ 5258339 h 11307763"/>
              <a:gd name="connsiteX101" fmla="*/ 12940301 w 15633609"/>
              <a:gd name="connsiteY101" fmla="*/ 5302964 h 11307763"/>
              <a:gd name="connsiteX102" fmla="*/ 12947541 w 15633609"/>
              <a:gd name="connsiteY102" fmla="*/ 5347457 h 11307763"/>
              <a:gd name="connsiteX103" fmla="*/ 12955000 w 15633609"/>
              <a:gd name="connsiteY103" fmla="*/ 5391819 h 11307763"/>
              <a:gd name="connsiteX104" fmla="*/ 12962675 w 15633609"/>
              <a:gd name="connsiteY104" fmla="*/ 5436051 h 11307763"/>
              <a:gd name="connsiteX105" fmla="*/ 12970566 w 15633609"/>
              <a:gd name="connsiteY105" fmla="*/ 5480154 h 11307763"/>
              <a:gd name="connsiteX106" fmla="*/ 12978669 w 15633609"/>
              <a:gd name="connsiteY106" fmla="*/ 5524130 h 11307763"/>
              <a:gd name="connsiteX107" fmla="*/ 12986985 w 15633609"/>
              <a:gd name="connsiteY107" fmla="*/ 5567980 h 11307763"/>
              <a:gd name="connsiteX108" fmla="*/ 12995511 w 15633609"/>
              <a:gd name="connsiteY108" fmla="*/ 5611705 h 11307763"/>
              <a:gd name="connsiteX109" fmla="*/ 13004246 w 15633609"/>
              <a:gd name="connsiteY109" fmla="*/ 5655307 h 11307763"/>
              <a:gd name="connsiteX110" fmla="*/ 13013187 w 15633609"/>
              <a:gd name="connsiteY110" fmla="*/ 5698785 h 11307763"/>
              <a:gd name="connsiteX111" fmla="*/ 13022334 w 15633609"/>
              <a:gd name="connsiteY111" fmla="*/ 5742143 h 11307763"/>
              <a:gd name="connsiteX112" fmla="*/ 13031684 w 15633609"/>
              <a:gd name="connsiteY112" fmla="*/ 5785380 h 11307763"/>
              <a:gd name="connsiteX113" fmla="*/ 13041236 w 15633609"/>
              <a:gd name="connsiteY113" fmla="*/ 5828498 h 11307763"/>
              <a:gd name="connsiteX114" fmla="*/ 13050988 w 15633609"/>
              <a:gd name="connsiteY114" fmla="*/ 5871498 h 11307763"/>
              <a:gd name="connsiteX115" fmla="*/ 13060939 w 15633609"/>
              <a:gd name="connsiteY115" fmla="*/ 5914381 h 11307763"/>
              <a:gd name="connsiteX116" fmla="*/ 13071087 w 15633609"/>
              <a:gd name="connsiteY116" fmla="*/ 5957149 h 11307763"/>
              <a:gd name="connsiteX117" fmla="*/ 13081430 w 15633609"/>
              <a:gd name="connsiteY117" fmla="*/ 5999803 h 11307763"/>
              <a:gd name="connsiteX118" fmla="*/ 13091967 w 15633609"/>
              <a:gd name="connsiteY118" fmla="*/ 6042343 h 11307763"/>
              <a:gd name="connsiteX119" fmla="*/ 13102695 w 15633609"/>
              <a:gd name="connsiteY119" fmla="*/ 6084772 h 11307763"/>
              <a:gd name="connsiteX120" fmla="*/ 13113614 w 15633609"/>
              <a:gd name="connsiteY120" fmla="*/ 6127090 h 11307763"/>
              <a:gd name="connsiteX121" fmla="*/ 13124722 w 15633609"/>
              <a:gd name="connsiteY121" fmla="*/ 6169298 h 11307763"/>
              <a:gd name="connsiteX122" fmla="*/ 13136016 w 15633609"/>
              <a:gd name="connsiteY122" fmla="*/ 6211398 h 11307763"/>
              <a:gd name="connsiteX123" fmla="*/ 13147496 w 15633609"/>
              <a:gd name="connsiteY123" fmla="*/ 6253390 h 11307763"/>
              <a:gd name="connsiteX124" fmla="*/ 13159160 w 15633609"/>
              <a:gd name="connsiteY124" fmla="*/ 6295277 h 11307763"/>
              <a:gd name="connsiteX125" fmla="*/ 13171005 w 15633609"/>
              <a:gd name="connsiteY125" fmla="*/ 6337058 h 11307763"/>
              <a:gd name="connsiteX126" fmla="*/ 13183031 w 15633609"/>
              <a:gd name="connsiteY126" fmla="*/ 6378736 h 11307763"/>
              <a:gd name="connsiteX127" fmla="*/ 13195236 w 15633609"/>
              <a:gd name="connsiteY127" fmla="*/ 6420312 h 11307763"/>
              <a:gd name="connsiteX128" fmla="*/ 13207618 w 15633609"/>
              <a:gd name="connsiteY128" fmla="*/ 6461786 h 11307763"/>
              <a:gd name="connsiteX129" fmla="*/ 13220175 w 15633609"/>
              <a:gd name="connsiteY129" fmla="*/ 6503160 h 11307763"/>
              <a:gd name="connsiteX130" fmla="*/ 13232905 w 15633609"/>
              <a:gd name="connsiteY130" fmla="*/ 6544435 h 11307763"/>
              <a:gd name="connsiteX131" fmla="*/ 13245808 w 15633609"/>
              <a:gd name="connsiteY131" fmla="*/ 6585612 h 11307763"/>
              <a:gd name="connsiteX132" fmla="*/ 13258881 w 15633609"/>
              <a:gd name="connsiteY132" fmla="*/ 6626693 h 11307763"/>
              <a:gd name="connsiteX133" fmla="*/ 13272123 w 15633609"/>
              <a:gd name="connsiteY133" fmla="*/ 6667678 h 11307763"/>
              <a:gd name="connsiteX134" fmla="*/ 13285533 w 15633609"/>
              <a:gd name="connsiteY134" fmla="*/ 6708569 h 11307763"/>
              <a:gd name="connsiteX135" fmla="*/ 13299107 w 15633609"/>
              <a:gd name="connsiteY135" fmla="*/ 6749367 h 11307763"/>
              <a:gd name="connsiteX136" fmla="*/ 13312845 w 15633609"/>
              <a:gd name="connsiteY136" fmla="*/ 6790073 h 11307763"/>
              <a:gd name="connsiteX137" fmla="*/ 13326746 w 15633609"/>
              <a:gd name="connsiteY137" fmla="*/ 6830689 h 11307763"/>
              <a:gd name="connsiteX138" fmla="*/ 13340807 w 15633609"/>
              <a:gd name="connsiteY138" fmla="*/ 6871215 h 11307763"/>
              <a:gd name="connsiteX139" fmla="*/ 13355026 w 15633609"/>
              <a:gd name="connsiteY139" fmla="*/ 6911653 h 11307763"/>
              <a:gd name="connsiteX140" fmla="*/ 13369403 w 15633609"/>
              <a:gd name="connsiteY140" fmla="*/ 6952003 h 11307763"/>
              <a:gd name="connsiteX141" fmla="*/ 13383935 w 15633609"/>
              <a:gd name="connsiteY141" fmla="*/ 6992268 h 11307763"/>
              <a:gd name="connsiteX142" fmla="*/ 13398622 w 15633609"/>
              <a:gd name="connsiteY142" fmla="*/ 7032448 h 11307763"/>
              <a:gd name="connsiteX143" fmla="*/ 13413460 w 15633609"/>
              <a:gd name="connsiteY143" fmla="*/ 7072544 h 11307763"/>
              <a:gd name="connsiteX144" fmla="*/ 13428449 w 15633609"/>
              <a:gd name="connsiteY144" fmla="*/ 7112558 h 11307763"/>
              <a:gd name="connsiteX145" fmla="*/ 13443587 w 15633609"/>
              <a:gd name="connsiteY145" fmla="*/ 7152491 h 11307763"/>
              <a:gd name="connsiteX146" fmla="*/ 13458871 w 15633609"/>
              <a:gd name="connsiteY146" fmla="*/ 7192343 h 11307763"/>
              <a:gd name="connsiteX147" fmla="*/ 13474302 w 15633609"/>
              <a:gd name="connsiteY147" fmla="*/ 7232117 h 11307763"/>
              <a:gd name="connsiteX148" fmla="*/ 13489876 w 15633609"/>
              <a:gd name="connsiteY148" fmla="*/ 7271813 h 11307763"/>
              <a:gd name="connsiteX149" fmla="*/ 13505593 w 15633609"/>
              <a:gd name="connsiteY149" fmla="*/ 7311433 h 11307763"/>
              <a:gd name="connsiteX150" fmla="*/ 13521450 w 15633609"/>
              <a:gd name="connsiteY150" fmla="*/ 7350977 h 11307763"/>
              <a:gd name="connsiteX151" fmla="*/ 13537446 w 15633609"/>
              <a:gd name="connsiteY151" fmla="*/ 7390448 h 11307763"/>
              <a:gd name="connsiteX152" fmla="*/ 13553580 w 15633609"/>
              <a:gd name="connsiteY152" fmla="*/ 7429845 h 11307763"/>
              <a:gd name="connsiteX153" fmla="*/ 13569849 w 15633609"/>
              <a:gd name="connsiteY153" fmla="*/ 7469171 h 11307763"/>
              <a:gd name="connsiteX154" fmla="*/ 13586251 w 15633609"/>
              <a:gd name="connsiteY154" fmla="*/ 7508426 h 11307763"/>
              <a:gd name="connsiteX155" fmla="*/ 13602787 w 15633609"/>
              <a:gd name="connsiteY155" fmla="*/ 7547611 h 11307763"/>
              <a:gd name="connsiteX156" fmla="*/ 13619452 w 15633609"/>
              <a:gd name="connsiteY156" fmla="*/ 7586729 h 11307763"/>
              <a:gd name="connsiteX157" fmla="*/ 13636247 w 15633609"/>
              <a:gd name="connsiteY157" fmla="*/ 7625779 h 11307763"/>
              <a:gd name="connsiteX158" fmla="*/ 13653169 w 15633609"/>
              <a:gd name="connsiteY158" fmla="*/ 7664764 h 11307763"/>
              <a:gd name="connsiteX159" fmla="*/ 13670217 w 15633609"/>
              <a:gd name="connsiteY159" fmla="*/ 7703683 h 11307763"/>
              <a:gd name="connsiteX160" fmla="*/ 13687389 w 15633609"/>
              <a:gd name="connsiteY160" fmla="*/ 7742540 h 11307763"/>
              <a:gd name="connsiteX161" fmla="*/ 13704683 w 15633609"/>
              <a:gd name="connsiteY161" fmla="*/ 7781334 h 11307763"/>
              <a:gd name="connsiteX162" fmla="*/ 13722098 w 15633609"/>
              <a:gd name="connsiteY162" fmla="*/ 7820067 h 11307763"/>
              <a:gd name="connsiteX163" fmla="*/ 13739632 w 15633609"/>
              <a:gd name="connsiteY163" fmla="*/ 7858740 h 11307763"/>
              <a:gd name="connsiteX164" fmla="*/ 13757283 w 15633609"/>
              <a:gd name="connsiteY164" fmla="*/ 7897355 h 11307763"/>
              <a:gd name="connsiteX165" fmla="*/ 13775050 w 15633609"/>
              <a:gd name="connsiteY165" fmla="*/ 7935911 h 11307763"/>
              <a:gd name="connsiteX166" fmla="*/ 13792931 w 15633609"/>
              <a:gd name="connsiteY166" fmla="*/ 7974412 h 11307763"/>
              <a:gd name="connsiteX167" fmla="*/ 13810924 w 15633609"/>
              <a:gd name="connsiteY167" fmla="*/ 8012857 h 11307763"/>
              <a:gd name="connsiteX168" fmla="*/ 13829028 w 15633609"/>
              <a:gd name="connsiteY168" fmla="*/ 8051248 h 11307763"/>
              <a:gd name="connsiteX169" fmla="*/ 13847242 w 15633609"/>
              <a:gd name="connsiteY169" fmla="*/ 8089587 h 11307763"/>
              <a:gd name="connsiteX170" fmla="*/ 13865562 w 15633609"/>
              <a:gd name="connsiteY170" fmla="*/ 8127873 h 11307763"/>
              <a:gd name="connsiteX171" fmla="*/ 13883989 w 15633609"/>
              <a:gd name="connsiteY171" fmla="*/ 8166110 h 11307763"/>
              <a:gd name="connsiteX172" fmla="*/ 13902519 w 15633609"/>
              <a:gd name="connsiteY172" fmla="*/ 8204296 h 11307763"/>
              <a:gd name="connsiteX173" fmla="*/ 13921152 w 15633609"/>
              <a:gd name="connsiteY173" fmla="*/ 8242435 h 11307763"/>
              <a:gd name="connsiteX174" fmla="*/ 13939886 w 15633609"/>
              <a:gd name="connsiteY174" fmla="*/ 8280527 h 11307763"/>
              <a:gd name="connsiteX175" fmla="*/ 13958719 w 15633609"/>
              <a:gd name="connsiteY175" fmla="*/ 8318574 h 11307763"/>
              <a:gd name="connsiteX176" fmla="*/ 13977649 w 15633609"/>
              <a:gd name="connsiteY176" fmla="*/ 8356575 h 11307763"/>
              <a:gd name="connsiteX177" fmla="*/ 13996675 w 15633609"/>
              <a:gd name="connsiteY177" fmla="*/ 8394533 h 11307763"/>
              <a:gd name="connsiteX178" fmla="*/ 14015796 w 15633609"/>
              <a:gd name="connsiteY178" fmla="*/ 8432450 h 11307763"/>
              <a:gd name="connsiteX179" fmla="*/ 14035009 w 15633609"/>
              <a:gd name="connsiteY179" fmla="*/ 8470325 h 11307763"/>
              <a:gd name="connsiteX180" fmla="*/ 14054313 w 15633609"/>
              <a:gd name="connsiteY180" fmla="*/ 8508160 h 11307763"/>
              <a:gd name="connsiteX181" fmla="*/ 14073706 w 15633609"/>
              <a:gd name="connsiteY181" fmla="*/ 8545957 h 11307763"/>
              <a:gd name="connsiteX182" fmla="*/ 14093186 w 15633609"/>
              <a:gd name="connsiteY182" fmla="*/ 8583716 h 11307763"/>
              <a:gd name="connsiteX183" fmla="*/ 14112752 w 15633609"/>
              <a:gd name="connsiteY183" fmla="*/ 8621439 h 11307763"/>
              <a:gd name="connsiteX184" fmla="*/ 14132403 w 15633609"/>
              <a:gd name="connsiteY184" fmla="*/ 8659126 h 11307763"/>
              <a:gd name="connsiteX185" fmla="*/ 14171950 w 15633609"/>
              <a:gd name="connsiteY185" fmla="*/ 8734401 h 11307763"/>
              <a:gd name="connsiteX186" fmla="*/ 14211815 w 15633609"/>
              <a:gd name="connsiteY186" fmla="*/ 8809550 h 11307763"/>
              <a:gd name="connsiteX187" fmla="*/ 14251983 w 15633609"/>
              <a:gd name="connsiteY187" fmla="*/ 8884582 h 11307763"/>
              <a:gd name="connsiteX188" fmla="*/ 14292441 w 15633609"/>
              <a:gd name="connsiteY188" fmla="*/ 8959507 h 11307763"/>
              <a:gd name="connsiteX189" fmla="*/ 14333177 w 15633609"/>
              <a:gd name="connsiteY189" fmla="*/ 9034334 h 11307763"/>
              <a:gd name="connsiteX190" fmla="*/ 14374177 w 15633609"/>
              <a:gd name="connsiteY190" fmla="*/ 9109073 h 11307763"/>
              <a:gd name="connsiteX191" fmla="*/ 14436142 w 15633609"/>
              <a:gd name="connsiteY191" fmla="*/ 9221036 h 11307763"/>
              <a:gd name="connsiteX192" fmla="*/ 14498627 w 15633609"/>
              <a:gd name="connsiteY192" fmla="*/ 9332854 h 11307763"/>
              <a:gd name="connsiteX193" fmla="*/ 14582671 w 15633609"/>
              <a:gd name="connsiteY193" fmla="*/ 9481773 h 11307763"/>
              <a:gd name="connsiteX194" fmla="*/ 14667452 w 15633609"/>
              <a:gd name="connsiteY194" fmla="*/ 9630565 h 11307763"/>
              <a:gd name="connsiteX195" fmla="*/ 14795776 w 15633609"/>
              <a:gd name="connsiteY195" fmla="*/ 9853682 h 11307763"/>
              <a:gd name="connsiteX196" fmla="*/ 15272668 w 15633609"/>
              <a:gd name="connsiteY196" fmla="*/ 10674932 h 11307763"/>
              <a:gd name="connsiteX197" fmla="*/ 15446180 w 15633609"/>
              <a:gd name="connsiteY197" fmla="*/ 10976499 h 11307763"/>
              <a:gd name="connsiteX198" fmla="*/ 15554022 w 15633609"/>
              <a:gd name="connsiteY198" fmla="*/ 11166221 h 11307763"/>
              <a:gd name="connsiteX199" fmla="*/ 15633609 w 15633609"/>
              <a:gd name="connsiteY199" fmla="*/ 11307763 h 11307763"/>
              <a:gd name="connsiteX200" fmla="*/ 0 w 15633609"/>
              <a:gd name="connsiteY200" fmla="*/ 11307763 h 1130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5633609" h="11307763">
                <a:moveTo>
                  <a:pt x="0" y="0"/>
                </a:moveTo>
                <a:lnTo>
                  <a:pt x="13600449" y="0"/>
                </a:lnTo>
                <a:lnTo>
                  <a:pt x="13581182" y="53290"/>
                </a:lnTo>
                <a:lnTo>
                  <a:pt x="13558589" y="116593"/>
                </a:lnTo>
                <a:lnTo>
                  <a:pt x="13536379" y="179648"/>
                </a:lnTo>
                <a:lnTo>
                  <a:pt x="13514550" y="242456"/>
                </a:lnTo>
                <a:lnTo>
                  <a:pt x="13493100" y="305018"/>
                </a:lnTo>
                <a:lnTo>
                  <a:pt x="13472027" y="367337"/>
                </a:lnTo>
                <a:lnTo>
                  <a:pt x="13451330" y="429411"/>
                </a:lnTo>
                <a:lnTo>
                  <a:pt x="13431008" y="491244"/>
                </a:lnTo>
                <a:lnTo>
                  <a:pt x="13411058" y="552836"/>
                </a:lnTo>
                <a:lnTo>
                  <a:pt x="13391480" y="614189"/>
                </a:lnTo>
                <a:lnTo>
                  <a:pt x="13372270" y="675303"/>
                </a:lnTo>
                <a:lnTo>
                  <a:pt x="13353428" y="736179"/>
                </a:lnTo>
                <a:lnTo>
                  <a:pt x="13334952" y="796820"/>
                </a:lnTo>
                <a:lnTo>
                  <a:pt x="13316841" y="857225"/>
                </a:lnTo>
                <a:lnTo>
                  <a:pt x="13299092" y="917397"/>
                </a:lnTo>
                <a:lnTo>
                  <a:pt x="13281704" y="977336"/>
                </a:lnTo>
                <a:lnTo>
                  <a:pt x="13264675" y="1037044"/>
                </a:lnTo>
                <a:lnTo>
                  <a:pt x="13248005" y="1096522"/>
                </a:lnTo>
                <a:lnTo>
                  <a:pt x="13231690" y="1155770"/>
                </a:lnTo>
                <a:lnTo>
                  <a:pt x="13215729" y="1214791"/>
                </a:lnTo>
                <a:lnTo>
                  <a:pt x="13200122" y="1273585"/>
                </a:lnTo>
                <a:lnTo>
                  <a:pt x="13184865" y="1332154"/>
                </a:lnTo>
                <a:lnTo>
                  <a:pt x="13169958" y="1390498"/>
                </a:lnTo>
                <a:lnTo>
                  <a:pt x="13155398" y="1448619"/>
                </a:lnTo>
                <a:lnTo>
                  <a:pt x="13141185" y="1506519"/>
                </a:lnTo>
                <a:lnTo>
                  <a:pt x="13127316" y="1564197"/>
                </a:lnTo>
                <a:lnTo>
                  <a:pt x="13113790" y="1621656"/>
                </a:lnTo>
                <a:lnTo>
                  <a:pt x="13100605" y="1678897"/>
                </a:lnTo>
                <a:lnTo>
                  <a:pt x="13087759" y="1735920"/>
                </a:lnTo>
                <a:lnTo>
                  <a:pt x="13075251" y="1792727"/>
                </a:lnTo>
                <a:lnTo>
                  <a:pt x="13063080" y="1849320"/>
                </a:lnTo>
                <a:lnTo>
                  <a:pt x="13051242" y="1905699"/>
                </a:lnTo>
                <a:lnTo>
                  <a:pt x="13039738" y="1961865"/>
                </a:lnTo>
                <a:lnTo>
                  <a:pt x="13028565" y="2017820"/>
                </a:lnTo>
                <a:lnTo>
                  <a:pt x="13017721" y="2073565"/>
                </a:lnTo>
                <a:lnTo>
                  <a:pt x="13007205" y="2129101"/>
                </a:lnTo>
                <a:lnTo>
                  <a:pt x="12997016" y="2184430"/>
                </a:lnTo>
                <a:lnTo>
                  <a:pt x="12987151" y="2239551"/>
                </a:lnTo>
                <a:lnTo>
                  <a:pt x="12977609" y="2294468"/>
                </a:lnTo>
                <a:lnTo>
                  <a:pt x="12968388" y="2349180"/>
                </a:lnTo>
                <a:lnTo>
                  <a:pt x="12959486" y="2403689"/>
                </a:lnTo>
                <a:lnTo>
                  <a:pt x="12950903" y="2457997"/>
                </a:lnTo>
                <a:lnTo>
                  <a:pt x="12942636" y="2512103"/>
                </a:lnTo>
                <a:lnTo>
                  <a:pt x="12934683" y="2566011"/>
                </a:lnTo>
                <a:lnTo>
                  <a:pt x="12927044" y="2619720"/>
                </a:lnTo>
                <a:lnTo>
                  <a:pt x="12919715" y="2673232"/>
                </a:lnTo>
                <a:lnTo>
                  <a:pt x="12912696" y="2726548"/>
                </a:lnTo>
                <a:lnTo>
                  <a:pt x="12905986" y="2779669"/>
                </a:lnTo>
                <a:lnTo>
                  <a:pt x="12899581" y="2832597"/>
                </a:lnTo>
                <a:lnTo>
                  <a:pt x="12893481" y="2885332"/>
                </a:lnTo>
                <a:lnTo>
                  <a:pt x="12887685" y="2937876"/>
                </a:lnTo>
                <a:lnTo>
                  <a:pt x="12882189" y="2990230"/>
                </a:lnTo>
                <a:lnTo>
                  <a:pt x="12876994" y="3042396"/>
                </a:lnTo>
                <a:lnTo>
                  <a:pt x="12872096" y="3094373"/>
                </a:lnTo>
                <a:lnTo>
                  <a:pt x="12867494" y="3146165"/>
                </a:lnTo>
                <a:lnTo>
                  <a:pt x="12863188" y="3197771"/>
                </a:lnTo>
                <a:lnTo>
                  <a:pt x="12859174" y="3249192"/>
                </a:lnTo>
                <a:lnTo>
                  <a:pt x="12855452" y="3300431"/>
                </a:lnTo>
                <a:lnTo>
                  <a:pt x="12852020" y="3351489"/>
                </a:lnTo>
                <a:lnTo>
                  <a:pt x="12848875" y="3402365"/>
                </a:lnTo>
                <a:lnTo>
                  <a:pt x="12846017" y="3453063"/>
                </a:lnTo>
                <a:lnTo>
                  <a:pt x="12843444" y="3503582"/>
                </a:lnTo>
                <a:lnTo>
                  <a:pt x="12841154" y="3553924"/>
                </a:lnTo>
                <a:lnTo>
                  <a:pt x="12839145" y="3604090"/>
                </a:lnTo>
                <a:lnTo>
                  <a:pt x="12837417" y="3654082"/>
                </a:lnTo>
                <a:lnTo>
                  <a:pt x="12835966" y="3703900"/>
                </a:lnTo>
                <a:lnTo>
                  <a:pt x="12834792" y="3753546"/>
                </a:lnTo>
                <a:lnTo>
                  <a:pt x="12833892" y="3803021"/>
                </a:lnTo>
                <a:lnTo>
                  <a:pt x="12833266" y="3852326"/>
                </a:lnTo>
                <a:lnTo>
                  <a:pt x="12832911" y="3901463"/>
                </a:lnTo>
                <a:lnTo>
                  <a:pt x="12832827" y="3950432"/>
                </a:lnTo>
                <a:lnTo>
                  <a:pt x="12833010" y="3999234"/>
                </a:lnTo>
                <a:lnTo>
                  <a:pt x="12833460" y="4047871"/>
                </a:lnTo>
                <a:lnTo>
                  <a:pt x="12834174" y="4096344"/>
                </a:lnTo>
                <a:lnTo>
                  <a:pt x="12835152" y="4144655"/>
                </a:lnTo>
                <a:lnTo>
                  <a:pt x="12836392" y="4192804"/>
                </a:lnTo>
                <a:lnTo>
                  <a:pt x="12837891" y="4240792"/>
                </a:lnTo>
                <a:lnTo>
                  <a:pt x="12839649" y="4288621"/>
                </a:lnTo>
                <a:lnTo>
                  <a:pt x="12841663" y="4336292"/>
                </a:lnTo>
                <a:lnTo>
                  <a:pt x="12843933" y="4383807"/>
                </a:lnTo>
                <a:lnTo>
                  <a:pt x="12846455" y="4431165"/>
                </a:lnTo>
                <a:lnTo>
                  <a:pt x="12849229" y="4478369"/>
                </a:lnTo>
                <a:lnTo>
                  <a:pt x="12852253" y="4525420"/>
                </a:lnTo>
                <a:lnTo>
                  <a:pt x="12855526" y="4572318"/>
                </a:lnTo>
                <a:lnTo>
                  <a:pt x="12859045" y="4619066"/>
                </a:lnTo>
                <a:lnTo>
                  <a:pt x="12862809" y="4665663"/>
                </a:lnTo>
                <a:lnTo>
                  <a:pt x="12866816" y="4712112"/>
                </a:lnTo>
                <a:lnTo>
                  <a:pt x="12871065" y="4758414"/>
                </a:lnTo>
                <a:lnTo>
                  <a:pt x="12875554" y="4804569"/>
                </a:lnTo>
                <a:lnTo>
                  <a:pt x="12880282" y="4850580"/>
                </a:lnTo>
                <a:lnTo>
                  <a:pt x="12885246" y="4896446"/>
                </a:lnTo>
                <a:lnTo>
                  <a:pt x="12890445" y="4942170"/>
                </a:lnTo>
                <a:lnTo>
                  <a:pt x="12895878" y="4987752"/>
                </a:lnTo>
                <a:lnTo>
                  <a:pt x="12901542" y="5033194"/>
                </a:lnTo>
                <a:lnTo>
                  <a:pt x="12907436" y="5078497"/>
                </a:lnTo>
                <a:lnTo>
                  <a:pt x="12913559" y="5123661"/>
                </a:lnTo>
                <a:lnTo>
                  <a:pt x="12919909" y="5168689"/>
                </a:lnTo>
                <a:lnTo>
                  <a:pt x="12926483" y="5213582"/>
                </a:lnTo>
                <a:lnTo>
                  <a:pt x="12933281" y="5258339"/>
                </a:lnTo>
                <a:lnTo>
                  <a:pt x="12940301" y="5302964"/>
                </a:lnTo>
                <a:lnTo>
                  <a:pt x="12947541" y="5347457"/>
                </a:lnTo>
                <a:lnTo>
                  <a:pt x="12955000" y="5391819"/>
                </a:lnTo>
                <a:lnTo>
                  <a:pt x="12962675" y="5436051"/>
                </a:lnTo>
                <a:lnTo>
                  <a:pt x="12970566" y="5480154"/>
                </a:lnTo>
                <a:lnTo>
                  <a:pt x="12978669" y="5524130"/>
                </a:lnTo>
                <a:lnTo>
                  <a:pt x="12986985" y="5567980"/>
                </a:lnTo>
                <a:lnTo>
                  <a:pt x="12995511" y="5611705"/>
                </a:lnTo>
                <a:lnTo>
                  <a:pt x="13004246" y="5655307"/>
                </a:lnTo>
                <a:lnTo>
                  <a:pt x="13013187" y="5698785"/>
                </a:lnTo>
                <a:lnTo>
                  <a:pt x="13022334" y="5742143"/>
                </a:lnTo>
                <a:lnTo>
                  <a:pt x="13031684" y="5785380"/>
                </a:lnTo>
                <a:lnTo>
                  <a:pt x="13041236" y="5828498"/>
                </a:lnTo>
                <a:lnTo>
                  <a:pt x="13050988" y="5871498"/>
                </a:lnTo>
                <a:lnTo>
                  <a:pt x="13060939" y="5914381"/>
                </a:lnTo>
                <a:lnTo>
                  <a:pt x="13071087" y="5957149"/>
                </a:lnTo>
                <a:lnTo>
                  <a:pt x="13081430" y="5999803"/>
                </a:lnTo>
                <a:lnTo>
                  <a:pt x="13091967" y="6042343"/>
                </a:lnTo>
                <a:lnTo>
                  <a:pt x="13102695" y="6084772"/>
                </a:lnTo>
                <a:lnTo>
                  <a:pt x="13113614" y="6127090"/>
                </a:lnTo>
                <a:lnTo>
                  <a:pt x="13124722" y="6169298"/>
                </a:lnTo>
                <a:lnTo>
                  <a:pt x="13136016" y="6211398"/>
                </a:lnTo>
                <a:lnTo>
                  <a:pt x="13147496" y="6253390"/>
                </a:lnTo>
                <a:lnTo>
                  <a:pt x="13159160" y="6295277"/>
                </a:lnTo>
                <a:lnTo>
                  <a:pt x="13171005" y="6337058"/>
                </a:lnTo>
                <a:lnTo>
                  <a:pt x="13183031" y="6378736"/>
                </a:lnTo>
                <a:lnTo>
                  <a:pt x="13195236" y="6420312"/>
                </a:lnTo>
                <a:lnTo>
                  <a:pt x="13207618" y="6461786"/>
                </a:lnTo>
                <a:lnTo>
                  <a:pt x="13220175" y="6503160"/>
                </a:lnTo>
                <a:lnTo>
                  <a:pt x="13232905" y="6544435"/>
                </a:lnTo>
                <a:lnTo>
                  <a:pt x="13245808" y="6585612"/>
                </a:lnTo>
                <a:lnTo>
                  <a:pt x="13258881" y="6626693"/>
                </a:lnTo>
                <a:lnTo>
                  <a:pt x="13272123" y="6667678"/>
                </a:lnTo>
                <a:lnTo>
                  <a:pt x="13285533" y="6708569"/>
                </a:lnTo>
                <a:lnTo>
                  <a:pt x="13299107" y="6749367"/>
                </a:lnTo>
                <a:lnTo>
                  <a:pt x="13312845" y="6790073"/>
                </a:lnTo>
                <a:lnTo>
                  <a:pt x="13326746" y="6830689"/>
                </a:lnTo>
                <a:lnTo>
                  <a:pt x="13340807" y="6871215"/>
                </a:lnTo>
                <a:lnTo>
                  <a:pt x="13355026" y="6911653"/>
                </a:lnTo>
                <a:lnTo>
                  <a:pt x="13369403" y="6952003"/>
                </a:lnTo>
                <a:lnTo>
                  <a:pt x="13383935" y="6992268"/>
                </a:lnTo>
                <a:lnTo>
                  <a:pt x="13398622" y="7032448"/>
                </a:lnTo>
                <a:lnTo>
                  <a:pt x="13413460" y="7072544"/>
                </a:lnTo>
                <a:lnTo>
                  <a:pt x="13428449" y="7112558"/>
                </a:lnTo>
                <a:lnTo>
                  <a:pt x="13443587" y="7152491"/>
                </a:lnTo>
                <a:lnTo>
                  <a:pt x="13458871" y="7192343"/>
                </a:lnTo>
                <a:lnTo>
                  <a:pt x="13474302" y="7232117"/>
                </a:lnTo>
                <a:lnTo>
                  <a:pt x="13489876" y="7271813"/>
                </a:lnTo>
                <a:lnTo>
                  <a:pt x="13505593" y="7311433"/>
                </a:lnTo>
                <a:lnTo>
                  <a:pt x="13521450" y="7350977"/>
                </a:lnTo>
                <a:lnTo>
                  <a:pt x="13537446" y="7390448"/>
                </a:lnTo>
                <a:lnTo>
                  <a:pt x="13553580" y="7429845"/>
                </a:lnTo>
                <a:lnTo>
                  <a:pt x="13569849" y="7469171"/>
                </a:lnTo>
                <a:lnTo>
                  <a:pt x="13586251" y="7508426"/>
                </a:lnTo>
                <a:lnTo>
                  <a:pt x="13602787" y="7547611"/>
                </a:lnTo>
                <a:lnTo>
                  <a:pt x="13619452" y="7586729"/>
                </a:lnTo>
                <a:lnTo>
                  <a:pt x="13636247" y="7625779"/>
                </a:lnTo>
                <a:lnTo>
                  <a:pt x="13653169" y="7664764"/>
                </a:lnTo>
                <a:lnTo>
                  <a:pt x="13670217" y="7703683"/>
                </a:lnTo>
                <a:lnTo>
                  <a:pt x="13687389" y="7742540"/>
                </a:lnTo>
                <a:lnTo>
                  <a:pt x="13704683" y="7781334"/>
                </a:lnTo>
                <a:lnTo>
                  <a:pt x="13722098" y="7820067"/>
                </a:lnTo>
                <a:lnTo>
                  <a:pt x="13739632" y="7858740"/>
                </a:lnTo>
                <a:lnTo>
                  <a:pt x="13757283" y="7897355"/>
                </a:lnTo>
                <a:lnTo>
                  <a:pt x="13775050" y="7935911"/>
                </a:lnTo>
                <a:lnTo>
                  <a:pt x="13792931" y="7974412"/>
                </a:lnTo>
                <a:lnTo>
                  <a:pt x="13810924" y="8012857"/>
                </a:lnTo>
                <a:lnTo>
                  <a:pt x="13829028" y="8051248"/>
                </a:lnTo>
                <a:lnTo>
                  <a:pt x="13847242" y="8089587"/>
                </a:lnTo>
                <a:lnTo>
                  <a:pt x="13865562" y="8127873"/>
                </a:lnTo>
                <a:lnTo>
                  <a:pt x="13883989" y="8166110"/>
                </a:lnTo>
                <a:lnTo>
                  <a:pt x="13902519" y="8204296"/>
                </a:lnTo>
                <a:lnTo>
                  <a:pt x="13921152" y="8242435"/>
                </a:lnTo>
                <a:lnTo>
                  <a:pt x="13939886" y="8280527"/>
                </a:lnTo>
                <a:lnTo>
                  <a:pt x="13958719" y="8318574"/>
                </a:lnTo>
                <a:lnTo>
                  <a:pt x="13977649" y="8356575"/>
                </a:lnTo>
                <a:lnTo>
                  <a:pt x="13996675" y="8394533"/>
                </a:lnTo>
                <a:lnTo>
                  <a:pt x="14015796" y="8432450"/>
                </a:lnTo>
                <a:lnTo>
                  <a:pt x="14035009" y="8470325"/>
                </a:lnTo>
                <a:lnTo>
                  <a:pt x="14054313" y="8508160"/>
                </a:lnTo>
                <a:lnTo>
                  <a:pt x="14073706" y="8545957"/>
                </a:lnTo>
                <a:lnTo>
                  <a:pt x="14093186" y="8583716"/>
                </a:lnTo>
                <a:lnTo>
                  <a:pt x="14112752" y="8621439"/>
                </a:lnTo>
                <a:lnTo>
                  <a:pt x="14132403" y="8659126"/>
                </a:lnTo>
                <a:lnTo>
                  <a:pt x="14171950" y="8734401"/>
                </a:lnTo>
                <a:lnTo>
                  <a:pt x="14211815" y="8809550"/>
                </a:lnTo>
                <a:lnTo>
                  <a:pt x="14251983" y="8884582"/>
                </a:lnTo>
                <a:lnTo>
                  <a:pt x="14292441" y="8959507"/>
                </a:lnTo>
                <a:lnTo>
                  <a:pt x="14333177" y="9034334"/>
                </a:lnTo>
                <a:lnTo>
                  <a:pt x="14374177" y="9109073"/>
                </a:lnTo>
                <a:lnTo>
                  <a:pt x="14436142" y="9221036"/>
                </a:lnTo>
                <a:lnTo>
                  <a:pt x="14498627" y="9332854"/>
                </a:lnTo>
                <a:lnTo>
                  <a:pt x="14582671" y="9481773"/>
                </a:lnTo>
                <a:lnTo>
                  <a:pt x="14667452" y="9630565"/>
                </a:lnTo>
                <a:lnTo>
                  <a:pt x="14795776" y="9853682"/>
                </a:lnTo>
                <a:lnTo>
                  <a:pt x="15272668" y="10674932"/>
                </a:lnTo>
                <a:lnTo>
                  <a:pt x="15446180" y="10976499"/>
                </a:lnTo>
                <a:lnTo>
                  <a:pt x="15554022" y="11166221"/>
                </a:lnTo>
                <a:lnTo>
                  <a:pt x="15633609" y="11307763"/>
                </a:lnTo>
                <a:lnTo>
                  <a:pt x="0" y="11307763"/>
                </a:lnTo>
                <a:close/>
              </a:path>
            </a:pathLst>
          </a:custGeom>
          <a:solidFill>
            <a:schemeClr val="accent6"/>
          </a:solidFill>
          <a:ln>
            <a:noFill/>
          </a:ln>
        </p:spPr>
        <p:txBody>
          <a:bodyPr wrap="square">
            <a:noAutofit/>
          </a:bodyPr>
          <a:lstStyle>
            <a:lvl1pPr>
              <a:defRPr>
                <a:solidFill>
                  <a:schemeClr val="accent1"/>
                </a:solidFill>
              </a:defRPr>
            </a:lvl1pPr>
          </a:lstStyle>
          <a:p>
            <a:r>
              <a:rPr lang="en-GB" dirty="0"/>
              <a:t>  </a:t>
            </a:r>
          </a:p>
        </p:txBody>
      </p:sp>
      <p:sp>
        <p:nvSpPr>
          <p:cNvPr id="5" name="Text Placeholder 2">
            <a:extLst>
              <a:ext uri="{FF2B5EF4-FFF2-40B4-BE49-F238E27FC236}">
                <a16:creationId xmlns:a16="http://schemas.microsoft.com/office/drawing/2014/main" id="{26690566-6807-478B-842D-F5AB25A5420F}"/>
              </a:ext>
            </a:extLst>
          </p:cNvPr>
          <p:cNvSpPr>
            <a:spLocks noGrp="1"/>
          </p:cNvSpPr>
          <p:nvPr>
            <p:ph type="body" sz="quarter" idx="15"/>
          </p:nvPr>
        </p:nvSpPr>
        <p:spPr>
          <a:xfrm>
            <a:off x="8303685" y="1416001"/>
            <a:ext cx="3456945" cy="328295"/>
          </a:xfrm>
        </p:spPr>
        <p:txBody>
          <a:bodyPr/>
          <a:lstStyle>
            <a:lvl1pPr>
              <a:defRPr sz="2133" b="0">
                <a:solidFill>
                  <a:schemeClr val="tx1"/>
                </a:solidFill>
              </a:defRPr>
            </a:lvl1pPr>
            <a:lvl2pPr>
              <a:defRPr sz="1940"/>
            </a:lvl2pPr>
            <a:lvl3pPr marL="0" indent="0">
              <a:buNone/>
              <a:defRPr sz="1940"/>
            </a:lvl3pPr>
            <a:lvl4pPr>
              <a:defRPr sz="1940"/>
            </a:lvl4pPr>
            <a:lvl5pPr>
              <a:defRPr sz="1940"/>
            </a:lvl5pPr>
          </a:lstStyle>
          <a:p>
            <a:pPr lvl="0"/>
            <a:r>
              <a:rPr lang="en-US"/>
              <a:t>Edit Master text styles</a:t>
            </a:r>
          </a:p>
        </p:txBody>
      </p:sp>
      <p:sp>
        <p:nvSpPr>
          <p:cNvPr id="9" name="Round Diagonal Corner Rectangle 4">
            <a:extLst>
              <a:ext uri="{FF2B5EF4-FFF2-40B4-BE49-F238E27FC236}">
                <a16:creationId xmlns:a16="http://schemas.microsoft.com/office/drawing/2014/main" id="{F54843EE-89F0-474F-A438-CCD6E63C5C3A}"/>
              </a:ext>
            </a:extLst>
          </p:cNvPr>
          <p:cNvSpPr/>
          <p:nvPr userDrawn="1"/>
        </p:nvSpPr>
        <p:spPr>
          <a:xfrm>
            <a:off x="12514257" y="-2970"/>
            <a:ext cx="2576459" cy="359469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48000" tIns="48000" rIns="48000" bIns="48000" rtlCol="0" anchor="t" anchorCtr="0">
            <a:spAutoFit/>
          </a:bodyPr>
          <a:lstStyle/>
          <a:p>
            <a:pPr>
              <a:spcAft>
                <a:spcPts val="136"/>
              </a:spcAft>
            </a:pPr>
            <a:r>
              <a:rPr lang="en-GB" sz="849" b="1" noProof="0" dirty="0">
                <a:solidFill>
                  <a:schemeClr val="bg1">
                    <a:lumMod val="50000"/>
                  </a:schemeClr>
                </a:solidFill>
              </a:rPr>
              <a:t>Image placeholders</a:t>
            </a:r>
          </a:p>
          <a:p>
            <a:pPr marL="0" lvl="1" indent="0">
              <a:spcAft>
                <a:spcPts val="132"/>
              </a:spcAft>
            </a:pPr>
            <a:r>
              <a:rPr lang="en-GB" sz="849" noProof="0" dirty="0">
                <a:solidFill>
                  <a:schemeClr val="bg1">
                    <a:lumMod val="50000"/>
                  </a:schemeClr>
                </a:solidFill>
              </a:rPr>
              <a:t>This layout is set with a picture placeholder. The front cover image should always be in the cut out style or a plain yellow background</a:t>
            </a:r>
          </a:p>
          <a:p>
            <a:pPr marL="0" lvl="1" indent="0">
              <a:spcAft>
                <a:spcPts val="132"/>
              </a:spcAft>
            </a:pPr>
            <a:r>
              <a:rPr lang="en-GB" sz="849" b="1" noProof="0" dirty="0">
                <a:solidFill>
                  <a:schemeClr val="bg1">
                    <a:lumMod val="50000"/>
                  </a:schemeClr>
                </a:solidFill>
              </a:rPr>
              <a:t>Chang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Click on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delet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the Image Library</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image and ‘insert’</a:t>
            </a:r>
          </a:p>
          <a:p>
            <a:pPr marL="0" lvl="2" indent="0">
              <a:spcAft>
                <a:spcPts val="132"/>
              </a:spcAft>
              <a:buFontTx/>
              <a:buNone/>
            </a:pPr>
            <a:r>
              <a:rPr lang="en-GB" sz="849" noProof="0" dirty="0">
                <a:solidFill>
                  <a:schemeClr val="bg1">
                    <a:lumMod val="50000"/>
                  </a:schemeClr>
                </a:solidFill>
              </a:rPr>
              <a:t>When you have reset the slide the image may need readjusting</a:t>
            </a:r>
          </a:p>
          <a:p>
            <a:pPr marL="0" lvl="1" indent="0">
              <a:spcAft>
                <a:spcPts val="132"/>
              </a:spcAft>
            </a:pPr>
            <a:r>
              <a:rPr lang="en-GB" sz="849" b="1" noProof="0" dirty="0">
                <a:solidFill>
                  <a:schemeClr val="bg1">
                    <a:lumMod val="50000"/>
                  </a:schemeClr>
                </a:solidFill>
              </a:rPr>
              <a:t>Insert image</a:t>
            </a:r>
          </a:p>
          <a:p>
            <a:pPr marL="0" lvl="1" indent="0">
              <a:spcAft>
                <a:spcPts val="132"/>
              </a:spcAft>
            </a:pPr>
            <a:r>
              <a:rPr lang="en-GB" sz="849" noProof="0" dirty="0">
                <a:solidFill>
                  <a:schemeClr val="bg1">
                    <a:lumMod val="50000"/>
                  </a:schemeClr>
                </a:solidFill>
              </a:rPr>
              <a:t>To insert an image click on the ‘picture placeholder icon’, navigate to the file and insert.</a:t>
            </a:r>
          </a:p>
          <a:p>
            <a:pPr>
              <a:spcAft>
                <a:spcPts val="132"/>
              </a:spcAft>
            </a:pPr>
            <a:r>
              <a:rPr lang="en-GB" sz="849" b="1" noProof="0" dirty="0">
                <a:solidFill>
                  <a:schemeClr val="bg1">
                    <a:lumMod val="50000"/>
                  </a:schemeClr>
                </a:solidFill>
              </a:rPr>
              <a:t>Crop image</a:t>
            </a:r>
          </a:p>
          <a:p>
            <a:pPr marL="0" lvl="1" indent="0">
              <a:spcAft>
                <a:spcPts val="132"/>
              </a:spcAft>
            </a:pPr>
            <a:r>
              <a:rPr lang="en-GB" sz="849" noProof="0" dirty="0">
                <a:solidFill>
                  <a:schemeClr val="bg1">
                    <a:lumMod val="50000"/>
                  </a:schemeClr>
                </a:solidFill>
              </a:rPr>
              <a:t>When the image is inserted it may not automatically show the part of the image you want. To change what is shown:</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the image</a:t>
            </a:r>
          </a:p>
          <a:p>
            <a:pPr marL="77931" lvl="2" indent="-77931">
              <a:spcAft>
                <a:spcPts val="132"/>
              </a:spcAft>
              <a:buFont typeface="Arial" panose="020B0604020202020204" pitchFamily="34" charset="0"/>
              <a:buChar char="•"/>
            </a:pPr>
            <a:r>
              <a:rPr lang="en-GB" sz="849" noProof="0" dirty="0">
                <a:solidFill>
                  <a:schemeClr val="bg1">
                    <a:lumMod val="50000"/>
                  </a:schemeClr>
                </a:solidFill>
              </a:rPr>
              <a:t>Go to ‘Format’ tab</a:t>
            </a:r>
          </a:p>
          <a:p>
            <a:pPr marL="77931" lvl="2" indent="-77931">
              <a:spcAft>
                <a:spcPts val="132"/>
              </a:spcAft>
              <a:buFont typeface="Arial" panose="020B0604020202020204" pitchFamily="34" charset="0"/>
              <a:buChar char="•"/>
            </a:pPr>
            <a:r>
              <a:rPr lang="en-GB" sz="849" noProof="0" dirty="0">
                <a:solidFill>
                  <a:schemeClr val="bg1">
                    <a:lumMod val="50000"/>
                  </a:schemeClr>
                </a:solidFill>
              </a:rPr>
              <a:t>Select ‘Crop’</a:t>
            </a:r>
          </a:p>
          <a:p>
            <a:pPr marL="0" indent="0">
              <a:spcAft>
                <a:spcPts val="136"/>
              </a:spcAft>
              <a:buFont typeface="Arial" pitchFamily="34" charset="0"/>
              <a:buNone/>
            </a:pPr>
            <a:r>
              <a:rPr lang="en-GB" sz="849" b="1" noProof="0" dirty="0">
                <a:solidFill>
                  <a:schemeClr val="bg1">
                    <a:lumMod val="50000"/>
                  </a:schemeClr>
                </a:solidFill>
              </a:rPr>
              <a:t>Image library</a:t>
            </a:r>
          </a:p>
          <a:p>
            <a:pPr marL="0" indent="0" algn="l" defTabSz="316779" rtl="0" fontAlgn="base">
              <a:spcBef>
                <a:spcPct val="0"/>
              </a:spcBef>
              <a:spcAft>
                <a:spcPts val="136"/>
              </a:spcAft>
              <a:buFont typeface="Arial" pitchFamily="34" charset="0"/>
              <a:buNone/>
            </a:pPr>
            <a:r>
              <a:rPr lang="en-GB" sz="849" kern="1200" noProof="0" dirty="0">
                <a:solidFill>
                  <a:schemeClr val="bg1">
                    <a:lumMod val="50000"/>
                  </a:schemeClr>
                </a:solidFill>
                <a:latin typeface="+mn-lt"/>
                <a:ea typeface="+mn-ea"/>
                <a:cs typeface="+mn-cs"/>
              </a:rPr>
              <a:t>To access the image library, please log into</a:t>
            </a:r>
          </a:p>
          <a:p>
            <a:pPr marL="0" indent="0" algn="l" defTabSz="316779" rtl="0" fontAlgn="base">
              <a:spcBef>
                <a:spcPct val="0"/>
              </a:spcBef>
              <a:spcAft>
                <a:spcPts val="136"/>
              </a:spcAft>
              <a:buFont typeface="Arial" pitchFamily="34" charset="0"/>
              <a:buNone/>
            </a:pPr>
            <a:endParaRPr lang="en-GB" sz="849" kern="1200" noProof="0" dirty="0">
              <a:solidFill>
                <a:schemeClr val="bg1">
                  <a:lumMod val="50000"/>
                </a:schemeClr>
              </a:solidFill>
              <a:latin typeface="+mn-lt"/>
              <a:ea typeface="+mn-ea"/>
              <a:cs typeface="+mn-cs"/>
            </a:endParaRPr>
          </a:p>
          <a:p>
            <a:pPr>
              <a:spcAft>
                <a:spcPts val="136"/>
              </a:spcAft>
            </a:pPr>
            <a:endParaRPr lang="en-GB" sz="849" kern="1200" noProof="0" dirty="0">
              <a:solidFill>
                <a:schemeClr val="bg1">
                  <a:lumMod val="50000"/>
                </a:schemeClr>
              </a:solidFill>
              <a:latin typeface="+mn-lt"/>
              <a:ea typeface="+mn-ea"/>
              <a:cs typeface="+mn-cs"/>
            </a:endParaRPr>
          </a:p>
        </p:txBody>
      </p:sp>
      <p:sp>
        <p:nvSpPr>
          <p:cNvPr id="10" name="Rectangle 9">
            <a:hlinkClick r:id="rId2"/>
            <a:extLst>
              <a:ext uri="{FF2B5EF4-FFF2-40B4-BE49-F238E27FC236}">
                <a16:creationId xmlns:a16="http://schemas.microsoft.com/office/drawing/2014/main" id="{59EFD54B-5084-4493-98CD-406BBC16C6BC}"/>
              </a:ext>
            </a:extLst>
          </p:cNvPr>
          <p:cNvSpPr/>
          <p:nvPr userDrawn="1"/>
        </p:nvSpPr>
        <p:spPr>
          <a:xfrm>
            <a:off x="12558954" y="3394312"/>
            <a:ext cx="2336116" cy="130677"/>
          </a:xfrm>
          <a:prstGeom prst="rect">
            <a:avLst/>
          </a:prstGeom>
          <a:noFill/>
        </p:spPr>
        <p:txBody>
          <a:bodyPr wrap="square" lIns="0" tIns="0" rIns="0" bIns="0" rtlCol="0" anchor="ctr">
            <a:spAutoFit/>
          </a:bodyPr>
          <a:lstStyle/>
          <a:p>
            <a:r>
              <a:rPr lang="en-GB" sz="849" dirty="0">
                <a:cs typeface="Arial" panose="020B0604020202020204" pitchFamily="34" charset="0"/>
              </a:rPr>
              <a:t>https://nationalgrid.onbrandcloud.com/login/</a:t>
            </a:r>
          </a:p>
        </p:txBody>
      </p:sp>
      <p:pic>
        <p:nvPicPr>
          <p:cNvPr id="11" name="Picture 10">
            <a:extLst>
              <a:ext uri="{FF2B5EF4-FFF2-40B4-BE49-F238E27FC236}">
                <a16:creationId xmlns:a16="http://schemas.microsoft.com/office/drawing/2014/main" id="{50A37059-A6CA-4A16-859E-45B549666CFA}"/>
              </a:ext>
            </a:extLst>
          </p:cNvPr>
          <p:cNvPicPr>
            <a:picLocks noChangeAspect="1"/>
          </p:cNvPicPr>
          <p:nvPr userDrawn="1"/>
        </p:nvPicPr>
        <p:blipFill>
          <a:blip r:embed="rId3"/>
          <a:stretch>
            <a:fillRect/>
          </a:stretch>
        </p:blipFill>
        <p:spPr>
          <a:xfrm>
            <a:off x="9965223" y="6237768"/>
            <a:ext cx="1794176" cy="268024"/>
          </a:xfrm>
          <a:prstGeom prst="rect">
            <a:avLst/>
          </a:prstGeom>
        </p:spPr>
      </p:pic>
      <p:sp>
        <p:nvSpPr>
          <p:cNvPr id="2" name="Title 1">
            <a:extLst>
              <a:ext uri="{FF2B5EF4-FFF2-40B4-BE49-F238E27FC236}">
                <a16:creationId xmlns:a16="http://schemas.microsoft.com/office/drawing/2014/main" id="{881E7258-4646-4D7F-9430-5D4A66ADBB9A}"/>
              </a:ext>
            </a:extLst>
          </p:cNvPr>
          <p:cNvSpPr>
            <a:spLocks noGrp="1"/>
          </p:cNvSpPr>
          <p:nvPr>
            <p:ph type="title"/>
          </p:nvPr>
        </p:nvSpPr>
        <p:spPr>
          <a:xfrm>
            <a:off x="8302454" y="441140"/>
            <a:ext cx="3456945" cy="393955"/>
          </a:xfrm>
        </p:spPr>
        <p:txBody>
          <a:bodyPr/>
          <a:lstStyle/>
          <a:p>
            <a:r>
              <a:rPr lang="en-US"/>
              <a:t>Click to edit Master title style</a:t>
            </a:r>
            <a:endParaRPr lang="en-GB" dirty="0"/>
          </a:p>
        </p:txBody>
      </p:sp>
    </p:spTree>
    <p:extLst>
      <p:ext uri="{BB962C8B-B14F-4D97-AF65-F5344CB8AC3E}">
        <p14:creationId xmlns:p14="http://schemas.microsoft.com/office/powerpoint/2010/main" val="25030122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DF3B3A2-DECF-4E1E-8224-F551F72431E6}"/>
              </a:ext>
            </a:extLst>
          </p:cNvPr>
          <p:cNvSpPr>
            <a:spLocks noGrp="1"/>
          </p:cNvSpPr>
          <p:nvPr>
            <p:ph type="pic" sz="quarter" idx="14" hasCustomPrompt="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4345781 h 5143500"/>
              <a:gd name="connsiteX3" fmla="*/ 9143998 w 9144000"/>
              <a:gd name="connsiteY3" fmla="*/ 4345781 h 5143500"/>
              <a:gd name="connsiteX4" fmla="*/ 9143998 w 9144000"/>
              <a:gd name="connsiteY4" fmla="*/ 4344285 h 5143500"/>
              <a:gd name="connsiteX5" fmla="*/ 9095210 w 9144000"/>
              <a:gd name="connsiteY5" fmla="*/ 4326932 h 5143500"/>
              <a:gd name="connsiteX6" fmla="*/ 9047139 w 9144000"/>
              <a:gd name="connsiteY6" fmla="*/ 4310686 h 5143500"/>
              <a:gd name="connsiteX7" fmla="*/ 8999773 w 9144000"/>
              <a:gd name="connsiteY7" fmla="*/ 4295530 h 5143500"/>
              <a:gd name="connsiteX8" fmla="*/ 8953098 w 9144000"/>
              <a:gd name="connsiteY8" fmla="*/ 4281446 h 5143500"/>
              <a:gd name="connsiteX9" fmla="*/ 8907100 w 9144000"/>
              <a:gd name="connsiteY9" fmla="*/ 4268415 h 5143500"/>
              <a:gd name="connsiteX10" fmla="*/ 8861767 w 9144000"/>
              <a:gd name="connsiteY10" fmla="*/ 4256419 h 5143500"/>
              <a:gd name="connsiteX11" fmla="*/ 8817087 w 9144000"/>
              <a:gd name="connsiteY11" fmla="*/ 4245439 h 5143500"/>
              <a:gd name="connsiteX12" fmla="*/ 8773046 w 9144000"/>
              <a:gd name="connsiteY12" fmla="*/ 4235458 h 5143500"/>
              <a:gd name="connsiteX13" fmla="*/ 8729631 w 9144000"/>
              <a:gd name="connsiteY13" fmla="*/ 4226457 h 5143500"/>
              <a:gd name="connsiteX14" fmla="*/ 8686828 w 9144000"/>
              <a:gd name="connsiteY14" fmla="*/ 4218418 h 5143500"/>
              <a:gd name="connsiteX15" fmla="*/ 8644625 w 9144000"/>
              <a:gd name="connsiteY15" fmla="*/ 4211323 h 5143500"/>
              <a:gd name="connsiteX16" fmla="*/ 8603009 w 9144000"/>
              <a:gd name="connsiteY16" fmla="*/ 4205153 h 5143500"/>
              <a:gd name="connsiteX17" fmla="*/ 8582418 w 9144000"/>
              <a:gd name="connsiteY17" fmla="*/ 4202409 h 5143500"/>
              <a:gd name="connsiteX18" fmla="*/ 8561967 w 9144000"/>
              <a:gd name="connsiteY18" fmla="*/ 4199890 h 5143500"/>
              <a:gd name="connsiteX19" fmla="*/ 8541658 w 9144000"/>
              <a:gd name="connsiteY19" fmla="*/ 4197593 h 5143500"/>
              <a:gd name="connsiteX20" fmla="*/ 8521486 w 9144000"/>
              <a:gd name="connsiteY20" fmla="*/ 4195515 h 5143500"/>
              <a:gd name="connsiteX21" fmla="*/ 8501452 w 9144000"/>
              <a:gd name="connsiteY21" fmla="*/ 4193655 h 5143500"/>
              <a:gd name="connsiteX22" fmla="*/ 8481553 w 9144000"/>
              <a:gd name="connsiteY22" fmla="*/ 4192012 h 5143500"/>
              <a:gd name="connsiteX23" fmla="*/ 8461787 w 9144000"/>
              <a:gd name="connsiteY23" fmla="*/ 4190580 h 5143500"/>
              <a:gd name="connsiteX24" fmla="*/ 8442153 w 9144000"/>
              <a:gd name="connsiteY24" fmla="*/ 4189360 h 5143500"/>
              <a:gd name="connsiteX25" fmla="*/ 8422651 w 9144000"/>
              <a:gd name="connsiteY25" fmla="*/ 4188347 h 5143500"/>
              <a:gd name="connsiteX26" fmla="*/ 8403276 w 9144000"/>
              <a:gd name="connsiteY26" fmla="*/ 4187542 h 5143500"/>
              <a:gd name="connsiteX27" fmla="*/ 8384030 w 9144000"/>
              <a:gd name="connsiteY27" fmla="*/ 4186940 h 5143500"/>
              <a:gd name="connsiteX28" fmla="*/ 8364908 w 9144000"/>
              <a:gd name="connsiteY28" fmla="*/ 4186539 h 5143500"/>
              <a:gd name="connsiteX29" fmla="*/ 8345911 w 9144000"/>
              <a:gd name="connsiteY29" fmla="*/ 4186339 h 5143500"/>
              <a:gd name="connsiteX30" fmla="*/ 8327035 w 9144000"/>
              <a:gd name="connsiteY30" fmla="*/ 4186335 h 5143500"/>
              <a:gd name="connsiteX31" fmla="*/ 8308281 w 9144000"/>
              <a:gd name="connsiteY31" fmla="*/ 4186526 h 5143500"/>
              <a:gd name="connsiteX32" fmla="*/ 8289645 w 9144000"/>
              <a:gd name="connsiteY32" fmla="*/ 4186909 h 5143500"/>
              <a:gd name="connsiteX33" fmla="*/ 8271127 w 9144000"/>
              <a:gd name="connsiteY33" fmla="*/ 4187483 h 5143500"/>
              <a:gd name="connsiteX34" fmla="*/ 8252724 w 9144000"/>
              <a:gd name="connsiteY34" fmla="*/ 4188245 h 5143500"/>
              <a:gd name="connsiteX35" fmla="*/ 8234436 w 9144000"/>
              <a:gd name="connsiteY35" fmla="*/ 4189192 h 5143500"/>
              <a:gd name="connsiteX36" fmla="*/ 8216260 w 9144000"/>
              <a:gd name="connsiteY36" fmla="*/ 4190323 h 5143500"/>
              <a:gd name="connsiteX37" fmla="*/ 8198195 w 9144000"/>
              <a:gd name="connsiteY37" fmla="*/ 4191634 h 5143500"/>
              <a:gd name="connsiteX38" fmla="*/ 8180239 w 9144000"/>
              <a:gd name="connsiteY38" fmla="*/ 4193124 h 5143500"/>
              <a:gd name="connsiteX39" fmla="*/ 8162391 w 9144000"/>
              <a:gd name="connsiteY39" fmla="*/ 4194791 h 5143500"/>
              <a:gd name="connsiteX40" fmla="*/ 8144649 w 9144000"/>
              <a:gd name="connsiteY40" fmla="*/ 4196632 h 5143500"/>
              <a:gd name="connsiteX41" fmla="*/ 8127011 w 9144000"/>
              <a:gd name="connsiteY41" fmla="*/ 4198645 h 5143500"/>
              <a:gd name="connsiteX42" fmla="*/ 8109476 w 9144000"/>
              <a:gd name="connsiteY42" fmla="*/ 4200828 h 5143500"/>
              <a:gd name="connsiteX43" fmla="*/ 8092042 w 9144000"/>
              <a:gd name="connsiteY43" fmla="*/ 4203178 h 5143500"/>
              <a:gd name="connsiteX44" fmla="*/ 8074708 w 9144000"/>
              <a:gd name="connsiteY44" fmla="*/ 4205694 h 5143500"/>
              <a:gd name="connsiteX45" fmla="*/ 8057472 w 9144000"/>
              <a:gd name="connsiteY45" fmla="*/ 4208371 h 5143500"/>
              <a:gd name="connsiteX46" fmla="*/ 8040331 w 9144000"/>
              <a:gd name="connsiteY46" fmla="*/ 4211210 h 5143500"/>
              <a:gd name="connsiteX47" fmla="*/ 8006332 w 9144000"/>
              <a:gd name="connsiteY47" fmla="*/ 4217359 h 5143500"/>
              <a:gd name="connsiteX48" fmla="*/ 7972699 w 9144000"/>
              <a:gd name="connsiteY48" fmla="*/ 4224123 h 5143500"/>
              <a:gd name="connsiteX49" fmla="*/ 7922906 w 9144000"/>
              <a:gd name="connsiteY49" fmla="*/ 4235381 h 5143500"/>
              <a:gd name="connsiteX50" fmla="*/ 7890129 w 9144000"/>
              <a:gd name="connsiteY50" fmla="*/ 4243601 h 5143500"/>
              <a:gd name="connsiteX51" fmla="*/ 7857671 w 9144000"/>
              <a:gd name="connsiteY51" fmla="*/ 4252372 h 5143500"/>
              <a:gd name="connsiteX52" fmla="*/ 7825521 w 9144000"/>
              <a:gd name="connsiteY52" fmla="*/ 4261676 h 5143500"/>
              <a:gd name="connsiteX53" fmla="*/ 7793663 w 9144000"/>
              <a:gd name="connsiteY53" fmla="*/ 4271493 h 5143500"/>
              <a:gd name="connsiteX54" fmla="*/ 7762087 w 9144000"/>
              <a:gd name="connsiteY54" fmla="*/ 4281806 h 5143500"/>
              <a:gd name="connsiteX55" fmla="*/ 7730778 w 9144000"/>
              <a:gd name="connsiteY55" fmla="*/ 4292598 h 5143500"/>
              <a:gd name="connsiteX56" fmla="*/ 7699724 w 9144000"/>
              <a:gd name="connsiteY56" fmla="*/ 4303848 h 5143500"/>
              <a:gd name="connsiteX57" fmla="*/ 7668911 w 9144000"/>
              <a:gd name="connsiteY57" fmla="*/ 4315539 h 5143500"/>
              <a:gd name="connsiteX58" fmla="*/ 7638326 w 9144000"/>
              <a:gd name="connsiteY58" fmla="*/ 4327653 h 5143500"/>
              <a:gd name="connsiteX59" fmla="*/ 7607958 w 9144000"/>
              <a:gd name="connsiteY59" fmla="*/ 4340171 h 5143500"/>
              <a:gd name="connsiteX60" fmla="*/ 7577791 w 9144000"/>
              <a:gd name="connsiteY60" fmla="*/ 4353075 h 5143500"/>
              <a:gd name="connsiteX61" fmla="*/ 7547814 w 9144000"/>
              <a:gd name="connsiteY61" fmla="*/ 4366348 h 5143500"/>
              <a:gd name="connsiteX62" fmla="*/ 7518014 w 9144000"/>
              <a:gd name="connsiteY62" fmla="*/ 4379970 h 5143500"/>
              <a:gd name="connsiteX63" fmla="*/ 7473615 w 9144000"/>
              <a:gd name="connsiteY63" fmla="*/ 4401018 h 5143500"/>
              <a:gd name="connsiteX64" fmla="*/ 7429540 w 9144000"/>
              <a:gd name="connsiteY64" fmla="*/ 4422750 h 5143500"/>
              <a:gd name="connsiteX65" fmla="*/ 7385744 w 9144000"/>
              <a:gd name="connsiteY65" fmla="*/ 4445105 h 5143500"/>
              <a:gd name="connsiteX66" fmla="*/ 7342185 w 9144000"/>
              <a:gd name="connsiteY66" fmla="*/ 4468020 h 5143500"/>
              <a:gd name="connsiteX67" fmla="*/ 7284394 w 9144000"/>
              <a:gd name="connsiteY67" fmla="*/ 4499338 h 5143500"/>
              <a:gd name="connsiteX68" fmla="*/ 7198121 w 9144000"/>
              <a:gd name="connsiteY68" fmla="*/ 4547659 h 5143500"/>
              <a:gd name="connsiteX69" fmla="*/ 6982454 w 9144000"/>
              <a:gd name="connsiteY69" fmla="*/ 4672511 h 5143500"/>
              <a:gd name="connsiteX70" fmla="*/ 6821831 w 9144000"/>
              <a:gd name="connsiteY70" fmla="*/ 4764264 h 5143500"/>
              <a:gd name="connsiteX71" fmla="*/ 6747456 w 9144000"/>
              <a:gd name="connsiteY71" fmla="*/ 4805079 h 5143500"/>
              <a:gd name="connsiteX72" fmla="*/ 6687147 w 9144000"/>
              <a:gd name="connsiteY72" fmla="*/ 4837057 h 5143500"/>
              <a:gd name="connsiteX73" fmla="*/ 6641376 w 9144000"/>
              <a:gd name="connsiteY73" fmla="*/ 4860551 h 5143500"/>
              <a:gd name="connsiteX74" fmla="*/ 6595092 w 9144000"/>
              <a:gd name="connsiteY74" fmla="*/ 4883557 h 5143500"/>
              <a:gd name="connsiteX75" fmla="*/ 6548252 w 9144000"/>
              <a:gd name="connsiteY75" fmla="*/ 4906012 h 5143500"/>
              <a:gd name="connsiteX76" fmla="*/ 6500812 w 9144000"/>
              <a:gd name="connsiteY76" fmla="*/ 4927857 h 5143500"/>
              <a:gd name="connsiteX77" fmla="*/ 6468830 w 9144000"/>
              <a:gd name="connsiteY77" fmla="*/ 4942049 h 5143500"/>
              <a:gd name="connsiteX78" fmla="*/ 6436549 w 9144000"/>
              <a:gd name="connsiteY78" fmla="*/ 4955925 h 5143500"/>
              <a:gd name="connsiteX79" fmla="*/ 6403956 w 9144000"/>
              <a:gd name="connsiteY79" fmla="*/ 4969464 h 5143500"/>
              <a:gd name="connsiteX80" fmla="*/ 6371038 w 9144000"/>
              <a:gd name="connsiteY80" fmla="*/ 4982650 h 5143500"/>
              <a:gd name="connsiteX81" fmla="*/ 6337781 w 9144000"/>
              <a:gd name="connsiteY81" fmla="*/ 4995463 h 5143500"/>
              <a:gd name="connsiteX82" fmla="*/ 6304173 w 9144000"/>
              <a:gd name="connsiteY82" fmla="*/ 5007886 h 5143500"/>
              <a:gd name="connsiteX83" fmla="*/ 6270200 w 9144000"/>
              <a:gd name="connsiteY83" fmla="*/ 5019900 h 5143500"/>
              <a:gd name="connsiteX84" fmla="*/ 6235850 w 9144000"/>
              <a:gd name="connsiteY84" fmla="*/ 5031487 h 5143500"/>
              <a:gd name="connsiteX85" fmla="*/ 6201110 w 9144000"/>
              <a:gd name="connsiteY85" fmla="*/ 5042628 h 5143500"/>
              <a:gd name="connsiteX86" fmla="*/ 6165966 w 9144000"/>
              <a:gd name="connsiteY86" fmla="*/ 5053306 h 5143500"/>
              <a:gd name="connsiteX87" fmla="*/ 6130405 w 9144000"/>
              <a:gd name="connsiteY87" fmla="*/ 5063502 h 5143500"/>
              <a:gd name="connsiteX88" fmla="*/ 6094415 w 9144000"/>
              <a:gd name="connsiteY88" fmla="*/ 5073197 h 5143500"/>
              <a:gd name="connsiteX89" fmla="*/ 6057982 w 9144000"/>
              <a:gd name="connsiteY89" fmla="*/ 5082374 h 5143500"/>
              <a:gd name="connsiteX90" fmla="*/ 6021094 w 9144000"/>
              <a:gd name="connsiteY90" fmla="*/ 5091015 h 5143500"/>
              <a:gd name="connsiteX91" fmla="*/ 5983737 w 9144000"/>
              <a:gd name="connsiteY91" fmla="*/ 5099100 h 5143500"/>
              <a:gd name="connsiteX92" fmla="*/ 5945899 w 9144000"/>
              <a:gd name="connsiteY92" fmla="*/ 5106612 h 5143500"/>
              <a:gd name="connsiteX93" fmla="*/ 5907565 w 9144000"/>
              <a:gd name="connsiteY93" fmla="*/ 5113533 h 5143500"/>
              <a:gd name="connsiteX94" fmla="*/ 5868724 w 9144000"/>
              <a:gd name="connsiteY94" fmla="*/ 5119842 h 5143500"/>
              <a:gd name="connsiteX95" fmla="*/ 5829363 w 9144000"/>
              <a:gd name="connsiteY95" fmla="*/ 5125525 h 5143500"/>
              <a:gd name="connsiteX96" fmla="*/ 5789467 w 9144000"/>
              <a:gd name="connsiteY96" fmla="*/ 5130561 h 5143500"/>
              <a:gd name="connsiteX97" fmla="*/ 5749025 w 9144000"/>
              <a:gd name="connsiteY97" fmla="*/ 5134932 h 5143500"/>
              <a:gd name="connsiteX98" fmla="*/ 5708022 w 9144000"/>
              <a:gd name="connsiteY98" fmla="*/ 5138621 h 5143500"/>
              <a:gd name="connsiteX99" fmla="*/ 5666447 w 9144000"/>
              <a:gd name="connsiteY99" fmla="*/ 5141607 h 5143500"/>
              <a:gd name="connsiteX100" fmla="*/ 5631259 w 9144000"/>
              <a:gd name="connsiteY100" fmla="*/ 5143500 h 5143500"/>
              <a:gd name="connsiteX101" fmla="*/ 0 w 9144000"/>
              <a:gd name="connsiteY10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9144000" h="5143500">
                <a:moveTo>
                  <a:pt x="0" y="0"/>
                </a:moveTo>
                <a:lnTo>
                  <a:pt x="9144000" y="0"/>
                </a:lnTo>
                <a:lnTo>
                  <a:pt x="9144000" y="4345781"/>
                </a:lnTo>
                <a:lnTo>
                  <a:pt x="9143998" y="4345781"/>
                </a:lnTo>
                <a:lnTo>
                  <a:pt x="9143998" y="4344285"/>
                </a:lnTo>
                <a:lnTo>
                  <a:pt x="9095210" y="4326932"/>
                </a:lnTo>
                <a:lnTo>
                  <a:pt x="9047139" y="4310686"/>
                </a:lnTo>
                <a:lnTo>
                  <a:pt x="8999773" y="4295530"/>
                </a:lnTo>
                <a:lnTo>
                  <a:pt x="8953098" y="4281446"/>
                </a:lnTo>
                <a:lnTo>
                  <a:pt x="8907100" y="4268415"/>
                </a:lnTo>
                <a:lnTo>
                  <a:pt x="8861767" y="4256419"/>
                </a:lnTo>
                <a:lnTo>
                  <a:pt x="8817087" y="4245439"/>
                </a:lnTo>
                <a:lnTo>
                  <a:pt x="8773046" y="4235458"/>
                </a:lnTo>
                <a:lnTo>
                  <a:pt x="8729631" y="4226457"/>
                </a:lnTo>
                <a:lnTo>
                  <a:pt x="8686828" y="4218418"/>
                </a:lnTo>
                <a:lnTo>
                  <a:pt x="8644625" y="4211323"/>
                </a:lnTo>
                <a:lnTo>
                  <a:pt x="8603009" y="4205153"/>
                </a:lnTo>
                <a:lnTo>
                  <a:pt x="8582418" y="4202409"/>
                </a:lnTo>
                <a:lnTo>
                  <a:pt x="8561967" y="4199890"/>
                </a:lnTo>
                <a:lnTo>
                  <a:pt x="8541658" y="4197593"/>
                </a:lnTo>
                <a:lnTo>
                  <a:pt x="8521486" y="4195515"/>
                </a:lnTo>
                <a:lnTo>
                  <a:pt x="8501452" y="4193655"/>
                </a:lnTo>
                <a:lnTo>
                  <a:pt x="8481553" y="4192012"/>
                </a:lnTo>
                <a:lnTo>
                  <a:pt x="8461787" y="4190580"/>
                </a:lnTo>
                <a:lnTo>
                  <a:pt x="8442153" y="4189360"/>
                </a:lnTo>
                <a:lnTo>
                  <a:pt x="8422651" y="4188347"/>
                </a:lnTo>
                <a:lnTo>
                  <a:pt x="8403276" y="4187542"/>
                </a:lnTo>
                <a:lnTo>
                  <a:pt x="8384030" y="4186940"/>
                </a:lnTo>
                <a:lnTo>
                  <a:pt x="8364908" y="4186539"/>
                </a:lnTo>
                <a:lnTo>
                  <a:pt x="8345911" y="4186339"/>
                </a:lnTo>
                <a:lnTo>
                  <a:pt x="8327035" y="4186335"/>
                </a:lnTo>
                <a:lnTo>
                  <a:pt x="8308281" y="4186526"/>
                </a:lnTo>
                <a:lnTo>
                  <a:pt x="8289645" y="4186909"/>
                </a:lnTo>
                <a:lnTo>
                  <a:pt x="8271127" y="4187483"/>
                </a:lnTo>
                <a:lnTo>
                  <a:pt x="8252724" y="4188245"/>
                </a:lnTo>
                <a:lnTo>
                  <a:pt x="8234436" y="4189192"/>
                </a:lnTo>
                <a:lnTo>
                  <a:pt x="8216260" y="4190323"/>
                </a:lnTo>
                <a:lnTo>
                  <a:pt x="8198195" y="4191634"/>
                </a:lnTo>
                <a:lnTo>
                  <a:pt x="8180239" y="4193124"/>
                </a:lnTo>
                <a:lnTo>
                  <a:pt x="8162391" y="4194791"/>
                </a:lnTo>
                <a:lnTo>
                  <a:pt x="8144649" y="4196632"/>
                </a:lnTo>
                <a:lnTo>
                  <a:pt x="8127011" y="4198645"/>
                </a:lnTo>
                <a:lnTo>
                  <a:pt x="8109476" y="4200828"/>
                </a:lnTo>
                <a:lnTo>
                  <a:pt x="8092042" y="4203178"/>
                </a:lnTo>
                <a:lnTo>
                  <a:pt x="8074708" y="4205694"/>
                </a:lnTo>
                <a:lnTo>
                  <a:pt x="8057472" y="4208371"/>
                </a:lnTo>
                <a:lnTo>
                  <a:pt x="8040331" y="4211210"/>
                </a:lnTo>
                <a:lnTo>
                  <a:pt x="8006332" y="4217359"/>
                </a:lnTo>
                <a:lnTo>
                  <a:pt x="7972699" y="4224123"/>
                </a:lnTo>
                <a:lnTo>
                  <a:pt x="7922906" y="4235381"/>
                </a:lnTo>
                <a:lnTo>
                  <a:pt x="7890129" y="4243601"/>
                </a:lnTo>
                <a:lnTo>
                  <a:pt x="7857671" y="4252372"/>
                </a:lnTo>
                <a:lnTo>
                  <a:pt x="7825521" y="4261676"/>
                </a:lnTo>
                <a:lnTo>
                  <a:pt x="7793663" y="4271493"/>
                </a:lnTo>
                <a:lnTo>
                  <a:pt x="7762087" y="4281806"/>
                </a:lnTo>
                <a:lnTo>
                  <a:pt x="7730778" y="4292598"/>
                </a:lnTo>
                <a:lnTo>
                  <a:pt x="7699724" y="4303848"/>
                </a:lnTo>
                <a:lnTo>
                  <a:pt x="7668911" y="4315539"/>
                </a:lnTo>
                <a:lnTo>
                  <a:pt x="7638326" y="4327653"/>
                </a:lnTo>
                <a:lnTo>
                  <a:pt x="7607958" y="4340171"/>
                </a:lnTo>
                <a:lnTo>
                  <a:pt x="7577791" y="4353075"/>
                </a:lnTo>
                <a:lnTo>
                  <a:pt x="7547814" y="4366348"/>
                </a:lnTo>
                <a:lnTo>
                  <a:pt x="7518014" y="4379970"/>
                </a:lnTo>
                <a:lnTo>
                  <a:pt x="7473615" y="4401018"/>
                </a:lnTo>
                <a:lnTo>
                  <a:pt x="7429540" y="4422750"/>
                </a:lnTo>
                <a:lnTo>
                  <a:pt x="7385744" y="4445105"/>
                </a:lnTo>
                <a:lnTo>
                  <a:pt x="7342185" y="4468020"/>
                </a:lnTo>
                <a:lnTo>
                  <a:pt x="7284394" y="4499338"/>
                </a:lnTo>
                <a:lnTo>
                  <a:pt x="7198121" y="4547659"/>
                </a:lnTo>
                <a:lnTo>
                  <a:pt x="6982454" y="4672511"/>
                </a:lnTo>
                <a:lnTo>
                  <a:pt x="6821831" y="4764264"/>
                </a:lnTo>
                <a:lnTo>
                  <a:pt x="6747456" y="4805079"/>
                </a:lnTo>
                <a:lnTo>
                  <a:pt x="6687147" y="4837057"/>
                </a:lnTo>
                <a:lnTo>
                  <a:pt x="6641376" y="4860551"/>
                </a:lnTo>
                <a:lnTo>
                  <a:pt x="6595092" y="4883557"/>
                </a:lnTo>
                <a:lnTo>
                  <a:pt x="6548252" y="4906012"/>
                </a:lnTo>
                <a:lnTo>
                  <a:pt x="6500812" y="4927857"/>
                </a:lnTo>
                <a:lnTo>
                  <a:pt x="6468830" y="4942049"/>
                </a:lnTo>
                <a:lnTo>
                  <a:pt x="6436549" y="4955925"/>
                </a:lnTo>
                <a:lnTo>
                  <a:pt x="6403956" y="4969464"/>
                </a:lnTo>
                <a:lnTo>
                  <a:pt x="6371038" y="4982650"/>
                </a:lnTo>
                <a:lnTo>
                  <a:pt x="6337781" y="4995463"/>
                </a:lnTo>
                <a:lnTo>
                  <a:pt x="6304173" y="5007886"/>
                </a:lnTo>
                <a:lnTo>
                  <a:pt x="6270200" y="5019900"/>
                </a:lnTo>
                <a:lnTo>
                  <a:pt x="6235850" y="5031487"/>
                </a:lnTo>
                <a:lnTo>
                  <a:pt x="6201110" y="5042628"/>
                </a:lnTo>
                <a:lnTo>
                  <a:pt x="6165966" y="5053306"/>
                </a:lnTo>
                <a:lnTo>
                  <a:pt x="6130405" y="5063502"/>
                </a:lnTo>
                <a:lnTo>
                  <a:pt x="6094415" y="5073197"/>
                </a:lnTo>
                <a:lnTo>
                  <a:pt x="6057982" y="5082374"/>
                </a:lnTo>
                <a:lnTo>
                  <a:pt x="6021094" y="5091015"/>
                </a:lnTo>
                <a:lnTo>
                  <a:pt x="5983737" y="5099100"/>
                </a:lnTo>
                <a:lnTo>
                  <a:pt x="5945899" y="5106612"/>
                </a:lnTo>
                <a:lnTo>
                  <a:pt x="5907565" y="5113533"/>
                </a:lnTo>
                <a:lnTo>
                  <a:pt x="5868724" y="5119842"/>
                </a:lnTo>
                <a:lnTo>
                  <a:pt x="5829363" y="5125525"/>
                </a:lnTo>
                <a:lnTo>
                  <a:pt x="5789467" y="5130561"/>
                </a:lnTo>
                <a:lnTo>
                  <a:pt x="5749025" y="5134932"/>
                </a:lnTo>
                <a:lnTo>
                  <a:pt x="5708022" y="5138621"/>
                </a:lnTo>
                <a:lnTo>
                  <a:pt x="5666447" y="5141607"/>
                </a:lnTo>
                <a:lnTo>
                  <a:pt x="5631259" y="5143500"/>
                </a:lnTo>
                <a:lnTo>
                  <a:pt x="0" y="5143500"/>
                </a:lnTo>
                <a:close/>
              </a:path>
            </a:pathLst>
          </a:custGeom>
          <a:solidFill>
            <a:schemeClr val="accent6"/>
          </a:solidFill>
          <a:ln>
            <a:noFill/>
          </a:ln>
        </p:spPr>
        <p:txBody>
          <a:bodyPr wrap="square" anchor="b">
            <a:noAutofit/>
          </a:bodyPr>
          <a:lstStyle>
            <a:lvl1pPr marL="0" indent="0" algn="ctr">
              <a:buNone/>
              <a:defRPr sz="2183" b="0">
                <a:solidFill>
                  <a:schemeClr val="accent1"/>
                </a:solidFill>
              </a:defRPr>
            </a:lvl1pPr>
          </a:lstStyle>
          <a:p>
            <a:r>
              <a:rPr lang="en-GB" dirty="0"/>
              <a:t>   </a:t>
            </a:r>
          </a:p>
        </p:txBody>
      </p:sp>
      <p:sp>
        <p:nvSpPr>
          <p:cNvPr id="5" name="Text Placeholder 4">
            <a:extLst>
              <a:ext uri="{FF2B5EF4-FFF2-40B4-BE49-F238E27FC236}">
                <a16:creationId xmlns:a16="http://schemas.microsoft.com/office/drawing/2014/main" id="{CD9199F2-FD0B-48CB-BF88-E2A9677AD29D}"/>
              </a:ext>
            </a:extLst>
          </p:cNvPr>
          <p:cNvSpPr>
            <a:spLocks noGrp="1"/>
          </p:cNvSpPr>
          <p:nvPr>
            <p:ph type="body" sz="quarter" idx="10"/>
          </p:nvPr>
        </p:nvSpPr>
        <p:spPr>
          <a:xfrm>
            <a:off x="432001" y="5120019"/>
            <a:ext cx="5424816" cy="1333699"/>
          </a:xfrm>
        </p:spPr>
        <p:txBody>
          <a:bodyPr anchor="b"/>
          <a:lstStyle>
            <a:lvl1pPr>
              <a:defRPr sz="1200" b="1">
                <a:solidFill>
                  <a:schemeClr val="tx1"/>
                </a:solidFill>
              </a:defRPr>
            </a:lvl1pPr>
            <a:lvl2pPr>
              <a:defRPr sz="1200" b="0">
                <a:solidFill>
                  <a:schemeClr val="tx1"/>
                </a:solidFill>
              </a:defRPr>
            </a:lvl2pPr>
            <a:lvl3pPr marL="0" indent="0">
              <a:buFontTx/>
              <a:buNone/>
              <a:defRPr sz="1200" b="0">
                <a:solidFill>
                  <a:schemeClr val="tx1"/>
                </a:solidFill>
              </a:defRPr>
            </a:lvl3pPr>
            <a:lvl4pPr marL="0" indent="0">
              <a:buFontTx/>
              <a:buNone/>
              <a:defRPr sz="1200" b="0">
                <a:solidFill>
                  <a:schemeClr val="tx1"/>
                </a:solidFill>
              </a:defRPr>
            </a:lvl4pPr>
            <a:lvl5pPr marL="0" indent="0">
              <a:buFontTx/>
              <a:buNone/>
              <a:defRPr sz="1200" b="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7" name="Picture 6">
            <a:extLst>
              <a:ext uri="{FF2B5EF4-FFF2-40B4-BE49-F238E27FC236}">
                <a16:creationId xmlns:a16="http://schemas.microsoft.com/office/drawing/2014/main" id="{DD4BF8BF-9CAC-4BF8-B555-D6E364C618FB}"/>
              </a:ext>
            </a:extLst>
          </p:cNvPr>
          <p:cNvPicPr>
            <a:picLocks noChangeAspect="1"/>
          </p:cNvPicPr>
          <p:nvPr userDrawn="1"/>
        </p:nvPicPr>
        <p:blipFill>
          <a:blip r:embed="rId2"/>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5964317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93202-ABC8-43FB-AC03-1A7B6709210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88813965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B733F-036F-486F-8C1F-67849ABBFB1B}"/>
              </a:ext>
            </a:extLst>
          </p:cNvPr>
          <p:cNvSpPr>
            <a:spLocks noGrp="1"/>
          </p:cNvSpPr>
          <p:nvPr>
            <p:ph type="title"/>
          </p:nvPr>
        </p:nvSpPr>
        <p:spPr/>
        <p:txBody>
          <a:bodyPr/>
          <a:lstStyle/>
          <a:p>
            <a:r>
              <a:rPr lang="en-US"/>
              <a:t>Click to edit Master title style</a:t>
            </a:r>
            <a:endParaRPr lang="en-GB" dirty="0"/>
          </a:p>
        </p:txBody>
      </p:sp>
      <p:grpSp>
        <p:nvGrpSpPr>
          <p:cNvPr id="10" name="Guidance note">
            <a:extLst>
              <a:ext uri="{FF2B5EF4-FFF2-40B4-BE49-F238E27FC236}">
                <a16:creationId xmlns:a16="http://schemas.microsoft.com/office/drawing/2014/main" id="{632E5E5C-A081-4838-96EC-2018DFBEF9DF}"/>
              </a:ext>
            </a:extLst>
          </p:cNvPr>
          <p:cNvGrpSpPr/>
          <p:nvPr userDrawn="1"/>
        </p:nvGrpSpPr>
        <p:grpSpPr>
          <a:xfrm>
            <a:off x="12514259" y="-2970"/>
            <a:ext cx="2576459" cy="3511851"/>
            <a:chOff x="10925224" y="286"/>
            <a:chExt cx="2952328" cy="4024464"/>
          </a:xfrm>
        </p:grpSpPr>
        <p:sp>
          <p:nvSpPr>
            <p:cNvPr id="11" name="Guidance note">
              <a:extLst>
                <a:ext uri="{FF2B5EF4-FFF2-40B4-BE49-F238E27FC236}">
                  <a16:creationId xmlns:a16="http://schemas.microsoft.com/office/drawing/2014/main" id="{F2B4E9B4-10AE-4C7E-A99E-957BC1A5812F}"/>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12" name="Group 11">
              <a:extLst>
                <a:ext uri="{FF2B5EF4-FFF2-40B4-BE49-F238E27FC236}">
                  <a16:creationId xmlns:a16="http://schemas.microsoft.com/office/drawing/2014/main" id="{35B4912A-59FA-4C90-8A6A-AA719C24026F}"/>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13" name="Picture 3">
                <a:extLst>
                  <a:ext uri="{FF2B5EF4-FFF2-40B4-BE49-F238E27FC236}">
                    <a16:creationId xmlns:a16="http://schemas.microsoft.com/office/drawing/2014/main" id="{647D2EDA-3121-42A7-B61A-59C5E65D0A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14" name="Rounded Rectangle 20">
                <a:extLst>
                  <a:ext uri="{FF2B5EF4-FFF2-40B4-BE49-F238E27FC236}">
                    <a16:creationId xmlns:a16="http://schemas.microsoft.com/office/drawing/2014/main" id="{3A65E115-1B05-4D6A-8D9B-23B56711CDA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9" name="Text Placeholder 3">
            <a:extLst>
              <a:ext uri="{FF2B5EF4-FFF2-40B4-BE49-F238E27FC236}">
                <a16:creationId xmlns:a16="http://schemas.microsoft.com/office/drawing/2014/main" id="{1704110C-7FA9-42B8-8B3B-DA58E665BDCC}"/>
              </a:ext>
            </a:extLst>
          </p:cNvPr>
          <p:cNvSpPr>
            <a:spLocks noGrp="1"/>
          </p:cNvSpPr>
          <p:nvPr>
            <p:ph type="body" sz="quarter" idx="16"/>
          </p:nvPr>
        </p:nvSpPr>
        <p:spPr>
          <a:xfrm>
            <a:off x="432001" y="1416667"/>
            <a:ext cx="1132739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5754718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4F340-DC34-40A9-AAD0-1975F2301B87}"/>
              </a:ext>
            </a:extLst>
          </p:cNvPr>
          <p:cNvSpPr>
            <a:spLocks noGrp="1"/>
          </p:cNvSpPr>
          <p:nvPr>
            <p:ph type="title"/>
          </p:nvPr>
        </p:nvSpPr>
        <p:spPr/>
        <p:txBody>
          <a:bodyPr/>
          <a:lstStyle/>
          <a:p>
            <a:r>
              <a:rPr lang="en-US"/>
              <a:t>Click to edit Master title style</a:t>
            </a:r>
            <a:endParaRPr lang="en-GB" dirty="0"/>
          </a:p>
        </p:txBody>
      </p:sp>
      <p:sp>
        <p:nvSpPr>
          <p:cNvPr id="13" name="Text Placeholder 3">
            <a:extLst>
              <a:ext uri="{FF2B5EF4-FFF2-40B4-BE49-F238E27FC236}">
                <a16:creationId xmlns:a16="http://schemas.microsoft.com/office/drawing/2014/main" id="{9F52CBFD-699B-45C5-A157-E323D3A6D5CC}"/>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3">
            <a:extLst>
              <a:ext uri="{FF2B5EF4-FFF2-40B4-BE49-F238E27FC236}">
                <a16:creationId xmlns:a16="http://schemas.microsoft.com/office/drawing/2014/main" id="{A54D8696-31B7-4DB8-B15D-873BDA46532E}"/>
              </a:ext>
            </a:extLst>
          </p:cNvPr>
          <p:cNvSpPr>
            <a:spLocks noGrp="1"/>
          </p:cNvSpPr>
          <p:nvPr>
            <p:ph type="body" sz="quarter" idx="17"/>
          </p:nvPr>
        </p:nvSpPr>
        <p:spPr>
          <a:xfrm>
            <a:off x="6335184"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4" name="Guidance note">
            <a:extLst>
              <a:ext uri="{FF2B5EF4-FFF2-40B4-BE49-F238E27FC236}">
                <a16:creationId xmlns:a16="http://schemas.microsoft.com/office/drawing/2014/main" id="{F560F193-177D-4395-B1BB-A42292DDC151}"/>
              </a:ext>
            </a:extLst>
          </p:cNvPr>
          <p:cNvGrpSpPr/>
          <p:nvPr userDrawn="1"/>
        </p:nvGrpSpPr>
        <p:grpSpPr>
          <a:xfrm>
            <a:off x="12514259" y="-2970"/>
            <a:ext cx="2576459" cy="3511851"/>
            <a:chOff x="10925224" y="286"/>
            <a:chExt cx="2952328" cy="4024464"/>
          </a:xfrm>
        </p:grpSpPr>
        <p:sp>
          <p:nvSpPr>
            <p:cNvPr id="25" name="Guidance note">
              <a:extLst>
                <a:ext uri="{FF2B5EF4-FFF2-40B4-BE49-F238E27FC236}">
                  <a16:creationId xmlns:a16="http://schemas.microsoft.com/office/drawing/2014/main" id="{AF29402F-0B0A-44A5-B263-0C8C1E5B7779}"/>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6" name="Group 25">
              <a:extLst>
                <a:ext uri="{FF2B5EF4-FFF2-40B4-BE49-F238E27FC236}">
                  <a16:creationId xmlns:a16="http://schemas.microsoft.com/office/drawing/2014/main" id="{75E3892D-FEFD-4962-9795-DC2F17463B75}"/>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7" name="Picture 3">
                <a:extLst>
                  <a:ext uri="{FF2B5EF4-FFF2-40B4-BE49-F238E27FC236}">
                    <a16:creationId xmlns:a16="http://schemas.microsoft.com/office/drawing/2014/main" id="{1EE9A39B-0904-456F-B59F-2F4E55120F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8" name="Rounded Rectangle 20">
                <a:extLst>
                  <a:ext uri="{FF2B5EF4-FFF2-40B4-BE49-F238E27FC236}">
                    <a16:creationId xmlns:a16="http://schemas.microsoft.com/office/drawing/2014/main" id="{7992D0BE-FA95-458F-8ED2-677D7AE90B42}"/>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366426871"/>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2001" y="1416667"/>
            <a:ext cx="3456319"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8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5281"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8D58E090-A402-4396-9C34-AACC618598E9}"/>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9007DA49-FBBA-426F-8BA1-C45A5B9C3B51}"/>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7A2C458C-0867-42D1-96EC-960A20373E5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317CCC4E-121E-4D81-894F-BC8D76CF9C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FDB760BE-4E51-4DA4-A2FA-EA5369BB40F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86541017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ne column + ima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5" name="Text Placeholder 3">
            <a:extLst>
              <a:ext uri="{FF2B5EF4-FFF2-40B4-BE49-F238E27FC236}">
                <a16:creationId xmlns:a16="http://schemas.microsoft.com/office/drawing/2014/main" id="{D0C88B5B-AAF5-47BD-AD69-1EE3F9438DF2}"/>
              </a:ext>
            </a:extLst>
          </p:cNvPr>
          <p:cNvSpPr>
            <a:spLocks noGrp="1"/>
          </p:cNvSpPr>
          <p:nvPr>
            <p:ph type="body" sz="quarter" idx="16"/>
          </p:nvPr>
        </p:nvSpPr>
        <p:spPr>
          <a:xfrm>
            <a:off x="432000" y="1416667"/>
            <a:ext cx="5424817"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Picture Placeholder 3">
            <a:extLst>
              <a:ext uri="{FF2B5EF4-FFF2-40B4-BE49-F238E27FC236}">
                <a16:creationId xmlns:a16="http://schemas.microsoft.com/office/drawing/2014/main" id="{C6AD82B2-07C2-46E9-9678-D1F4F1426BEA}"/>
              </a:ext>
            </a:extLst>
          </p:cNvPr>
          <p:cNvSpPr>
            <a:spLocks noGrp="1"/>
          </p:cNvSpPr>
          <p:nvPr>
            <p:ph type="pic" sz="quarter" idx="18" hasCustomPrompt="1"/>
          </p:nvPr>
        </p:nvSpPr>
        <p:spPr>
          <a:xfrm>
            <a:off x="6337301" y="1416051"/>
            <a:ext cx="5402583" cy="4605867"/>
          </a:xfrm>
          <a:solidFill>
            <a:schemeClr val="bg1">
              <a:lumMod val="95000"/>
            </a:schemeClr>
          </a:solidFill>
        </p:spPr>
        <p:txBody>
          <a:bodyPr anchor="ctr">
            <a:noAutofit/>
          </a:bodyPr>
          <a:lstStyle>
            <a:lvl1pPr algn="ctr">
              <a:defRPr/>
            </a:lvl1pPr>
          </a:lstStyle>
          <a:p>
            <a:r>
              <a:rPr lang="en-GB" dirty="0"/>
              <a:t>INSERT PICTURE</a:t>
            </a:r>
          </a:p>
        </p:txBody>
      </p:sp>
      <p:grpSp>
        <p:nvGrpSpPr>
          <p:cNvPr id="22" name="Guidance note">
            <a:extLst>
              <a:ext uri="{FF2B5EF4-FFF2-40B4-BE49-F238E27FC236}">
                <a16:creationId xmlns:a16="http://schemas.microsoft.com/office/drawing/2014/main" id="{01782A72-73F6-4D14-8B35-52467DA934D1}"/>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BA2FA1E4-352E-4936-9547-427ED8A3A4D0}"/>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7CA143A2-801C-4CD0-8D12-326B73247494}"/>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5C9ED126-1C4E-4635-A8FB-BCBFE68F79E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36520D67-05A8-460E-B163-63A8C5C3076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3193096234"/>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message + text righ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431999"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4">
            <a:extLst>
              <a:ext uri="{FF2B5EF4-FFF2-40B4-BE49-F238E27FC236}">
                <a16:creationId xmlns:a16="http://schemas.microsoft.com/office/drawing/2014/main" id="{C5ABD336-6DA0-4C14-8548-610B7CB3FDD3}"/>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4C75A555-DA44-4479-9698-0614FBA84EB2}"/>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C63E074A-E363-483E-970D-D9D5B8E95E9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896FFC9E-ABDE-4220-B6F9-2A72B081BE11}"/>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783C9DE9-FE0B-4105-9B20-8A9F98F20D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5102F88B-920A-4BBA-AA4D-ABF9A90CB5A1}"/>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413498173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message + text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7B61B7-ECC6-4ABC-9069-45A9590FC629}"/>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930CD1D-A41A-4185-9CFA-885F60C5B505}"/>
              </a:ext>
            </a:extLst>
          </p:cNvPr>
          <p:cNvSpPr>
            <a:spLocks noGrp="1"/>
          </p:cNvSpPr>
          <p:nvPr>
            <p:ph type="body" sz="quarter" idx="16"/>
          </p:nvPr>
        </p:nvSpPr>
        <p:spPr>
          <a:xfrm>
            <a:off x="8304000" y="1416667"/>
            <a:ext cx="3456000" cy="4605251"/>
          </a:xfrm>
          <a:solidFill>
            <a:schemeClr val="accent1"/>
          </a:solidFill>
        </p:spPr>
        <p:txBody>
          <a:bodyPr wrap="square" lIns="144000" tIns="144000" rIns="144000" bIns="144000">
            <a:noAutofit/>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05C4283E-702E-4783-AE1B-598C33ABADE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3">
            <a:extLst>
              <a:ext uri="{FF2B5EF4-FFF2-40B4-BE49-F238E27FC236}">
                <a16:creationId xmlns:a16="http://schemas.microsoft.com/office/drawing/2014/main" id="{0AFD44EC-D9DC-4A2D-91EF-9F07DE3F1CEF}"/>
              </a:ext>
            </a:extLst>
          </p:cNvPr>
          <p:cNvSpPr>
            <a:spLocks noGrp="1"/>
          </p:cNvSpPr>
          <p:nvPr>
            <p:ph type="body" sz="quarter" idx="19"/>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5" name="Guidance note">
            <a:extLst>
              <a:ext uri="{FF2B5EF4-FFF2-40B4-BE49-F238E27FC236}">
                <a16:creationId xmlns:a16="http://schemas.microsoft.com/office/drawing/2014/main" id="{8D653A98-CF56-446A-9721-D28CD48D3FD4}"/>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8C9C3EDE-A918-437D-A5D8-7697D56218DE}"/>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5F3C91CB-65FA-4CDB-8765-78FFE5FC2739}"/>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5C5CF7EE-ECFD-4A37-B9C3-BD2D0C0176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4A33F702-07EE-4E88-900B-16CB8EA2DA6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414560427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19" name="Chart Placeholder 5"/>
          <p:cNvSpPr>
            <a:spLocks noGrp="1"/>
          </p:cNvSpPr>
          <p:nvPr>
            <p:ph type="chart" sz="quarter" idx="15" hasCustomPrompt="1"/>
          </p:nvPr>
        </p:nvSpPr>
        <p:spPr>
          <a:xfrm>
            <a:off x="431800" y="1416667"/>
            <a:ext cx="7391400" cy="4605251"/>
          </a:xfrm>
          <a:prstGeom prst="rect">
            <a:avLst/>
          </a:prstGeom>
        </p:spPr>
        <p:txBody>
          <a:bodyPr>
            <a:noAutofit/>
          </a:bodyPr>
          <a:lstStyle>
            <a:lvl1pPr>
              <a:defRPr>
                <a:solidFill>
                  <a:schemeClr val="accent1"/>
                </a:solidFill>
              </a:defRPr>
            </a:lvl1pPr>
          </a:lstStyle>
          <a:p>
            <a:r>
              <a:rPr lang="en-GB" dirty="0"/>
              <a:t> </a:t>
            </a:r>
          </a:p>
        </p:txBody>
      </p:sp>
      <p:sp>
        <p:nvSpPr>
          <p:cNvPr id="2" name="Title 1">
            <a:extLst>
              <a:ext uri="{FF2B5EF4-FFF2-40B4-BE49-F238E27FC236}">
                <a16:creationId xmlns:a16="http://schemas.microsoft.com/office/drawing/2014/main" id="{0642CC84-39CD-4CBB-B3E7-E705009B80B3}"/>
              </a:ext>
            </a:extLst>
          </p:cNvPr>
          <p:cNvSpPr>
            <a:spLocks noGrp="1"/>
          </p:cNvSpPr>
          <p:nvPr>
            <p:ph type="title"/>
          </p:nvPr>
        </p:nvSpPr>
        <p:spPr/>
        <p:txBody>
          <a:body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64AF0A20-4521-4105-B244-E4D7D8DC46D9}"/>
              </a:ext>
            </a:extLst>
          </p:cNvPr>
          <p:cNvSpPr>
            <a:spLocks noGrp="1"/>
          </p:cNvSpPr>
          <p:nvPr>
            <p:ph type="body" sz="quarter" idx="17"/>
          </p:nvPr>
        </p:nvSpPr>
        <p:spPr>
          <a:xfrm>
            <a:off x="8304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2" name="Guidance note">
            <a:extLst>
              <a:ext uri="{FF2B5EF4-FFF2-40B4-BE49-F238E27FC236}">
                <a16:creationId xmlns:a16="http://schemas.microsoft.com/office/drawing/2014/main" id="{F6BD485F-7180-4CEC-839E-F9483AEAF584}"/>
              </a:ext>
            </a:extLst>
          </p:cNvPr>
          <p:cNvGrpSpPr/>
          <p:nvPr userDrawn="1"/>
        </p:nvGrpSpPr>
        <p:grpSpPr>
          <a:xfrm>
            <a:off x="12514259" y="-2970"/>
            <a:ext cx="2576459" cy="3511851"/>
            <a:chOff x="10925224" y="286"/>
            <a:chExt cx="2952328" cy="4024464"/>
          </a:xfrm>
        </p:grpSpPr>
        <p:sp>
          <p:nvSpPr>
            <p:cNvPr id="23" name="Guidance note">
              <a:extLst>
                <a:ext uri="{FF2B5EF4-FFF2-40B4-BE49-F238E27FC236}">
                  <a16:creationId xmlns:a16="http://schemas.microsoft.com/office/drawing/2014/main" id="{F86419A7-5EC4-4AC8-BB23-375E60D2C6B7}"/>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4" name="Group 23">
              <a:extLst>
                <a:ext uri="{FF2B5EF4-FFF2-40B4-BE49-F238E27FC236}">
                  <a16:creationId xmlns:a16="http://schemas.microsoft.com/office/drawing/2014/main" id="{A4B3781D-97B0-49DA-A922-2F4A49B5EEE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5" name="Picture 3">
                <a:extLst>
                  <a:ext uri="{FF2B5EF4-FFF2-40B4-BE49-F238E27FC236}">
                    <a16:creationId xmlns:a16="http://schemas.microsoft.com/office/drawing/2014/main" id="{D16DEB41-48C9-4F3C-BCFC-0DDD665BFB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6" name="Rounded Rectangle 20">
                <a:extLst>
                  <a:ext uri="{FF2B5EF4-FFF2-40B4-BE49-F238E27FC236}">
                    <a16:creationId xmlns:a16="http://schemas.microsoft.com/office/drawing/2014/main" id="{5625153F-0A02-4860-9759-AE6F2DB1F863}"/>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0142950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_Intro_Copyx3">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9CE9245F-A54E-6D46-803F-FE1389E58235}"/>
              </a:ext>
            </a:extLst>
          </p:cNvPr>
          <p:cNvSpPr>
            <a:spLocks noGrp="1"/>
          </p:cNvSpPr>
          <p:nvPr>
            <p:ph type="body" sz="quarter" idx="11"/>
          </p:nvPr>
        </p:nvSpPr>
        <p:spPr>
          <a:xfrm>
            <a:off x="592143"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8" name="Title 1">
            <a:extLst>
              <a:ext uri="{FF2B5EF4-FFF2-40B4-BE49-F238E27FC236}">
                <a16:creationId xmlns:a16="http://schemas.microsoft.com/office/drawing/2014/main" id="{929765F6-EDB2-2A42-BBCA-10A614DAE0FA}"/>
              </a:ext>
            </a:extLst>
          </p:cNvPr>
          <p:cNvSpPr>
            <a:spLocks noGrp="1"/>
          </p:cNvSpPr>
          <p:nvPr>
            <p:ph type="title"/>
          </p:nvPr>
        </p:nvSpPr>
        <p:spPr>
          <a:xfrm>
            <a:off x="497523" y="780175"/>
            <a:ext cx="5043199" cy="637747"/>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0" name="Text Placeholder 11">
            <a:extLst>
              <a:ext uri="{FF2B5EF4-FFF2-40B4-BE49-F238E27FC236}">
                <a16:creationId xmlns:a16="http://schemas.microsoft.com/office/drawing/2014/main" id="{A677CB7A-1D72-1E45-BBB9-C15092A5C372}"/>
              </a:ext>
            </a:extLst>
          </p:cNvPr>
          <p:cNvSpPr>
            <a:spLocks noGrp="1"/>
          </p:cNvSpPr>
          <p:nvPr>
            <p:ph type="body" sz="quarter" idx="12"/>
          </p:nvPr>
        </p:nvSpPr>
        <p:spPr>
          <a:xfrm>
            <a:off x="59214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pic>
        <p:nvPicPr>
          <p:cNvPr id="11" name="Picture 10">
            <a:extLst>
              <a:ext uri="{FF2B5EF4-FFF2-40B4-BE49-F238E27FC236}">
                <a16:creationId xmlns:a16="http://schemas.microsoft.com/office/drawing/2014/main" id="{14DB0147-8AA3-3045-A01D-480E4B926D6A}"/>
              </a:ext>
            </a:extLst>
          </p:cNvPr>
          <p:cNvPicPr>
            <a:picLocks noChangeAspect="1"/>
          </p:cNvPicPr>
          <p:nvPr/>
        </p:nvPicPr>
        <p:blipFill>
          <a:blip r:embed="rId2"/>
          <a:stretch>
            <a:fillRect/>
          </a:stretch>
        </p:blipFill>
        <p:spPr>
          <a:xfrm>
            <a:off x="0" y="5816600"/>
            <a:ext cx="12192000" cy="1041400"/>
          </a:xfrm>
          <a:prstGeom prst="rect">
            <a:avLst/>
          </a:prstGeom>
        </p:spPr>
      </p:pic>
      <p:sp>
        <p:nvSpPr>
          <p:cNvPr id="7" name="Text Placeholder 11">
            <a:extLst>
              <a:ext uri="{FF2B5EF4-FFF2-40B4-BE49-F238E27FC236}">
                <a16:creationId xmlns:a16="http://schemas.microsoft.com/office/drawing/2014/main" id="{DEA4372F-A8FE-304D-BEEF-9B1F4366F1F7}"/>
              </a:ext>
            </a:extLst>
          </p:cNvPr>
          <p:cNvSpPr>
            <a:spLocks noGrp="1"/>
          </p:cNvSpPr>
          <p:nvPr>
            <p:ph type="body" sz="quarter" idx="13"/>
          </p:nvPr>
        </p:nvSpPr>
        <p:spPr>
          <a:xfrm>
            <a:off x="4446513"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9" name="Text Placeholder 11">
            <a:extLst>
              <a:ext uri="{FF2B5EF4-FFF2-40B4-BE49-F238E27FC236}">
                <a16:creationId xmlns:a16="http://schemas.microsoft.com/office/drawing/2014/main" id="{E16F508C-C8C7-E649-9929-A87F4FD3E22F}"/>
              </a:ext>
            </a:extLst>
          </p:cNvPr>
          <p:cNvSpPr>
            <a:spLocks noGrp="1"/>
          </p:cNvSpPr>
          <p:nvPr>
            <p:ph type="body" sz="quarter" idx="14"/>
          </p:nvPr>
        </p:nvSpPr>
        <p:spPr>
          <a:xfrm>
            <a:off x="8300882" y="3078866"/>
            <a:ext cx="3298973" cy="2050789"/>
          </a:xfrm>
          <a:prstGeom prst="rect">
            <a:avLst/>
          </a:prstGeom>
          <a:ln>
            <a:noFill/>
          </a:ln>
        </p:spPr>
        <p:txBody>
          <a:bodyPr lIns="0" numCol="1"/>
          <a:lstStyle>
            <a:lvl1pPr marL="171450" indent="-171450">
              <a:buFont typeface="Arial" panose="020B0604020202020204" pitchFamily="34" charset="0"/>
              <a:buChar char="•"/>
              <a:defRPr sz="12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2" name="Text Placeholder 11">
            <a:extLst>
              <a:ext uri="{FF2B5EF4-FFF2-40B4-BE49-F238E27FC236}">
                <a16:creationId xmlns:a16="http://schemas.microsoft.com/office/drawing/2014/main" id="{B2CF9473-1903-994F-B99C-D29984D129C3}"/>
              </a:ext>
            </a:extLst>
          </p:cNvPr>
          <p:cNvSpPr>
            <a:spLocks noGrp="1"/>
          </p:cNvSpPr>
          <p:nvPr>
            <p:ph type="body" sz="quarter" idx="15"/>
          </p:nvPr>
        </p:nvSpPr>
        <p:spPr>
          <a:xfrm>
            <a:off x="4434938"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
        <p:nvSpPr>
          <p:cNvPr id="13" name="Text Placeholder 11">
            <a:extLst>
              <a:ext uri="{FF2B5EF4-FFF2-40B4-BE49-F238E27FC236}">
                <a16:creationId xmlns:a16="http://schemas.microsoft.com/office/drawing/2014/main" id="{DE8310A5-8F15-B846-BB45-B7B8D709FBE8}"/>
              </a:ext>
            </a:extLst>
          </p:cNvPr>
          <p:cNvSpPr>
            <a:spLocks noGrp="1"/>
          </p:cNvSpPr>
          <p:nvPr>
            <p:ph type="body" sz="quarter" idx="16"/>
          </p:nvPr>
        </p:nvSpPr>
        <p:spPr>
          <a:xfrm>
            <a:off x="8300882" y="2496094"/>
            <a:ext cx="3298973" cy="506555"/>
          </a:xfrm>
          <a:prstGeom prst="rect">
            <a:avLst/>
          </a:prstGeom>
          <a:ln>
            <a:noFill/>
          </a:ln>
        </p:spPr>
        <p:txBody>
          <a:bodyPr lIns="0" anchor="b"/>
          <a:lstStyle>
            <a:lvl1pPr marL="0" indent="0">
              <a:buNone/>
              <a:defRPr sz="1400" b="1" i="1">
                <a:solidFill>
                  <a:srgbClr val="E75400"/>
                </a:solidFill>
                <a:latin typeface="Helvetica Neue LT Std 87 Heavy " panose="020B0604020202020204" pitchFamily="34" charset="0"/>
              </a:defRPr>
            </a:lvl1pPr>
            <a:lvl2pPr marL="457189" indent="0">
              <a:buFont typeface="Arial" panose="020B0604020202020204" pitchFamily="34" charset="0"/>
              <a:buNone/>
              <a:defRPr sz="1400" b="0" i="0">
                <a:ln>
                  <a:noFill/>
                </a:ln>
                <a:solidFill>
                  <a:srgbClr val="E8BC28"/>
                </a:solidFill>
                <a:latin typeface="Helvetica Neue LT Std 45 Light" panose="020B0403020202020204" pitchFamily="34" charset="0"/>
              </a:defRPr>
            </a:lvl2pPr>
            <a:lvl3pPr marL="914377" indent="0">
              <a:buFont typeface="Arial" panose="020B0604020202020204" pitchFamily="34" charset="0"/>
              <a:buNone/>
              <a:defRPr sz="1400" b="0" i="0">
                <a:solidFill>
                  <a:srgbClr val="E8BC28"/>
                </a:solidFill>
                <a:latin typeface="Helvetica Neue LT Std 45 Light" panose="020B0403020202020204" pitchFamily="34" charset="0"/>
              </a:defRPr>
            </a:lvl3pPr>
            <a:lvl4pPr marL="1371566" indent="0">
              <a:buFont typeface="Arial" panose="020B0604020202020204" pitchFamily="34" charset="0"/>
              <a:buNone/>
              <a:defRPr sz="1400" b="0" i="0">
                <a:solidFill>
                  <a:srgbClr val="E8BC28"/>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endParaRPr lang="en-US" dirty="0"/>
          </a:p>
        </p:txBody>
      </p:sp>
    </p:spTree>
    <p:extLst>
      <p:ext uri="{BB962C8B-B14F-4D97-AF65-F5344CB8AC3E}">
        <p14:creationId xmlns:p14="http://schemas.microsoft.com/office/powerpoint/2010/main" val="396758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ne column + char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878C4F-BC10-44FA-BC77-6768BE68A2F6}"/>
              </a:ext>
            </a:extLst>
          </p:cNvPr>
          <p:cNvSpPr>
            <a:spLocks noGrp="1"/>
          </p:cNvSpPr>
          <p:nvPr>
            <p:ph type="title"/>
          </p:nvPr>
        </p:nvSpPr>
        <p:spPr/>
        <p:txBody>
          <a:bodyPr/>
          <a:lstStyle/>
          <a:p>
            <a:r>
              <a:rPr lang="en-US"/>
              <a:t>Click to edit Master title style</a:t>
            </a:r>
            <a:endParaRPr lang="en-GB" dirty="0"/>
          </a:p>
        </p:txBody>
      </p:sp>
      <p:sp>
        <p:nvSpPr>
          <p:cNvPr id="6" name="Chart Placeholder 5">
            <a:extLst>
              <a:ext uri="{FF2B5EF4-FFF2-40B4-BE49-F238E27FC236}">
                <a16:creationId xmlns:a16="http://schemas.microsoft.com/office/drawing/2014/main" id="{83EBF3A2-2E7C-4F57-BC5D-3417991A9CB8}"/>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sp>
        <p:nvSpPr>
          <p:cNvPr id="12" name="Text Placeholder 3">
            <a:extLst>
              <a:ext uri="{FF2B5EF4-FFF2-40B4-BE49-F238E27FC236}">
                <a16:creationId xmlns:a16="http://schemas.microsoft.com/office/drawing/2014/main" id="{17845B65-2392-4819-94E4-E3EB31C4C457}"/>
              </a:ext>
            </a:extLst>
          </p:cNvPr>
          <p:cNvSpPr>
            <a:spLocks noGrp="1"/>
          </p:cNvSpPr>
          <p:nvPr>
            <p:ph type="body" sz="quarter" idx="16"/>
          </p:nvPr>
        </p:nvSpPr>
        <p:spPr>
          <a:xfrm>
            <a:off x="431999" y="1416667"/>
            <a:ext cx="7392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3" name="Guidance note">
            <a:extLst>
              <a:ext uri="{FF2B5EF4-FFF2-40B4-BE49-F238E27FC236}">
                <a16:creationId xmlns:a16="http://schemas.microsoft.com/office/drawing/2014/main" id="{C6220EA2-47DD-43D0-9331-5CA1710205F1}"/>
              </a:ext>
            </a:extLst>
          </p:cNvPr>
          <p:cNvGrpSpPr/>
          <p:nvPr userDrawn="1"/>
        </p:nvGrpSpPr>
        <p:grpSpPr>
          <a:xfrm>
            <a:off x="12514259" y="-2970"/>
            <a:ext cx="2576459" cy="3511851"/>
            <a:chOff x="10925224" y="286"/>
            <a:chExt cx="2952328" cy="4024464"/>
          </a:xfrm>
        </p:grpSpPr>
        <p:sp>
          <p:nvSpPr>
            <p:cNvPr id="24" name="Guidance note">
              <a:extLst>
                <a:ext uri="{FF2B5EF4-FFF2-40B4-BE49-F238E27FC236}">
                  <a16:creationId xmlns:a16="http://schemas.microsoft.com/office/drawing/2014/main" id="{2CF5DA98-8560-415B-8960-59469744CC96}"/>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5" name="Group 24">
              <a:extLst>
                <a:ext uri="{FF2B5EF4-FFF2-40B4-BE49-F238E27FC236}">
                  <a16:creationId xmlns:a16="http://schemas.microsoft.com/office/drawing/2014/main" id="{78E71987-5BD9-4DE7-9F3A-329F8F826E80}"/>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6" name="Picture 3">
                <a:extLst>
                  <a:ext uri="{FF2B5EF4-FFF2-40B4-BE49-F238E27FC236}">
                    <a16:creationId xmlns:a16="http://schemas.microsoft.com/office/drawing/2014/main" id="{FC9137C3-4121-48D7-AB68-03D7AA9055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7" name="Rounded Rectangle 20">
                <a:extLst>
                  <a:ext uri="{FF2B5EF4-FFF2-40B4-BE49-F238E27FC236}">
                    <a16:creationId xmlns:a16="http://schemas.microsoft.com/office/drawing/2014/main" id="{CD8F4824-0475-4119-BF77-90AE7EEC80E7}"/>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359452476"/>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62524-0972-45E6-8233-6ABAD7F79AAC}"/>
              </a:ext>
            </a:extLst>
          </p:cNvPr>
          <p:cNvSpPr>
            <a:spLocks noGrp="1"/>
          </p:cNvSpPr>
          <p:nvPr>
            <p:ph type="title"/>
          </p:nvPr>
        </p:nvSpPr>
        <p:spPr/>
        <p:txBody>
          <a:body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9FC37DAF-12F7-4FE3-99E2-B1BC731C4CD1}"/>
              </a:ext>
            </a:extLst>
          </p:cNvPr>
          <p:cNvSpPr>
            <a:spLocks noGrp="1"/>
          </p:cNvSpPr>
          <p:nvPr>
            <p:ph type="body" sz="quarter" idx="16"/>
          </p:nvPr>
        </p:nvSpPr>
        <p:spPr>
          <a:xfrm>
            <a:off x="431999"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3">
            <a:extLst>
              <a:ext uri="{FF2B5EF4-FFF2-40B4-BE49-F238E27FC236}">
                <a16:creationId xmlns:a16="http://schemas.microsoft.com/office/drawing/2014/main" id="{CEC6E2C5-7988-4109-B04E-4C5B434E0D5F}"/>
              </a:ext>
            </a:extLst>
          </p:cNvPr>
          <p:cNvSpPr>
            <a:spLocks noGrp="1"/>
          </p:cNvSpPr>
          <p:nvPr>
            <p:ph type="body" sz="quarter" idx="17"/>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hart Placeholder 5">
            <a:extLst>
              <a:ext uri="{FF2B5EF4-FFF2-40B4-BE49-F238E27FC236}">
                <a16:creationId xmlns:a16="http://schemas.microsoft.com/office/drawing/2014/main" id="{59BB4BB1-10D0-4A42-B2B1-1F058F0E5999}"/>
              </a:ext>
            </a:extLst>
          </p:cNvPr>
          <p:cNvSpPr>
            <a:spLocks noGrp="1"/>
          </p:cNvSpPr>
          <p:nvPr>
            <p:ph type="chart" sz="quarter" idx="15" hasCustomPrompt="1"/>
          </p:nvPr>
        </p:nvSpPr>
        <p:spPr>
          <a:xfrm>
            <a:off x="8304000" y="1416667"/>
            <a:ext cx="3456000" cy="4605251"/>
          </a:xfrm>
          <a:prstGeom prst="rect">
            <a:avLst/>
          </a:prstGeom>
        </p:spPr>
        <p:txBody>
          <a:bodyPr>
            <a:noAutofit/>
          </a:bodyPr>
          <a:lstStyle>
            <a:lvl1pPr>
              <a:defRPr/>
            </a:lvl1pPr>
          </a:lstStyle>
          <a:p>
            <a:r>
              <a:rPr lang="en-GB" dirty="0"/>
              <a:t> </a:t>
            </a:r>
          </a:p>
        </p:txBody>
      </p:sp>
      <p:grpSp>
        <p:nvGrpSpPr>
          <p:cNvPr id="25" name="Guidance note">
            <a:extLst>
              <a:ext uri="{FF2B5EF4-FFF2-40B4-BE49-F238E27FC236}">
                <a16:creationId xmlns:a16="http://schemas.microsoft.com/office/drawing/2014/main" id="{2B9602E7-D537-490B-9711-4C94A1263400}"/>
              </a:ext>
            </a:extLst>
          </p:cNvPr>
          <p:cNvGrpSpPr/>
          <p:nvPr userDrawn="1"/>
        </p:nvGrpSpPr>
        <p:grpSpPr>
          <a:xfrm>
            <a:off x="12514259" y="-2970"/>
            <a:ext cx="2576459" cy="3511851"/>
            <a:chOff x="10925224" y="286"/>
            <a:chExt cx="2952328" cy="4024464"/>
          </a:xfrm>
        </p:grpSpPr>
        <p:sp>
          <p:nvSpPr>
            <p:cNvPr id="26" name="Guidance note">
              <a:extLst>
                <a:ext uri="{FF2B5EF4-FFF2-40B4-BE49-F238E27FC236}">
                  <a16:creationId xmlns:a16="http://schemas.microsoft.com/office/drawing/2014/main" id="{A260A4C8-FE16-4419-895F-1BDE2239A65A}"/>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27" name="Group 26">
              <a:extLst>
                <a:ext uri="{FF2B5EF4-FFF2-40B4-BE49-F238E27FC236}">
                  <a16:creationId xmlns:a16="http://schemas.microsoft.com/office/drawing/2014/main" id="{2F154759-8702-4699-8D62-C0E5762F4453}"/>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28" name="Picture 3">
                <a:extLst>
                  <a:ext uri="{FF2B5EF4-FFF2-40B4-BE49-F238E27FC236}">
                    <a16:creationId xmlns:a16="http://schemas.microsoft.com/office/drawing/2014/main" id="{1E7040CA-37E8-4B53-84A1-45C657E7F6D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9" name="Rounded Rectangle 20">
                <a:extLst>
                  <a:ext uri="{FF2B5EF4-FFF2-40B4-BE49-F238E27FC236}">
                    <a16:creationId xmlns:a16="http://schemas.microsoft.com/office/drawing/2014/main" id="{CAF4B175-7E0B-4F34-B662-4F63EA174C7D}"/>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2613029890"/>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18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6096000" y="3794592"/>
            <a:ext cx="5664200" cy="2227411"/>
          </a:xfrm>
          <a:solidFill>
            <a:schemeClr val="bg1">
              <a:lumMod val="95000"/>
            </a:schemeClr>
          </a:solidFill>
        </p:spPr>
        <p:txBody>
          <a:bodyPr anchor="ctr">
            <a:noAutofit/>
          </a:bodyPr>
          <a:lstStyle>
            <a:lvl1pPr algn="ctr">
              <a:defRPr/>
            </a:lvl1pPr>
          </a:lstStyle>
          <a:p>
            <a:r>
              <a:rPr lang="en-GB" dirty="0"/>
              <a:t>INSERT PICTURE</a:t>
            </a:r>
          </a:p>
        </p:txBody>
      </p:sp>
      <p:sp>
        <p:nvSpPr>
          <p:cNvPr id="2" name="Title 1">
            <a:extLst>
              <a:ext uri="{FF2B5EF4-FFF2-40B4-BE49-F238E27FC236}">
                <a16:creationId xmlns:a16="http://schemas.microsoft.com/office/drawing/2014/main" id="{5CA6738F-1383-4C63-86BC-6C31BCD1E25B}"/>
              </a:ext>
            </a:extLst>
          </p:cNvPr>
          <p:cNvSpPr>
            <a:spLocks noGrp="1"/>
          </p:cNvSpPr>
          <p:nvPr>
            <p:ph type="title"/>
          </p:nvPr>
        </p:nvSpPr>
        <p:spPr/>
        <p:txBody>
          <a:bodyPr/>
          <a:lstStyle/>
          <a:p>
            <a:r>
              <a:rPr lang="en-US"/>
              <a:t>Click to edit Master title style</a:t>
            </a:r>
            <a:endParaRPr lang="en-GB" dirty="0"/>
          </a:p>
        </p:txBody>
      </p:sp>
      <p:sp>
        <p:nvSpPr>
          <p:cNvPr id="16" name="Text Placeholder 3">
            <a:extLst>
              <a:ext uri="{FF2B5EF4-FFF2-40B4-BE49-F238E27FC236}">
                <a16:creationId xmlns:a16="http://schemas.microsoft.com/office/drawing/2014/main" id="{43E568BE-ED6A-426F-B0BF-A1453B694ED5}"/>
              </a:ext>
            </a:extLst>
          </p:cNvPr>
          <p:cNvSpPr>
            <a:spLocks noGrp="1"/>
          </p:cNvSpPr>
          <p:nvPr>
            <p:ph type="body" sz="quarter" idx="16"/>
          </p:nvPr>
        </p:nvSpPr>
        <p:spPr>
          <a:xfrm>
            <a:off x="432000"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3">
            <a:extLst>
              <a:ext uri="{FF2B5EF4-FFF2-40B4-BE49-F238E27FC236}">
                <a16:creationId xmlns:a16="http://schemas.microsoft.com/office/drawing/2014/main" id="{5DFB1F70-48E1-4D12-8CA0-02A9C5416B1F}"/>
              </a:ext>
            </a:extLst>
          </p:cNvPr>
          <p:cNvSpPr>
            <a:spLocks noGrp="1"/>
          </p:cNvSpPr>
          <p:nvPr>
            <p:ph type="body" sz="quarter" idx="17"/>
          </p:nvPr>
        </p:nvSpPr>
        <p:spPr>
          <a:xfrm>
            <a:off x="6337516" y="1416667"/>
            <a:ext cx="5424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8" name="Guidance note">
            <a:extLst>
              <a:ext uri="{FF2B5EF4-FFF2-40B4-BE49-F238E27FC236}">
                <a16:creationId xmlns:a16="http://schemas.microsoft.com/office/drawing/2014/main" id="{053114DC-01DB-4172-B8B9-F6B6A6FCE692}"/>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8DE85B72-FB6B-447A-858A-8B2561669D13}"/>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D8EC3649-E284-438D-8DCD-251552F54088}"/>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C3022D24-E487-419A-9A91-5B6F67F14A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FD7CCEB6-B56D-45AB-9808-6E4B26A114FB}"/>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Tree>
    <p:extLst>
      <p:ext uri="{BB962C8B-B14F-4D97-AF65-F5344CB8AC3E}">
        <p14:creationId xmlns:p14="http://schemas.microsoft.com/office/powerpoint/2010/main" val="147876041"/>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column + image">
    <p:spTree>
      <p:nvGrpSpPr>
        <p:cNvPr id="1" name=""/>
        <p:cNvGrpSpPr/>
        <p:nvPr/>
      </p:nvGrpSpPr>
      <p:grpSpPr>
        <a:xfrm>
          <a:off x="0" y="0"/>
          <a:ext cx="0" cy="0"/>
          <a:chOff x="0" y="0"/>
          <a:chExt cx="0" cy="0"/>
        </a:xfrm>
      </p:grpSpPr>
      <p:sp>
        <p:nvSpPr>
          <p:cNvPr id="14" name="Picture Placeholder 2">
            <a:extLst>
              <a:ext uri="{FF2B5EF4-FFF2-40B4-BE49-F238E27FC236}">
                <a16:creationId xmlns:a16="http://schemas.microsoft.com/office/drawing/2014/main" id="{C3F9F85F-25C9-4329-94BD-2B24DD70B7D8}"/>
              </a:ext>
            </a:extLst>
          </p:cNvPr>
          <p:cNvSpPr>
            <a:spLocks noGrp="1"/>
          </p:cNvSpPr>
          <p:nvPr>
            <p:ph type="pic" sz="quarter" idx="22" hasCustomPrompt="1"/>
          </p:nvPr>
        </p:nvSpPr>
        <p:spPr>
          <a:xfrm>
            <a:off x="432000"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5" name="Picture Placeholder 2">
            <a:extLst>
              <a:ext uri="{FF2B5EF4-FFF2-40B4-BE49-F238E27FC236}">
                <a16:creationId xmlns:a16="http://schemas.microsoft.com/office/drawing/2014/main" id="{3D75CC03-96EB-4F3B-B0BB-D44347AA9A96}"/>
              </a:ext>
            </a:extLst>
          </p:cNvPr>
          <p:cNvSpPr>
            <a:spLocks noGrp="1"/>
          </p:cNvSpPr>
          <p:nvPr>
            <p:ph type="pic" sz="quarter" idx="23" hasCustomPrompt="1"/>
          </p:nvPr>
        </p:nvSpPr>
        <p:spPr>
          <a:xfrm>
            <a:off x="42068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16" name="Picture Placeholder 2">
            <a:extLst>
              <a:ext uri="{FF2B5EF4-FFF2-40B4-BE49-F238E27FC236}">
                <a16:creationId xmlns:a16="http://schemas.microsoft.com/office/drawing/2014/main" id="{D515E9C8-29C7-4E99-B52B-311CBD5099A9}"/>
              </a:ext>
            </a:extLst>
          </p:cNvPr>
          <p:cNvSpPr>
            <a:spLocks noGrp="1"/>
          </p:cNvSpPr>
          <p:nvPr>
            <p:ph type="pic" sz="quarter" idx="24" hasCustomPrompt="1"/>
          </p:nvPr>
        </p:nvSpPr>
        <p:spPr>
          <a:xfrm>
            <a:off x="7981799" y="3794592"/>
            <a:ext cx="3777600" cy="2227411"/>
          </a:xfrm>
          <a:solidFill>
            <a:schemeClr val="bg1">
              <a:lumMod val="95000"/>
            </a:schemeClr>
          </a:solidFill>
        </p:spPr>
        <p:txBody>
          <a:bodyPr anchor="ctr">
            <a:noAutofit/>
          </a:bodyPr>
          <a:lstStyle>
            <a:lvl1pPr algn="ctr">
              <a:defRPr/>
            </a:lvl1pPr>
          </a:lstStyle>
          <a:p>
            <a:r>
              <a:rPr lang="en-GB" dirty="0"/>
              <a:t>INSERT PICTURE</a:t>
            </a:r>
          </a:p>
        </p:txBody>
      </p:sp>
      <p:sp>
        <p:nvSpPr>
          <p:cNvPr id="20" name="Text Placeholder 3">
            <a:extLst>
              <a:ext uri="{FF2B5EF4-FFF2-40B4-BE49-F238E27FC236}">
                <a16:creationId xmlns:a16="http://schemas.microsoft.com/office/drawing/2014/main" id="{4656B92A-8C51-4E0D-9A97-008FAAAA53E0}"/>
              </a:ext>
            </a:extLst>
          </p:cNvPr>
          <p:cNvSpPr>
            <a:spLocks noGrp="1"/>
          </p:cNvSpPr>
          <p:nvPr>
            <p:ph type="body" sz="quarter" idx="16"/>
          </p:nvPr>
        </p:nvSpPr>
        <p:spPr>
          <a:xfrm>
            <a:off x="432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3">
            <a:extLst>
              <a:ext uri="{FF2B5EF4-FFF2-40B4-BE49-F238E27FC236}">
                <a16:creationId xmlns:a16="http://schemas.microsoft.com/office/drawing/2014/main" id="{EA95D6EE-CA00-40A4-BFBB-A0BB7573F2B3}"/>
              </a:ext>
            </a:extLst>
          </p:cNvPr>
          <p:cNvSpPr>
            <a:spLocks noGrp="1"/>
          </p:cNvSpPr>
          <p:nvPr>
            <p:ph type="body" sz="quarter" idx="18"/>
          </p:nvPr>
        </p:nvSpPr>
        <p:spPr>
          <a:xfrm>
            <a:off x="4368000" y="1416667"/>
            <a:ext cx="3456000" cy="2092880"/>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4">
            <a:extLst>
              <a:ext uri="{FF2B5EF4-FFF2-40B4-BE49-F238E27FC236}">
                <a16:creationId xmlns:a16="http://schemas.microsoft.com/office/drawing/2014/main" id="{F93AEB12-C997-4994-99B9-11940CF7DB83}"/>
              </a:ext>
            </a:extLst>
          </p:cNvPr>
          <p:cNvSpPr>
            <a:spLocks noGrp="1"/>
          </p:cNvSpPr>
          <p:nvPr>
            <p:ph type="body" sz="quarter" idx="17"/>
          </p:nvPr>
        </p:nvSpPr>
        <p:spPr>
          <a:xfrm>
            <a:off x="8304000" y="1416667"/>
            <a:ext cx="3456000" cy="2092880"/>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28" name="Guidance note">
            <a:extLst>
              <a:ext uri="{FF2B5EF4-FFF2-40B4-BE49-F238E27FC236}">
                <a16:creationId xmlns:a16="http://schemas.microsoft.com/office/drawing/2014/main" id="{8F8469DA-FA58-409C-8234-09A9506501FE}"/>
              </a:ext>
            </a:extLst>
          </p:cNvPr>
          <p:cNvGrpSpPr/>
          <p:nvPr userDrawn="1"/>
        </p:nvGrpSpPr>
        <p:grpSpPr>
          <a:xfrm>
            <a:off x="12514259" y="-2970"/>
            <a:ext cx="2576459" cy="3511851"/>
            <a:chOff x="10925224" y="286"/>
            <a:chExt cx="2952328" cy="4024464"/>
          </a:xfrm>
        </p:grpSpPr>
        <p:sp>
          <p:nvSpPr>
            <p:cNvPr id="29" name="Guidance note">
              <a:extLst>
                <a:ext uri="{FF2B5EF4-FFF2-40B4-BE49-F238E27FC236}">
                  <a16:creationId xmlns:a16="http://schemas.microsoft.com/office/drawing/2014/main" id="{6E771D66-7805-4DEB-BB9F-EF1E415C56EB}"/>
                </a:ext>
              </a:extLst>
            </p:cNvPr>
            <p:cNvSpPr/>
            <p:nvPr/>
          </p:nvSpPr>
          <p:spPr>
            <a:xfrm>
              <a:off x="10925224" y="286"/>
              <a:ext cx="2952328" cy="4024464"/>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963" lvl="2">
                <a:spcAft>
                  <a:spcPts val="181"/>
                </a:spcAft>
              </a:pPr>
              <a:r>
                <a:rPr lang="en-GB" sz="853" b="1" dirty="0">
                  <a:solidFill>
                    <a:schemeClr val="bg1">
                      <a:lumMod val="50000"/>
                    </a:schemeClr>
                  </a:solidFill>
                  <a:latin typeface="+mj-lt"/>
                </a:rPr>
                <a:t>Reapplying the Slide Layout</a:t>
              </a:r>
            </a:p>
            <a:p>
              <a:pPr marL="963" lvl="2">
                <a:spcAft>
                  <a:spcPts val="181"/>
                </a:spcAft>
              </a:pPr>
              <a:r>
                <a:rPr lang="en-GB" sz="853" dirty="0">
                  <a:solidFill>
                    <a:schemeClr val="bg1">
                      <a:lumMod val="50000"/>
                    </a:schemeClr>
                  </a:solidFill>
                </a:rPr>
                <a:t>Putting text into a placeholder not only ensures the text sits in the correct place and is formatted correctly, it also helps to update the page quickly and efficiently. </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Right click on any part of slide</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Click on ‘Layout’</a:t>
              </a:r>
            </a:p>
            <a:p>
              <a:pPr marL="110704" lvl="3" indent="-110704">
                <a:spcAft>
                  <a:spcPts val="181"/>
                </a:spcAft>
                <a:buClr>
                  <a:schemeClr val="tx1"/>
                </a:buClr>
                <a:buFont typeface="Wingdings" panose="05000000000000000000" pitchFamily="2" charset="2"/>
                <a:buChar char="§"/>
              </a:pPr>
              <a:r>
                <a:rPr lang="en-GB" sz="853" dirty="0">
                  <a:solidFill>
                    <a:schemeClr val="bg1">
                      <a:lumMod val="50000"/>
                    </a:schemeClr>
                  </a:solidFill>
                </a:rPr>
                <a:t>Select the layout you require</a:t>
              </a:r>
            </a:p>
            <a:p>
              <a:pPr marL="963" lvl="2">
                <a:spcAft>
                  <a:spcPts val="181"/>
                </a:spcAft>
              </a:pPr>
              <a:r>
                <a:rPr lang="en-GB" sz="853" b="1" dirty="0">
                  <a:solidFill>
                    <a:schemeClr val="bg1">
                      <a:lumMod val="50000"/>
                    </a:schemeClr>
                  </a:solidFill>
                  <a:latin typeface="+mj-lt"/>
                </a:rPr>
                <a:t>Text bullet formatting</a:t>
              </a:r>
            </a:p>
            <a:p>
              <a:pPr marL="963" lvl="2">
                <a:spcAft>
                  <a:spcPts val="181"/>
                </a:spcAft>
              </a:pPr>
              <a:r>
                <a:rPr lang="en-GB" sz="853" dirty="0">
                  <a:solidFill>
                    <a:schemeClr val="bg1">
                      <a:lumMod val="50000"/>
                    </a:schemeClr>
                  </a:solidFill>
                </a:rPr>
                <a:t>To use text/bullet formatting levels correctly, use the Increase List Level and Decrease List Level buttons from the Paragraph group on the Home tab.</a:t>
              </a: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endParaRPr lang="en-GB" sz="853" dirty="0">
                <a:solidFill>
                  <a:schemeClr val="bg1">
                    <a:lumMod val="50000"/>
                  </a:schemeClr>
                </a:solidFill>
              </a:endParaRPr>
            </a:p>
            <a:p>
              <a:pPr marL="963" lvl="2">
                <a:spcAft>
                  <a:spcPts val="181"/>
                </a:spcAft>
              </a:pPr>
              <a:r>
                <a:rPr lang="en-GB" sz="853" dirty="0">
                  <a:solidFill>
                    <a:schemeClr val="bg1">
                      <a:lumMod val="50000"/>
                    </a:schemeClr>
                  </a:solidFill>
                </a:rPr>
                <a:t>Alternatively you can use the keyboard shortcuts:</a:t>
              </a:r>
              <a:br>
                <a:rPr lang="en-GB" sz="853" dirty="0">
                  <a:solidFill>
                    <a:schemeClr val="bg1">
                      <a:lumMod val="50000"/>
                    </a:schemeClr>
                  </a:solidFill>
                </a:rPr>
              </a:br>
              <a:r>
                <a:rPr lang="en-GB" sz="853" dirty="0">
                  <a:solidFill>
                    <a:schemeClr val="bg1">
                      <a:lumMod val="50000"/>
                    </a:schemeClr>
                  </a:solidFill>
                </a:rPr>
                <a:t>Shift+Alt+Right arrow key = increase level</a:t>
              </a:r>
              <a:br>
                <a:rPr lang="en-GB" sz="853" dirty="0">
                  <a:solidFill>
                    <a:schemeClr val="bg1">
                      <a:lumMod val="50000"/>
                    </a:schemeClr>
                  </a:solidFill>
                </a:rPr>
              </a:br>
              <a:r>
                <a:rPr lang="en-GB" sz="853" dirty="0">
                  <a:solidFill>
                    <a:schemeClr val="bg1">
                      <a:lumMod val="50000"/>
                    </a:schemeClr>
                  </a:solidFill>
                </a:rPr>
                <a:t>Shift+Alt+Left arrow key = decrease level</a:t>
              </a:r>
            </a:p>
            <a:p>
              <a:pPr marL="963" lvl="2">
                <a:spcAft>
                  <a:spcPts val="181"/>
                </a:spcAft>
              </a:pPr>
              <a:r>
                <a:rPr lang="en-GB" sz="853" b="1" dirty="0">
                  <a:solidFill>
                    <a:schemeClr val="bg1">
                      <a:lumMod val="50000"/>
                    </a:schemeClr>
                  </a:solidFill>
                  <a:latin typeface="+mj-lt"/>
                </a:rPr>
                <a:t>Guides</a:t>
              </a:r>
            </a:p>
            <a:p>
              <a:pPr marL="963" lvl="2">
                <a:spcAft>
                  <a:spcPts val="181"/>
                </a:spcAft>
              </a:pPr>
              <a:r>
                <a:rPr lang="en-GB" sz="853" dirty="0">
                  <a:solidFill>
                    <a:schemeClr val="bg1">
                      <a:lumMod val="50000"/>
                    </a:schemeClr>
                  </a:solidFill>
                </a:rPr>
                <a:t>To ensure all other elements aside from placeholders are positioned correctly, switch your drawing guides on (Alt+F9), this will help align all information such as text boxes, charts etc. </a:t>
              </a:r>
            </a:p>
            <a:p>
              <a:pPr marL="110704" lvl="3" indent="-110704">
                <a:spcAft>
                  <a:spcPts val="181"/>
                </a:spcAft>
                <a:buClr>
                  <a:schemeClr val="tx1"/>
                </a:buClr>
                <a:buFont typeface="Wingdings" panose="05000000000000000000" pitchFamily="2" charset="2"/>
                <a:buChar char="§"/>
              </a:pPr>
              <a:endParaRPr lang="en-GB" sz="853" dirty="0">
                <a:solidFill>
                  <a:schemeClr val="bg1">
                    <a:lumMod val="50000"/>
                  </a:schemeClr>
                </a:solidFill>
              </a:endParaRPr>
            </a:p>
          </p:txBody>
        </p:sp>
        <p:grpSp>
          <p:nvGrpSpPr>
            <p:cNvPr id="30" name="Group 29">
              <a:extLst>
                <a:ext uri="{FF2B5EF4-FFF2-40B4-BE49-F238E27FC236}">
                  <a16:creationId xmlns:a16="http://schemas.microsoft.com/office/drawing/2014/main" id="{7B72BB3D-7A3C-4684-BA16-7BC42D52C71E}"/>
                </a:ext>
              </a:extLst>
            </p:cNvPr>
            <p:cNvGrpSpPr/>
            <p:nvPr/>
          </p:nvGrpSpPr>
          <p:grpSpPr bwMode="gray">
            <a:xfrm>
              <a:off x="10986272" y="2041451"/>
              <a:ext cx="1586725" cy="550496"/>
              <a:chOff x="4736026" y="-2879841"/>
              <a:chExt cx="1698109" cy="589139"/>
            </a:xfrm>
            <a:solidFill>
              <a:schemeClr val="accent3">
                <a:lumMod val="20000"/>
                <a:lumOff val="80000"/>
              </a:schemeClr>
            </a:solidFill>
          </p:grpSpPr>
          <p:pic>
            <p:nvPicPr>
              <p:cNvPr id="31" name="Picture 3">
                <a:extLst>
                  <a:ext uri="{FF2B5EF4-FFF2-40B4-BE49-F238E27FC236}">
                    <a16:creationId xmlns:a16="http://schemas.microsoft.com/office/drawing/2014/main" id="{54391195-43CF-4392-A400-03DECFD129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736026" y="-287984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32" name="Rounded Rectangle 20">
                <a:extLst>
                  <a:ext uri="{FF2B5EF4-FFF2-40B4-BE49-F238E27FC236}">
                    <a16:creationId xmlns:a16="http://schemas.microsoft.com/office/drawing/2014/main" id="{36A616C4-BC31-4393-8C8F-08A21867FCEE}"/>
                  </a:ext>
                </a:extLst>
              </p:cNvPr>
              <p:cNvSpPr/>
              <p:nvPr/>
            </p:nvSpPr>
            <p:spPr bwMode="gray">
              <a:xfrm>
                <a:off x="5292025" y="-2820484"/>
                <a:ext cx="346227" cy="166715"/>
              </a:xfrm>
              <a:prstGeom prst="roundRect">
                <a:avLst>
                  <a:gd name="adj" fmla="val 20963"/>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spcAft>
                    <a:spcPts val="364"/>
                  </a:spcAft>
                </a:pPr>
                <a:endParaRPr lang="en-GB" sz="849" dirty="0"/>
              </a:p>
            </p:txBody>
          </p:sp>
        </p:grpSp>
      </p:grpSp>
      <p:sp>
        <p:nvSpPr>
          <p:cNvPr id="3" name="Title 2">
            <a:extLst>
              <a:ext uri="{FF2B5EF4-FFF2-40B4-BE49-F238E27FC236}">
                <a16:creationId xmlns:a16="http://schemas.microsoft.com/office/drawing/2014/main" id="{1EED9939-C8C6-4136-91EB-74F055235F9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0545299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462847" y="1414222"/>
            <a:ext cx="11266309" cy="20926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6E983326-A70F-4957-A3ED-4F2F5C0FDFC2}" type="datetime1">
              <a:rPr lang="en-US"/>
              <a:pPr>
                <a:defRPr/>
              </a:pPr>
              <a:t>10/29/2020</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5D2633F-9E37-4580-B197-799DECA1053C}" type="slidenum">
              <a:rPr lang="en-US" altLang="en-US"/>
              <a:pPr>
                <a:defRPr/>
              </a:pPr>
              <a:t>‹#›</a:t>
            </a:fld>
            <a:endParaRPr lang="en-US" altLang="en-US" dirty="0"/>
          </a:p>
        </p:txBody>
      </p:sp>
    </p:spTree>
    <p:extLst>
      <p:ext uri="{BB962C8B-B14F-4D97-AF65-F5344CB8AC3E}">
        <p14:creationId xmlns:p14="http://schemas.microsoft.com/office/powerpoint/2010/main" val="29317687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609A1C17-C62E-814B-98D4-9359B30674D1}"/>
              </a:ext>
            </a:extLst>
          </p:cNvPr>
          <p:cNvSpPr>
            <a:spLocks noGrp="1"/>
          </p:cNvSpPr>
          <p:nvPr>
            <p:ph type="body" sz="quarter" idx="10"/>
          </p:nvPr>
        </p:nvSpPr>
        <p:spPr>
          <a:xfrm>
            <a:off x="973797" y="2034234"/>
            <a:ext cx="3645338" cy="1655763"/>
          </a:xfrm>
          <a:prstGeom prst="rect">
            <a:avLst/>
          </a:prstGeom>
        </p:spPr>
        <p:txBody>
          <a:bodyPr/>
          <a:lstStyle>
            <a:lvl1pPr marL="0" indent="0">
              <a:buNone/>
              <a:defRPr sz="3600" b="0" i="0">
                <a:solidFill>
                  <a:schemeClr val="bg1"/>
                </a:solidFill>
                <a:latin typeface="Helvetica Neue LT Std 65 Medium" panose="020B0604020202020204" pitchFamily="34" charset="0"/>
              </a:defRPr>
            </a:lvl1pPr>
            <a:lvl2pPr marL="457189" indent="0">
              <a:buNone/>
              <a:defRPr/>
            </a:lvl2pPr>
          </a:lstStyle>
          <a:p>
            <a:pPr lvl="0"/>
            <a:r>
              <a:rPr lang="en-GB" dirty="0"/>
              <a:t>Click to edit Master text styles</a:t>
            </a:r>
          </a:p>
        </p:txBody>
      </p:sp>
    </p:spTree>
    <p:extLst>
      <p:ext uri="{BB962C8B-B14F-4D97-AF65-F5344CB8AC3E}">
        <p14:creationId xmlns:p14="http://schemas.microsoft.com/office/powerpoint/2010/main" val="36266158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11FBAF8-F67E-8C4F-93C7-5212A8CCAF34}"/>
              </a:ext>
            </a:extLst>
          </p:cNvPr>
          <p:cNvSpPr/>
          <p:nvPr/>
        </p:nvSpPr>
        <p:spPr>
          <a:xfrm>
            <a:off x="1593130" y="1777993"/>
            <a:ext cx="7286919" cy="3331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EAF27D59-4236-2040-B62F-72DA9623B435}"/>
              </a:ext>
            </a:extLst>
          </p:cNvPr>
          <p:cNvSpPr txBox="1">
            <a:spLocks/>
          </p:cNvSpPr>
          <p:nvPr/>
        </p:nvSpPr>
        <p:spPr>
          <a:xfrm>
            <a:off x="1593130" y="3116599"/>
            <a:ext cx="7286919" cy="1992729"/>
          </a:xfrm>
          <a:prstGeom prst="rect">
            <a:avLst/>
          </a:prstGeom>
        </p:spPr>
        <p:txBody>
          <a:bodyPr anchor="t"/>
          <a:lstStyle>
            <a:lvl1pPr algn="l" defTabSz="914377" rtl="0" eaLnBrk="1" latinLnBrk="0" hangingPunct="1">
              <a:lnSpc>
                <a:spcPct val="90000"/>
              </a:lnSpc>
              <a:spcBef>
                <a:spcPct val="0"/>
              </a:spcBef>
              <a:buNone/>
              <a:defRPr sz="4800" b="0" i="0" kern="1200">
                <a:solidFill>
                  <a:srgbClr val="E8BC28"/>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endParaRPr lang="en-US" sz="3600" dirty="0"/>
          </a:p>
        </p:txBody>
      </p:sp>
      <p:sp>
        <p:nvSpPr>
          <p:cNvPr id="16" name="Text Placeholder 15">
            <a:extLst>
              <a:ext uri="{FF2B5EF4-FFF2-40B4-BE49-F238E27FC236}">
                <a16:creationId xmlns:a16="http://schemas.microsoft.com/office/drawing/2014/main" id="{247F625A-C423-F940-95B5-018982D204D5}"/>
              </a:ext>
            </a:extLst>
          </p:cNvPr>
          <p:cNvSpPr>
            <a:spLocks noGrp="1"/>
          </p:cNvSpPr>
          <p:nvPr>
            <p:ph type="body" sz="quarter" idx="10"/>
          </p:nvPr>
        </p:nvSpPr>
        <p:spPr>
          <a:xfrm>
            <a:off x="1697037" y="3289300"/>
            <a:ext cx="7079317" cy="1677988"/>
          </a:xfrm>
          <a:prstGeom prst="rect">
            <a:avLst/>
          </a:prstGeom>
        </p:spPr>
        <p:txBody>
          <a:bodyPr/>
          <a:lstStyle>
            <a:lvl1pPr marL="0" indent="0">
              <a:buNone/>
              <a:defRPr sz="1600" b="0" i="0">
                <a:solidFill>
                  <a:srgbClr val="FFBF22"/>
                </a:solidFill>
                <a:latin typeface="Helvetica Neue LT Std 45 Light" panose="020B0403020202020204" pitchFamily="34" charset="0"/>
              </a:defRPr>
            </a:lvl1pPr>
            <a:lvl2pPr marL="457189" indent="0">
              <a:buNone/>
              <a:defRPr sz="1800" b="0" i="0">
                <a:solidFill>
                  <a:srgbClr val="E8BC28"/>
                </a:solidFill>
                <a:latin typeface="Helvetica Neue LT Std 45 Light" panose="020B0403020202020204" pitchFamily="34" charset="0"/>
              </a:defRPr>
            </a:lvl2pPr>
            <a:lvl3pPr marL="914377" indent="0">
              <a:buNone/>
              <a:defRPr sz="1600" b="0" i="0">
                <a:solidFill>
                  <a:srgbClr val="E8BC28"/>
                </a:solidFill>
                <a:latin typeface="Helvetica Neue LT Std 45 Light" panose="020B0403020202020204" pitchFamily="34" charset="0"/>
              </a:defRPr>
            </a:lvl3pPr>
            <a:lvl4pPr marL="1371566" indent="0">
              <a:buNone/>
              <a:defRPr sz="1400" b="0" i="0">
                <a:solidFill>
                  <a:srgbClr val="E8BC28"/>
                </a:solidFill>
                <a:latin typeface="Helvetica Neue LT Std 45 Light" panose="020B0403020202020204" pitchFamily="34" charset="0"/>
              </a:defRPr>
            </a:lvl4pPr>
            <a:lvl5pPr marL="1828755" indent="0">
              <a:buNone/>
              <a:defRPr sz="1400" b="0" i="0">
                <a:solidFill>
                  <a:srgbClr val="E8BC28"/>
                </a:solidFill>
                <a:latin typeface="Helvetica Neue LT Std 45 Light" panose="020B0403020202020204" pitchFamily="34" charset="0"/>
              </a:defRPr>
            </a:lvl5pPr>
          </a:lstStyle>
          <a:p>
            <a:pPr lvl="0"/>
            <a:r>
              <a:rPr lang="en-GB" dirty="0"/>
              <a:t>Click to edit Master text styles</a:t>
            </a:r>
          </a:p>
        </p:txBody>
      </p:sp>
      <p:sp>
        <p:nvSpPr>
          <p:cNvPr id="19" name="Text Placeholder 18">
            <a:extLst>
              <a:ext uri="{FF2B5EF4-FFF2-40B4-BE49-F238E27FC236}">
                <a16:creationId xmlns:a16="http://schemas.microsoft.com/office/drawing/2014/main" id="{1DCE5CB2-23E7-944B-A874-B6ADE8A53EF1}"/>
              </a:ext>
            </a:extLst>
          </p:cNvPr>
          <p:cNvSpPr>
            <a:spLocks noGrp="1"/>
          </p:cNvSpPr>
          <p:nvPr>
            <p:ph type="body" sz="quarter" idx="11"/>
          </p:nvPr>
        </p:nvSpPr>
        <p:spPr>
          <a:xfrm>
            <a:off x="1697037" y="1885223"/>
            <a:ext cx="7079318" cy="1227137"/>
          </a:xfrm>
          <a:prstGeom prst="rect">
            <a:avLst/>
          </a:prstGeom>
        </p:spPr>
        <p:txBody>
          <a:bodyPr/>
          <a:lstStyle>
            <a:lvl1pPr marL="0" indent="0">
              <a:buNone/>
              <a:defRPr sz="4800" b="0" i="0">
                <a:solidFill>
                  <a:srgbClr val="FFBF22"/>
                </a:solidFill>
                <a:latin typeface="Helvetica Neue LT Std 65 Medium" panose="020B0604020202020204" pitchFamily="34" charset="0"/>
              </a:defRPr>
            </a:lvl1pPr>
          </a:lstStyle>
          <a:p>
            <a:pPr lvl="0"/>
            <a:r>
              <a:rPr lang="en-GB" dirty="0"/>
              <a:t>Click to edit Master text styles</a:t>
            </a:r>
          </a:p>
        </p:txBody>
      </p:sp>
      <p:grpSp>
        <p:nvGrpSpPr>
          <p:cNvPr id="2" name="Group 1">
            <a:extLst>
              <a:ext uri="{FF2B5EF4-FFF2-40B4-BE49-F238E27FC236}">
                <a16:creationId xmlns:a16="http://schemas.microsoft.com/office/drawing/2014/main" id="{131008A5-1E2A-D74A-A5EA-31B620D704E1}"/>
              </a:ext>
            </a:extLst>
          </p:cNvPr>
          <p:cNvGrpSpPr/>
          <p:nvPr userDrawn="1"/>
        </p:nvGrpSpPr>
        <p:grpSpPr>
          <a:xfrm>
            <a:off x="0" y="0"/>
            <a:ext cx="12192000" cy="6858000"/>
            <a:chOff x="0" y="0"/>
            <a:chExt cx="12192000" cy="6858000"/>
          </a:xfrm>
        </p:grpSpPr>
        <p:pic>
          <p:nvPicPr>
            <p:cNvPr id="7" name="Picture 6" descr="A close up of a cable&#10;&#10;Description automatically generated">
              <a:extLst>
                <a:ext uri="{FF2B5EF4-FFF2-40B4-BE49-F238E27FC236}">
                  <a16:creationId xmlns:a16="http://schemas.microsoft.com/office/drawing/2014/main" id="{5404E37C-C7FD-044A-9344-97CB07453AF2}"/>
                </a:ext>
              </a:extLst>
            </p:cNvPr>
            <p:cNvPicPr>
              <a:picLocks noChangeAspect="1"/>
            </p:cNvPicPr>
            <p:nvPr/>
          </p:nvPicPr>
          <p:blipFill>
            <a:blip r:embed="rId2">
              <a:extLst>
                <a:ext uri="{BEBA8EAE-BF5A-486C-A8C5-ECC9F3942E4B}">
                  <a14:imgProps xmlns:a14="http://schemas.microsoft.com/office/drawing/2010/main">
                    <a14:imgLayer r:embed="rId3">
                      <a14:imgEffect>
                        <a14:saturation sat="400000"/>
                      </a14:imgEffect>
                      <a14:imgEffect>
                        <a14:brightnessContrast contrast="20000"/>
                      </a14:imgEffect>
                    </a14:imgLayer>
                  </a14:imgProps>
                </a:ext>
              </a:extLst>
            </a:blip>
            <a:stretch>
              <a:fillRect/>
            </a:stretch>
          </p:blipFill>
          <p:spPr>
            <a:xfrm>
              <a:off x="0" y="0"/>
              <a:ext cx="12192000" cy="6858000"/>
            </a:xfrm>
            <a:prstGeom prst="rect">
              <a:avLst/>
            </a:prstGeom>
          </p:spPr>
        </p:pic>
        <p:pic>
          <p:nvPicPr>
            <p:cNvPr id="8" name="Picture 7">
              <a:extLst>
                <a:ext uri="{FF2B5EF4-FFF2-40B4-BE49-F238E27FC236}">
                  <a16:creationId xmlns:a16="http://schemas.microsoft.com/office/drawing/2014/main" id="{FDCDE178-F199-F04B-AF12-FB14043FCC5F}"/>
                </a:ext>
              </a:extLst>
            </p:cNvPr>
            <p:cNvPicPr>
              <a:picLocks noChangeAspect="1"/>
            </p:cNvPicPr>
            <p:nvPr userDrawn="1"/>
          </p:nvPicPr>
          <p:blipFill>
            <a:blip r:embed="rId4"/>
            <a:stretch>
              <a:fillRect/>
            </a:stretch>
          </p:blipFill>
          <p:spPr>
            <a:xfrm>
              <a:off x="0" y="5816600"/>
              <a:ext cx="12192000" cy="1041400"/>
            </a:xfrm>
            <a:prstGeom prst="rect">
              <a:avLst/>
            </a:prstGeom>
          </p:spPr>
        </p:pic>
      </p:grpSp>
    </p:spTree>
    <p:extLst>
      <p:ext uri="{BB962C8B-B14F-4D97-AF65-F5344CB8AC3E}">
        <p14:creationId xmlns:p14="http://schemas.microsoft.com/office/powerpoint/2010/main" val="6740557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icture_BG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5F127328-5914-8746-9676-46AEF2593FFE}"/>
              </a:ext>
            </a:extLst>
          </p:cNvPr>
          <p:cNvSpPr>
            <a:spLocks noGrp="1"/>
          </p:cNvSpPr>
          <p:nvPr>
            <p:ph type="pic" sz="quarter" idx="10"/>
          </p:nvPr>
        </p:nvSpPr>
        <p:spPr>
          <a:xfrm>
            <a:off x="0" y="0"/>
            <a:ext cx="12192000" cy="6858000"/>
          </a:xfrm>
          <a:prstGeom prst="rect">
            <a:avLst/>
          </a:prstGeom>
        </p:spPr>
        <p:txBody>
          <a:bodyPr/>
          <a:lstStyle/>
          <a:p>
            <a:endParaRPr lang="en-US" dirty="0"/>
          </a:p>
        </p:txBody>
      </p:sp>
      <p:sp>
        <p:nvSpPr>
          <p:cNvPr id="5" name="Title 1">
            <a:extLst>
              <a:ext uri="{FF2B5EF4-FFF2-40B4-BE49-F238E27FC236}">
                <a16:creationId xmlns:a16="http://schemas.microsoft.com/office/drawing/2014/main" id="{D545E6C8-F8C7-574A-9C5C-305FA222624F}"/>
              </a:ext>
            </a:extLst>
          </p:cNvPr>
          <p:cNvSpPr>
            <a:spLocks noGrp="1"/>
          </p:cNvSpPr>
          <p:nvPr>
            <p:ph type="title"/>
          </p:nvPr>
        </p:nvSpPr>
        <p:spPr>
          <a:xfrm>
            <a:off x="527568" y="2688964"/>
            <a:ext cx="4856568" cy="1480071"/>
          </a:xfrm>
          <a:prstGeom prst="rect">
            <a:avLst/>
          </a:prstGeom>
        </p:spPr>
        <p:txBody>
          <a:bodyPr anchor="b"/>
          <a:lstStyle>
            <a:lvl1pPr>
              <a:defRPr sz="4800" b="0" i="0">
                <a:solidFill>
                  <a:schemeClr val="bg1"/>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pic>
        <p:nvPicPr>
          <p:cNvPr id="6" name="Picture 5">
            <a:extLst>
              <a:ext uri="{FF2B5EF4-FFF2-40B4-BE49-F238E27FC236}">
                <a16:creationId xmlns:a16="http://schemas.microsoft.com/office/drawing/2014/main" id="{6DB78912-ED94-0848-975B-CD0C55ECCFF5}"/>
              </a:ext>
            </a:extLst>
          </p:cNvPr>
          <p:cNvPicPr>
            <a:picLocks noChangeAspect="1"/>
          </p:cNvPicPr>
          <p:nvPr/>
        </p:nvPicPr>
        <p:blipFill>
          <a:blip r:embed="rId2"/>
          <a:stretch>
            <a:fillRect/>
          </a:stretch>
        </p:blipFill>
        <p:spPr>
          <a:xfrm>
            <a:off x="0" y="5816600"/>
            <a:ext cx="12192000" cy="1041400"/>
          </a:xfrm>
          <a:prstGeom prst="rect">
            <a:avLst/>
          </a:prstGeom>
        </p:spPr>
      </p:pic>
    </p:spTree>
    <p:extLst>
      <p:ext uri="{BB962C8B-B14F-4D97-AF65-F5344CB8AC3E}">
        <p14:creationId xmlns:p14="http://schemas.microsoft.com/office/powerpoint/2010/main" val="4841998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ntent + Spac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C521267E-3022-A74A-971C-6C1E2121DF83}"/>
              </a:ext>
            </a:extLst>
          </p:cNvPr>
          <p:cNvPicPr>
            <a:picLocks noChangeAspect="1"/>
          </p:cNvPicPr>
          <p:nvPr/>
        </p:nvPicPr>
        <p:blipFill>
          <a:blip r:embed="rId2"/>
          <a:stretch>
            <a:fillRect/>
          </a:stretch>
        </p:blipFill>
        <p:spPr>
          <a:xfrm>
            <a:off x="0" y="0"/>
            <a:ext cx="12192000" cy="6858000"/>
          </a:xfrm>
          <a:prstGeom prst="rect">
            <a:avLst/>
          </a:prstGeom>
        </p:spPr>
      </p:pic>
      <p:sp>
        <p:nvSpPr>
          <p:cNvPr id="10" name="Title 1">
            <a:extLst>
              <a:ext uri="{FF2B5EF4-FFF2-40B4-BE49-F238E27FC236}">
                <a16:creationId xmlns:a16="http://schemas.microsoft.com/office/drawing/2014/main" id="{8E21D48B-0AA6-6545-8696-0290965D519C}"/>
              </a:ext>
            </a:extLst>
          </p:cNvPr>
          <p:cNvSpPr>
            <a:spLocks noGrp="1"/>
          </p:cNvSpPr>
          <p:nvPr>
            <p:ph type="title"/>
          </p:nvPr>
        </p:nvSpPr>
        <p:spPr>
          <a:xfrm>
            <a:off x="517629" y="1623373"/>
            <a:ext cx="3139971" cy="2166730"/>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sp>
        <p:nvSpPr>
          <p:cNvPr id="12" name="Text Placeholder 11">
            <a:extLst>
              <a:ext uri="{FF2B5EF4-FFF2-40B4-BE49-F238E27FC236}">
                <a16:creationId xmlns:a16="http://schemas.microsoft.com/office/drawing/2014/main" id="{84AD00B6-DB3F-A94F-80AB-5497BFEDCD39}"/>
              </a:ext>
            </a:extLst>
          </p:cNvPr>
          <p:cNvSpPr>
            <a:spLocks noGrp="1"/>
          </p:cNvSpPr>
          <p:nvPr>
            <p:ph type="body" sz="quarter" idx="10" hasCustomPrompt="1"/>
          </p:nvPr>
        </p:nvSpPr>
        <p:spPr>
          <a:xfrm>
            <a:off x="3657600" y="1623373"/>
            <a:ext cx="3148908" cy="2932112"/>
          </a:xfrm>
          <a:prstGeom prst="rect">
            <a:avLst/>
          </a:prstGeom>
          <a:ln>
            <a:noFill/>
          </a:ln>
        </p:spPr>
        <p:txBody>
          <a:bodyPr/>
          <a:lstStyle>
            <a:lvl1pPr marL="0" indent="0">
              <a:buNone/>
              <a:defRPr sz="1400" b="0" i="0">
                <a:solidFill>
                  <a:schemeClr val="tx1">
                    <a:lumMod val="65000"/>
                    <a:lumOff val="35000"/>
                  </a:schemeClr>
                </a:solidFill>
                <a:latin typeface="Helvetica Neue LT Std 45 Light" panose="020B0403020202020204" pitchFamily="34" charset="0"/>
              </a:defRPr>
            </a:lvl1pPr>
            <a:lvl2pPr marL="457189" indent="0">
              <a:buFont typeface="Arial" panose="020B0604020202020204" pitchFamily="34" charset="0"/>
              <a:buNone/>
              <a:defRPr sz="1400" b="0" i="0">
                <a:ln>
                  <a:noFill/>
                </a:ln>
                <a:solidFill>
                  <a:schemeClr val="tx1">
                    <a:lumMod val="65000"/>
                    <a:lumOff val="35000"/>
                  </a:schemeClr>
                </a:solidFill>
                <a:latin typeface="Helvetica Neue LT Std 45 Light" panose="020B0403020202020204" pitchFamily="34" charset="0"/>
              </a:defRPr>
            </a:lvl2pPr>
            <a:lvl3pPr marL="914377"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3pPr>
            <a:lvl4pPr marL="1371566" indent="0">
              <a:buFont typeface="Arial" panose="020B0604020202020204" pitchFamily="34" charset="0"/>
              <a:buNone/>
              <a:defRPr sz="1400" b="0" i="0">
                <a:solidFill>
                  <a:schemeClr val="tx1">
                    <a:lumMod val="65000"/>
                    <a:lumOff val="35000"/>
                  </a:schemeClr>
                </a:solidFill>
                <a:latin typeface="Helvetica Neue LT Std 45 Light" panose="020B0403020202020204" pitchFamily="34" charset="0"/>
              </a:defRPr>
            </a:lvl4pPr>
            <a:lvl5pPr marL="1828755" indent="0">
              <a:buNone/>
              <a:defRPr b="0" i="0">
                <a:latin typeface="Helvetica Neue LT Std 35 Thin" panose="020B0403020202020204" pitchFamily="34" charset="0"/>
              </a:defRPr>
            </a:lvl5pPr>
          </a:lstStyle>
          <a:p>
            <a:pPr lvl="0"/>
            <a:r>
              <a:rPr lang="en-GB" dirty="0"/>
              <a:t>Second level</a:t>
            </a:r>
          </a:p>
          <a:p>
            <a:pPr lvl="1"/>
            <a:r>
              <a:rPr lang="en-GB" dirty="0"/>
              <a:t>Third level</a:t>
            </a:r>
          </a:p>
          <a:p>
            <a:pPr lvl="2"/>
            <a:r>
              <a:rPr lang="en-GB" dirty="0"/>
              <a:t>Fourth level</a:t>
            </a:r>
          </a:p>
          <a:p>
            <a:pPr lvl="3"/>
            <a:r>
              <a:rPr lang="en-GB" dirty="0"/>
              <a:t>Fifth level</a:t>
            </a:r>
            <a:endParaRPr lang="en-US" dirty="0"/>
          </a:p>
        </p:txBody>
      </p:sp>
      <p:pic>
        <p:nvPicPr>
          <p:cNvPr id="5" name="Picture 4">
            <a:extLst>
              <a:ext uri="{FF2B5EF4-FFF2-40B4-BE49-F238E27FC236}">
                <a16:creationId xmlns:a16="http://schemas.microsoft.com/office/drawing/2014/main" id="{D692D929-61E5-2249-9856-646EEDD981CC}"/>
              </a:ext>
            </a:extLst>
          </p:cNvPr>
          <p:cNvPicPr>
            <a:picLocks noChangeAspect="1"/>
          </p:cNvPicPr>
          <p:nvPr userDrawn="1"/>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10104001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8699B13-3C3C-E843-9056-43C49BFD6686}"/>
              </a:ext>
            </a:extLst>
          </p:cNvPr>
          <p:cNvSpPr>
            <a:spLocks noGrp="1"/>
          </p:cNvSpPr>
          <p:nvPr>
            <p:ph type="title"/>
          </p:nvPr>
        </p:nvSpPr>
        <p:spPr>
          <a:xfrm>
            <a:off x="517629" y="487300"/>
            <a:ext cx="4735091" cy="1369209"/>
          </a:xfrm>
          <a:prstGeom prst="rect">
            <a:avLst/>
          </a:prstGeom>
        </p:spPr>
        <p:txBody>
          <a:bodyPr anchor="t"/>
          <a:lstStyle>
            <a:lvl1pPr>
              <a:defRPr sz="4400" b="0" i="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dirty="0"/>
              <a:t>Click to edit Master title style</a:t>
            </a:r>
            <a:endParaRPr lang="en-US" dirty="0"/>
          </a:p>
        </p:txBody>
      </p:sp>
      <p:pic>
        <p:nvPicPr>
          <p:cNvPr id="17" name="Picture 16" descr="A picture containing indoor, shelf, sitting, book&#10;&#10;Description automatically generated">
            <a:extLst>
              <a:ext uri="{FF2B5EF4-FFF2-40B4-BE49-F238E27FC236}">
                <a16:creationId xmlns:a16="http://schemas.microsoft.com/office/drawing/2014/main" id="{A6DFB6EE-17A2-A541-BF74-02235A207D07}"/>
              </a:ext>
            </a:extLst>
          </p:cNvPr>
          <p:cNvPicPr>
            <a:picLocks noChangeAspect="1"/>
          </p:cNvPicPr>
          <p:nvPr/>
        </p:nvPicPr>
        <p:blipFill rotWithShape="1">
          <a:blip r:embed="rId2"/>
          <a:srcRect t="50000" b="16364"/>
          <a:stretch/>
        </p:blipFill>
        <p:spPr>
          <a:xfrm>
            <a:off x="0" y="3429000"/>
            <a:ext cx="12192000" cy="2306782"/>
          </a:xfrm>
          <a:prstGeom prst="rect">
            <a:avLst/>
          </a:prstGeom>
        </p:spPr>
      </p:pic>
      <p:pic>
        <p:nvPicPr>
          <p:cNvPr id="5" name="Picture 4">
            <a:extLst>
              <a:ext uri="{FF2B5EF4-FFF2-40B4-BE49-F238E27FC236}">
                <a16:creationId xmlns:a16="http://schemas.microsoft.com/office/drawing/2014/main" id="{D9903181-6847-FE45-9CA1-F3DB5B1861D8}"/>
              </a:ext>
            </a:extLst>
          </p:cNvPr>
          <p:cNvPicPr>
            <a:picLocks noChangeAspect="1"/>
          </p:cNvPicPr>
          <p:nvPr/>
        </p:nvPicPr>
        <p:blipFill>
          <a:blip r:embed="rId3"/>
          <a:stretch>
            <a:fillRect/>
          </a:stretch>
        </p:blipFill>
        <p:spPr>
          <a:xfrm>
            <a:off x="0" y="5816600"/>
            <a:ext cx="12192000" cy="1041400"/>
          </a:xfrm>
          <a:prstGeom prst="rect">
            <a:avLst/>
          </a:prstGeom>
        </p:spPr>
      </p:pic>
    </p:spTree>
    <p:extLst>
      <p:ext uri="{BB962C8B-B14F-4D97-AF65-F5344CB8AC3E}">
        <p14:creationId xmlns:p14="http://schemas.microsoft.com/office/powerpoint/2010/main" val="40766946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theme" Target="../theme/theme10.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theme" Target="../theme/theme11.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image" Target="../media/image13.emf"/><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theme" Target="../theme/theme12.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10" Type="http://schemas.openxmlformats.org/officeDocument/2006/relationships/slideLayout" Target="../slideLayouts/slideLayout161.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oleObject" Target="../embeddings/oleObject1.bin"/><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ags" Target="../tags/tag2.xml"/><Relationship Id="rId2" Type="http://schemas.openxmlformats.org/officeDocument/2006/relationships/slideLayout" Target="../slideLayouts/slideLayout21.xml"/><Relationship Id="rId16" Type="http://schemas.openxmlformats.org/officeDocument/2006/relationships/tags" Target="../tags/tag1.xml"/><Relationship Id="rId20" Type="http://schemas.openxmlformats.org/officeDocument/2006/relationships/image" Target="../media/image9.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vmlDrawing" Target="../drawings/vmlDrawing1.vml"/><Relationship Id="rId10" Type="http://schemas.openxmlformats.org/officeDocument/2006/relationships/slideLayout" Target="../slideLayouts/slideLayout29.xml"/><Relationship Id="rId19" Type="http://schemas.openxmlformats.org/officeDocument/2006/relationships/image" Target="../media/image8.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theme" Target="../theme/theme3.xml"/><Relationship Id="rId1"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12.jpg"/><Relationship Id="rId5" Type="http://schemas.openxmlformats.org/officeDocument/2006/relationships/theme" Target="../theme/theme4.xml"/><Relationship Id="rId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2.jpg"/><Relationship Id="rId5" Type="http://schemas.openxmlformats.org/officeDocument/2006/relationships/theme" Target="../theme/theme5.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image" Target="../media/image13.emf"/><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theme" Target="../theme/theme7.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13.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8.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image" Target="../media/image13.emf"/><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3" Type="http://schemas.openxmlformats.org/officeDocument/2006/relationships/slideLayout" Target="../slideLayouts/slideLayout97.xml"/><Relationship Id="rId21" Type="http://schemas.openxmlformats.org/officeDocument/2006/relationships/image" Target="../media/image1.png"/><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theme" Target="../theme/theme9.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6DC8FE-687D-BC40-94EC-0F4CCBFD4EE6}"/>
              </a:ext>
            </a:extLst>
          </p:cNvPr>
          <p:cNvPicPr>
            <a:picLocks noChangeAspect="1"/>
          </p:cNvPicPr>
          <p:nvPr userDrawn="1"/>
        </p:nvPicPr>
        <p:blipFill>
          <a:blip r:embed="rId21"/>
          <a:stretch>
            <a:fillRect/>
          </a:stretch>
        </p:blipFill>
        <p:spPr>
          <a:xfrm>
            <a:off x="0" y="5816600"/>
            <a:ext cx="12192000" cy="1041400"/>
          </a:xfrm>
          <a:prstGeom prst="rect">
            <a:avLst/>
          </a:prstGeom>
        </p:spPr>
      </p:pic>
    </p:spTree>
    <p:extLst>
      <p:ext uri="{BB962C8B-B14F-4D97-AF65-F5344CB8AC3E}">
        <p14:creationId xmlns:p14="http://schemas.microsoft.com/office/powerpoint/2010/main" val="15852042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3" r:id="rId3"/>
    <p:sldLayoutId id="2147483664" r:id="rId4"/>
    <p:sldLayoutId id="2147483665" r:id="rId5"/>
    <p:sldLayoutId id="2147483666" r:id="rId6"/>
    <p:sldLayoutId id="2147483667" r:id="rId7"/>
    <p:sldLayoutId id="2147483687" r:id="rId8"/>
    <p:sldLayoutId id="2147483683" r:id="rId9"/>
    <p:sldLayoutId id="2147483682" r:id="rId10"/>
    <p:sldLayoutId id="2147483680" r:id="rId11"/>
    <p:sldLayoutId id="2147483690" r:id="rId12"/>
    <p:sldLayoutId id="2147483691" r:id="rId13"/>
    <p:sldLayoutId id="2147483688" r:id="rId14"/>
    <p:sldLayoutId id="2147483678" r:id="rId15"/>
    <p:sldLayoutId id="2147483679" r:id="rId16"/>
    <p:sldLayoutId id="2147483709" r:id="rId17"/>
    <p:sldLayoutId id="2147483730" r:id="rId18"/>
    <p:sldLayoutId id="2147483861" r:id="rId19"/>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3508817"/>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8889F8-86FA-4749-B26A-BF0765D2B03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55C5784B-0091-9C48-8CA2-30E74D2920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C31A17C-E3E7-DD48-A5EC-483E1C4B2A4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16A791-F316-2046-87D5-FE464BA318EF}" type="datetimeFigureOut">
              <a:rPr lang="en-US" smtClean="0"/>
              <a:t>10/29/2020</a:t>
            </a:fld>
            <a:endParaRPr lang="en-US"/>
          </a:p>
        </p:txBody>
      </p:sp>
      <p:sp>
        <p:nvSpPr>
          <p:cNvPr id="5" name="Footer Placeholder 4">
            <a:extLst>
              <a:ext uri="{FF2B5EF4-FFF2-40B4-BE49-F238E27FC236}">
                <a16:creationId xmlns:a16="http://schemas.microsoft.com/office/drawing/2014/main" id="{E9128330-871B-F74C-B2E9-F9B8F2CE89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EE469A4-BD5E-8142-8047-53CFFF2380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227484-AE73-8842-A104-636AE1E6D574}" type="slidenum">
              <a:rPr lang="en-US" smtClean="0"/>
              <a:t>‹#›</a:t>
            </a:fld>
            <a:endParaRPr lang="en-US"/>
          </a:p>
        </p:txBody>
      </p:sp>
    </p:spTree>
    <p:extLst>
      <p:ext uri="{BB962C8B-B14F-4D97-AF65-F5344CB8AC3E}">
        <p14:creationId xmlns:p14="http://schemas.microsoft.com/office/powerpoint/2010/main" val="3200409121"/>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14866F-397A-442D-8608-60CDBC114A02}"/>
              </a:ext>
            </a:extLst>
          </p:cNvPr>
          <p:cNvSpPr>
            <a:spLocks noGrp="1"/>
          </p:cNvSpPr>
          <p:nvPr>
            <p:ph type="body" idx="1"/>
          </p:nvPr>
        </p:nvSpPr>
        <p:spPr>
          <a:xfrm>
            <a:off x="431401" y="1414217"/>
            <a:ext cx="11328399" cy="2092624"/>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Placeholder 3">
            <a:extLst>
              <a:ext uri="{FF2B5EF4-FFF2-40B4-BE49-F238E27FC236}">
                <a16:creationId xmlns:a16="http://schemas.microsoft.com/office/drawing/2014/main" id="{385A9BAF-70C4-4682-9C98-A7480CE7E49F}"/>
              </a:ext>
            </a:extLst>
          </p:cNvPr>
          <p:cNvSpPr>
            <a:spLocks noGrp="1"/>
          </p:cNvSpPr>
          <p:nvPr>
            <p:ph type="title"/>
          </p:nvPr>
        </p:nvSpPr>
        <p:spPr>
          <a:xfrm>
            <a:off x="431401" y="441140"/>
            <a:ext cx="11327999" cy="393955"/>
          </a:xfrm>
          <a:prstGeom prst="rect">
            <a:avLst/>
          </a:prstGeom>
        </p:spPr>
        <p:txBody>
          <a:bodyPr vert="horz" wrap="square" lIns="0" tIns="0" rIns="0" bIns="0" rtlCol="0" anchor="t">
            <a:noAutofit/>
          </a:bodyPr>
          <a:lstStyle/>
          <a:p>
            <a:r>
              <a:rPr lang="en-US"/>
              <a:t>Click to edit Master title style</a:t>
            </a:r>
            <a:endParaRPr lang="en-GB" dirty="0"/>
          </a:p>
        </p:txBody>
      </p:sp>
      <p:sp>
        <p:nvSpPr>
          <p:cNvPr id="6" name="TextBox 5">
            <a:extLst>
              <a:ext uri="{FF2B5EF4-FFF2-40B4-BE49-F238E27FC236}">
                <a16:creationId xmlns:a16="http://schemas.microsoft.com/office/drawing/2014/main" id="{CB375368-3DA2-4068-999A-FD7D5CC1593E}"/>
              </a:ext>
            </a:extLst>
          </p:cNvPr>
          <p:cNvSpPr txBox="1"/>
          <p:nvPr userDrawn="1"/>
        </p:nvSpPr>
        <p:spPr>
          <a:xfrm>
            <a:off x="431801" y="6260793"/>
            <a:ext cx="1113553" cy="246221"/>
          </a:xfrm>
          <a:prstGeom prst="rect">
            <a:avLst/>
          </a:prstGeom>
          <a:noFill/>
        </p:spPr>
        <p:txBody>
          <a:bodyPr wrap="square" lIns="0" tIns="0" rIns="0" bIns="0" rtlCol="0">
            <a:spAutoFit/>
          </a:bodyPr>
          <a:lstStyle/>
          <a:p>
            <a:fld id="{8A64BEAD-2F81-4807-9FB1-B1EFCD142F0E}" type="slidenum">
              <a:rPr lang="en-GB" sz="1600" smtClean="0">
                <a:solidFill>
                  <a:schemeClr val="accent1"/>
                </a:solidFill>
              </a:rPr>
              <a:pPr/>
              <a:t>‹#›</a:t>
            </a:fld>
            <a:endParaRPr lang="en-GB" sz="1600" dirty="0">
              <a:solidFill>
                <a:schemeClr val="accent1"/>
              </a:solidFill>
            </a:endParaRPr>
          </a:p>
        </p:txBody>
      </p:sp>
      <p:pic>
        <p:nvPicPr>
          <p:cNvPr id="8" name="Picture 7">
            <a:extLst>
              <a:ext uri="{FF2B5EF4-FFF2-40B4-BE49-F238E27FC236}">
                <a16:creationId xmlns:a16="http://schemas.microsoft.com/office/drawing/2014/main" id="{17DFA1DF-B17A-476E-B757-42F3AEE3DC4B}"/>
              </a:ext>
            </a:extLst>
          </p:cNvPr>
          <p:cNvPicPr>
            <a:picLocks noChangeAspect="1"/>
          </p:cNvPicPr>
          <p:nvPr userDrawn="1"/>
        </p:nvPicPr>
        <p:blipFill>
          <a:blip r:embed="rId18"/>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1646619321"/>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Lst>
  <p:txStyles>
    <p:titleStyle>
      <a:lvl1pPr eaLnBrk="1" hangingPunct="1">
        <a:lnSpc>
          <a:spcPct val="80000"/>
        </a:lnSpc>
        <a:defRPr sz="3200" b="1">
          <a:solidFill>
            <a:schemeClr val="accent1"/>
          </a:solidFill>
          <a:latin typeface="+mj-lt"/>
          <a:ea typeface="+mj-ea"/>
          <a:cs typeface="+mj-cs"/>
        </a:defRPr>
      </a:lvl1pPr>
    </p:titleStyle>
    <p:bodyStyle>
      <a:lvl1pPr marL="0" indent="0" eaLnBrk="1" hangingPunct="1">
        <a:spcAft>
          <a:spcPts val="800"/>
        </a:spcAft>
        <a:buFont typeface="Wingdings 2" panose="05020102010507070707" pitchFamily="18" charset="2"/>
        <a:buNone/>
        <a:defRPr sz="2400" b="1">
          <a:solidFill>
            <a:schemeClr val="accent1"/>
          </a:solidFill>
          <a:latin typeface="+mn-lt"/>
          <a:ea typeface="+mn-ea"/>
          <a:cs typeface="+mn-cs"/>
        </a:defRPr>
      </a:lvl1pPr>
      <a:lvl2pPr marL="0" indent="0" eaLnBrk="1" hangingPunct="1">
        <a:spcAft>
          <a:spcPts val="800"/>
        </a:spcAft>
        <a:buFont typeface="Wingdings 2" panose="05020102010507070707" pitchFamily="18" charset="2"/>
        <a:buNone/>
        <a:defRPr sz="2133">
          <a:solidFill>
            <a:schemeClr val="tx1"/>
          </a:solidFill>
          <a:latin typeface="+mn-lt"/>
          <a:ea typeface="+mn-ea"/>
          <a:cs typeface="+mn-cs"/>
        </a:defRPr>
      </a:lvl2pPr>
      <a:lvl3pPr marL="239994" indent="-239994" eaLnBrk="1" hangingPunct="1">
        <a:spcAft>
          <a:spcPts val="800"/>
        </a:spcAft>
        <a:buClr>
          <a:schemeClr val="accent1"/>
        </a:buClr>
        <a:buFont typeface="Wingdings 2" panose="05020102010507070707" pitchFamily="18" charset="2"/>
        <a:buChar char=""/>
        <a:defRPr sz="2133">
          <a:solidFill>
            <a:schemeClr val="tx1"/>
          </a:solidFill>
          <a:latin typeface="+mn-lt"/>
          <a:ea typeface="+mn-ea"/>
          <a:cs typeface="+mn-cs"/>
        </a:defRPr>
      </a:lvl3pPr>
      <a:lvl4pPr marL="479988"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4pPr>
      <a:lvl5pPr marL="719982"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5pPr>
      <a:lvl6pPr marL="239994" indent="-239994" eaLnBrk="1" hangingPunct="1">
        <a:spcAft>
          <a:spcPts val="800"/>
        </a:spcAft>
        <a:buFont typeface="+mj-lt"/>
        <a:buAutoNum type="arabicPeriod"/>
        <a:defRPr sz="2133">
          <a:solidFill>
            <a:schemeClr val="tx1"/>
          </a:solidFill>
          <a:latin typeface="+mn-lt"/>
          <a:ea typeface="+mn-ea"/>
          <a:cs typeface="+mn-cs"/>
        </a:defRPr>
      </a:lvl6pPr>
      <a:lvl7pPr marL="479988" indent="-239994" eaLnBrk="1" hangingPunct="1">
        <a:spcAft>
          <a:spcPts val="800"/>
        </a:spcAft>
        <a:buFont typeface="+mj-lt"/>
        <a:buAutoNum type="alphaLcPeriod"/>
        <a:defRPr sz="2133">
          <a:solidFill>
            <a:schemeClr val="tx1"/>
          </a:solidFill>
          <a:latin typeface="+mn-lt"/>
          <a:ea typeface="+mn-ea"/>
          <a:cs typeface="+mn-cs"/>
        </a:defRPr>
      </a:lvl7pPr>
      <a:lvl8pPr marL="719982" indent="-239994" eaLnBrk="1" hangingPunct="1">
        <a:spcAft>
          <a:spcPts val="800"/>
        </a:spcAft>
        <a:buFont typeface="+mj-lt"/>
        <a:buAutoNum type="romanLcPeriod"/>
        <a:defRPr sz="2133">
          <a:solidFill>
            <a:schemeClr val="tx1"/>
          </a:solidFill>
          <a:latin typeface="+mn-lt"/>
          <a:ea typeface="+mn-ea"/>
          <a:cs typeface="+mn-cs"/>
        </a:defRPr>
      </a:lvl8pPr>
      <a:lvl9pPr marL="0" indent="0" eaLnBrk="1" hangingPunct="1">
        <a:spcAft>
          <a:spcPts val="800"/>
        </a:spcAft>
        <a:defRPr sz="3200">
          <a:solidFill>
            <a:schemeClr val="accent1"/>
          </a:solidFill>
          <a:latin typeface="+mn-lt"/>
          <a:ea typeface="+mn-ea"/>
          <a:cs typeface="+mn-cs"/>
        </a:defRPr>
      </a:lvl9pPr>
    </p:bodyStyle>
    <p:otherStyle>
      <a:lvl1pPr marL="0" eaLnBrk="1" hangingPunct="1">
        <a:defRPr>
          <a:latin typeface="+mn-lt"/>
          <a:ea typeface="+mn-ea"/>
          <a:cs typeface="+mn-cs"/>
        </a:defRPr>
      </a:lvl1pPr>
      <a:lvl2pPr marL="277240" eaLnBrk="1" hangingPunct="1">
        <a:defRPr>
          <a:latin typeface="+mn-lt"/>
          <a:ea typeface="+mn-ea"/>
          <a:cs typeface="+mn-cs"/>
        </a:defRPr>
      </a:lvl2pPr>
      <a:lvl3pPr marL="554478" eaLnBrk="1" hangingPunct="1">
        <a:defRPr>
          <a:latin typeface="+mn-lt"/>
          <a:ea typeface="+mn-ea"/>
          <a:cs typeface="+mn-cs"/>
        </a:defRPr>
      </a:lvl3pPr>
      <a:lvl4pPr marL="831718" eaLnBrk="1" hangingPunct="1">
        <a:defRPr>
          <a:latin typeface="+mn-lt"/>
          <a:ea typeface="+mn-ea"/>
          <a:cs typeface="+mn-cs"/>
        </a:defRPr>
      </a:lvl4pPr>
      <a:lvl5pPr marL="1108956" eaLnBrk="1" hangingPunct="1">
        <a:defRPr>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p:otherStyle>
  </p:txStyles>
  <p:extLst mod="1">
    <p:ext uri="{27BBF7A9-308A-43DC-89C8-2F10F3537804}">
      <p15:sldGuideLst xmlns:p15="http://schemas.microsoft.com/office/powerpoint/2012/main">
        <p15:guide id="2" orient="horz" pos="667">
          <p15:clr>
            <a:srgbClr val="F26B43"/>
          </p15:clr>
        </p15:guide>
        <p15:guide id="7" pos="1837">
          <p15:clr>
            <a:srgbClr val="F26B43"/>
          </p15:clr>
        </p15:guide>
        <p15:guide id="8" pos="2064">
          <p15:clr>
            <a:srgbClr val="F26B43"/>
          </p15:clr>
        </p15:guide>
        <p15:guide id="9" pos="3696">
          <p15:clr>
            <a:srgbClr val="F26B43"/>
          </p15:clr>
        </p15:guide>
        <p15:guide id="10" pos="3923">
          <p15:clr>
            <a:srgbClr val="F26B43"/>
          </p15:clr>
        </p15:guide>
        <p15:guide id="12" pos="2767">
          <p15:clr>
            <a:srgbClr val="F26B43"/>
          </p15:clr>
        </p15:guide>
        <p15:guide id="13" pos="2993">
          <p15:clr>
            <a:srgbClr val="F26B43"/>
          </p15:clr>
        </p15:guide>
        <p15:guide id="14" orient="horz" pos="1053">
          <p15:clr>
            <a:srgbClr val="F26B43"/>
          </p15:clr>
        </p15:guide>
        <p15:guide id="15" orient="horz" pos="350">
          <p15:clr>
            <a:srgbClr val="F26B43"/>
          </p15:clr>
        </p15:guide>
        <p15:guide id="16" orient="horz" pos="2845">
          <p15:clr>
            <a:srgbClr val="F26B43"/>
          </p15:clr>
        </p15:guide>
        <p15:guide id="17" pos="5556">
          <p15:clr>
            <a:srgbClr val="F26B43"/>
          </p15:clr>
        </p15:guide>
        <p15:guide id="18" orient="horz" pos="3049">
          <p15:clr>
            <a:srgbClr val="F26B43"/>
          </p15:clr>
        </p15:guide>
        <p15:guide id="19" pos="20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6"/>
            </p:custDataLst>
          </p:nvPr>
        </p:nvGraphicFramePr>
        <p:xfrm>
          <a:off x="1813" y="1441"/>
          <a:ext cx="1809" cy="1440"/>
        </p:xfrm>
        <a:graphic>
          <a:graphicData uri="http://schemas.openxmlformats.org/presentationml/2006/ole">
            <mc:AlternateContent xmlns:mc="http://schemas.openxmlformats.org/markup-compatibility/2006">
              <mc:Choice xmlns:v="urn:schemas-microsoft-com:vml" Requires="v">
                <p:oleObj spid="_x0000_s1026" name="think-cell Slide" r:id="rId18" imgW="592" imgH="595" progId="TCLayout.ActiveDocument.1">
                  <p:embed/>
                </p:oleObj>
              </mc:Choice>
              <mc:Fallback>
                <p:oleObj name="think-cell Slide" r:id="rId18" imgW="592" imgH="595" progId="TCLayout.ActiveDocument.1">
                  <p:embed/>
                  <p:pic>
                    <p:nvPicPr>
                      <p:cNvPr id="10" name="Object 9" hidden="1"/>
                      <p:cNvPicPr/>
                      <p:nvPr/>
                    </p:nvPicPr>
                    <p:blipFill>
                      <a:blip r:embed="rId19"/>
                      <a:stretch>
                        <a:fillRect/>
                      </a:stretch>
                    </p:blipFill>
                    <p:spPr>
                      <a:xfrm>
                        <a:off x="1813" y="1441"/>
                        <a:ext cx="1809" cy="144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40AFA80-F3F4-45A4-AEE4-1B35CBCA4CF3}"/>
              </a:ext>
            </a:extLst>
          </p:cNvPr>
          <p:cNvSpPr/>
          <p:nvPr userDrawn="1">
            <p:custDataLst>
              <p:tags r:id="rId17"/>
            </p:custDataLst>
          </p:nvPr>
        </p:nvSpPr>
        <p:spPr>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GB" sz="1996" b="1" i="0" baseline="0" noProof="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576000" y="336000"/>
            <a:ext cx="11040000" cy="768000"/>
          </a:xfrm>
          <a:prstGeom prst="rect">
            <a:avLst/>
          </a:prstGeom>
        </p:spPr>
        <p:txBody>
          <a:bodyPr vert="horz" lIns="0" tIns="0" rIns="0" bIns="0" rtlCol="0" anchor="t" anchorCtr="0">
            <a:noAutofit/>
          </a:bodyPr>
          <a:lstStyle/>
          <a:p>
            <a:r>
              <a:rPr lang="en-GB"/>
              <a:t>Click to edit Master title style</a:t>
            </a:r>
            <a:endParaRPr lang="en-GB" dirty="0"/>
          </a:p>
        </p:txBody>
      </p:sp>
      <p:sp>
        <p:nvSpPr>
          <p:cNvPr id="3" name="Text Placeholder 2"/>
          <p:cNvSpPr>
            <a:spLocks noGrp="1"/>
          </p:cNvSpPr>
          <p:nvPr>
            <p:ph type="body" idx="1"/>
          </p:nvPr>
        </p:nvSpPr>
        <p:spPr>
          <a:xfrm>
            <a:off x="579965" y="1372799"/>
            <a:ext cx="11038419" cy="4560000"/>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noProof="0" dirty="0"/>
          </a:p>
        </p:txBody>
      </p:sp>
      <p:sp>
        <p:nvSpPr>
          <p:cNvPr id="6" name="Slide Number Placeholder 5"/>
          <p:cNvSpPr>
            <a:spLocks noGrp="1"/>
          </p:cNvSpPr>
          <p:nvPr>
            <p:ph type="sldNum" sz="quarter" idx="4"/>
          </p:nvPr>
        </p:nvSpPr>
        <p:spPr>
          <a:xfrm>
            <a:off x="577851" y="6409766"/>
            <a:ext cx="372101" cy="161713"/>
          </a:xfrm>
          <a:prstGeom prst="rect">
            <a:avLst/>
          </a:prstGeom>
        </p:spPr>
        <p:txBody>
          <a:bodyPr vert="horz" lIns="0" tIns="0" rIns="0" bIns="0" rtlCol="0" anchor="b" anchorCtr="0"/>
          <a:lstStyle>
            <a:lvl1pPr algn="l">
              <a:lnSpc>
                <a:spcPct val="95000"/>
              </a:lnSpc>
              <a:defRPr sz="933">
                <a:solidFill>
                  <a:schemeClr val="accent6"/>
                </a:solidFill>
                <a:latin typeface="Arial" panose="020B0604020202020204" pitchFamily="34" charset="0"/>
                <a:cs typeface="Arial" panose="020B0604020202020204" pitchFamily="34" charset="0"/>
                <a:sym typeface="Arial" panose="020B0604020202020204" pitchFamily="34" charset="0"/>
              </a:defRPr>
            </a:lvl1pPr>
          </a:lstStyle>
          <a:p>
            <a:fld id="{24C8C45C-947F-4981-8B3F-4F32E973C901}" type="slidenum">
              <a:rPr lang="en-GB" smtClean="0"/>
              <a:pPr/>
              <a:t>‹#›</a:t>
            </a:fld>
            <a:endParaRPr lang="en-GB" dirty="0"/>
          </a:p>
        </p:txBody>
      </p:sp>
      <p:pic>
        <p:nvPicPr>
          <p:cNvPr id="7" name="Picture 6">
            <a:extLst>
              <a:ext uri="{FF2B5EF4-FFF2-40B4-BE49-F238E27FC236}">
                <a16:creationId xmlns:a16="http://schemas.microsoft.com/office/drawing/2014/main" id="{95299906-9323-46A1-8992-1A6CFEDA2FB3}"/>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603200" y="6283440"/>
            <a:ext cx="1008000" cy="275864"/>
          </a:xfrm>
          <a:prstGeom prst="rect">
            <a:avLst/>
          </a:prstGeom>
        </p:spPr>
      </p:pic>
      <p:sp>
        <p:nvSpPr>
          <p:cNvPr id="9" name="Date Placeholder 3">
            <a:extLst>
              <a:ext uri="{FF2B5EF4-FFF2-40B4-BE49-F238E27FC236}">
                <a16:creationId xmlns:a16="http://schemas.microsoft.com/office/drawing/2014/main" id="{AB618018-A126-4E13-B4A2-591A064ED423}"/>
              </a:ext>
            </a:extLst>
          </p:cNvPr>
          <p:cNvSpPr>
            <a:spLocks noGrp="1"/>
          </p:cNvSpPr>
          <p:nvPr>
            <p:ph type="dt" sz="half" idx="2"/>
          </p:nvPr>
        </p:nvSpPr>
        <p:spPr>
          <a:xfrm>
            <a:off x="9023969" y="6408250"/>
            <a:ext cx="816000" cy="163229"/>
          </a:xfrm>
          <a:prstGeom prst="rect">
            <a:avLst/>
          </a:prstGeom>
        </p:spPr>
        <p:txBody>
          <a:bodyPr vert="horz" lIns="0" tIns="0" rIns="0" bIns="0" rtlCol="0" anchor="b" anchorCtr="0"/>
          <a:lstStyle>
            <a:lvl1pPr algn="r">
              <a:defRPr lang="en-GB" sz="933" smtClean="0">
                <a:solidFill>
                  <a:schemeClr val="accent6"/>
                </a:solidFill>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
        <p:nvSpPr>
          <p:cNvPr id="11" name="Footer Placeholder 4">
            <a:extLst>
              <a:ext uri="{FF2B5EF4-FFF2-40B4-BE49-F238E27FC236}">
                <a16:creationId xmlns:a16="http://schemas.microsoft.com/office/drawing/2014/main" id="{E6C61017-E9EE-48D0-B222-079BF55D563B}"/>
              </a:ext>
            </a:extLst>
          </p:cNvPr>
          <p:cNvSpPr>
            <a:spLocks noGrp="1"/>
          </p:cNvSpPr>
          <p:nvPr>
            <p:ph type="ftr" sz="quarter" idx="3"/>
          </p:nvPr>
        </p:nvSpPr>
        <p:spPr>
          <a:xfrm>
            <a:off x="6576000" y="6408250"/>
            <a:ext cx="2400000" cy="163229"/>
          </a:xfrm>
          <a:prstGeom prst="rect">
            <a:avLst/>
          </a:prstGeom>
        </p:spPr>
        <p:txBody>
          <a:bodyPr vert="horz" lIns="0" tIns="0" rIns="0" bIns="0" rtlCol="0" anchor="b" anchorCtr="0"/>
          <a:lstStyle>
            <a:lvl1pPr algn="r">
              <a:defRPr lang="en-GB" sz="933" dirty="0">
                <a:solidFill>
                  <a:schemeClr val="accent1"/>
                </a:solidFill>
                <a:latin typeface="Arial" panose="020B0604020202020204" pitchFamily="34" charset="0"/>
                <a:cs typeface="Arial" panose="020B0604020202020204" pitchFamily="34" charset="0"/>
                <a:sym typeface="Arial" panose="020B0604020202020204" pitchFamily="34" charset="0"/>
              </a:defRPr>
            </a:lvl1pPr>
          </a:lstStyle>
          <a:p>
            <a:pPr>
              <a:lnSpc>
                <a:spcPct val="95000"/>
              </a:lnSpc>
            </a:pPr>
            <a:endParaRPr lang="en-GB" dirty="0"/>
          </a:p>
        </p:txBody>
      </p:sp>
    </p:spTree>
    <p:extLst>
      <p:ext uri="{BB962C8B-B14F-4D97-AF65-F5344CB8AC3E}">
        <p14:creationId xmlns:p14="http://schemas.microsoft.com/office/powerpoint/2010/main" val="47777312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7" r:id="rId13"/>
  </p:sldLayoutIdLst>
  <p:hf sldNum="0" hdr="0" ftr="0" dt="0"/>
  <p:txStyles>
    <p:titleStyle>
      <a:lvl1pPr algn="l" defTabSz="914382" rtl="0" eaLnBrk="1" latinLnBrk="0" hangingPunct="1">
        <a:lnSpc>
          <a:spcPct val="95000"/>
        </a:lnSpc>
        <a:spcBef>
          <a:spcPct val="0"/>
        </a:spcBef>
        <a:buNone/>
        <a:defRPr sz="1996" b="1" i="0" kern="1200">
          <a:solidFill>
            <a:schemeClr val="accent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382" rtl="0" eaLnBrk="1" latinLnBrk="0" hangingPunct="1">
        <a:lnSpc>
          <a:spcPct val="95000"/>
        </a:lnSpc>
        <a:spcBef>
          <a:spcPts val="1067"/>
        </a:spcBef>
        <a:buFontTx/>
        <a:buNone/>
        <a:defRPr sz="1733" b="1"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1pPr>
      <a:lvl2pPr marL="575986"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2pPr>
      <a:lvl3pPr marL="863978"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3pPr>
      <a:lvl4pPr marL="1151971"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4pPr>
      <a:lvl5pPr marL="1439964" indent="-287993" algn="l" defTabSz="914382" rtl="0" eaLnBrk="1" latinLnBrk="0" hangingPunct="1">
        <a:lnSpc>
          <a:spcPct val="95000"/>
        </a:lnSpc>
        <a:spcBef>
          <a:spcPts val="1067"/>
        </a:spcBef>
        <a:buFont typeface="Arial" panose="020B0604020202020204" pitchFamily="34" charset="0"/>
        <a:buChar char="–"/>
        <a:defRPr sz="1733" kern="1200">
          <a:solidFill>
            <a:schemeClr val="tx2"/>
          </a:solidFill>
          <a:latin typeface="Arial" panose="020B0604020202020204" pitchFamily="34" charset="0"/>
          <a:ea typeface="+mn-ea"/>
          <a:cs typeface="Arial" panose="020B0604020202020204" pitchFamily="34" charset="0"/>
          <a:sym typeface="Arial" panose="020B0604020202020204" pitchFamily="34" charset="0"/>
        </a:defRPr>
      </a:lvl5pPr>
      <a:lvl6pPr marL="881777" indent="-195950" algn="l" defTabSz="914382" rtl="0" eaLnBrk="1" latinLnBrk="0" hangingPunct="1">
        <a:lnSpc>
          <a:spcPct val="96000"/>
        </a:lnSpc>
        <a:spcBef>
          <a:spcPts val="1088"/>
        </a:spcBef>
        <a:buFont typeface="Arial" panose="020B0604020202020204" pitchFamily="34" charset="0"/>
        <a:buChar char="•"/>
        <a:defRPr lang="en-GB" sz="1733" kern="1200" noProof="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6pPr>
      <a:lvl7pPr marL="881777" indent="-195950" algn="l" defTabSz="914382" rtl="0" eaLnBrk="1" latinLnBrk="0" hangingPunct="1">
        <a:lnSpc>
          <a:spcPct val="96000"/>
        </a:lnSpc>
        <a:spcBef>
          <a:spcPts val="1088"/>
        </a:spcBef>
        <a:buFont typeface="Arial" panose="020B0604020202020204" pitchFamily="34" charset="0"/>
        <a:buChar char="•"/>
        <a:defRPr lang="en-GB" sz="1733" kern="1200" baseline="0" noProof="0" dirty="0">
          <a:solidFill>
            <a:schemeClr val="tx2"/>
          </a:solidFill>
          <a:latin typeface="Arial" panose="020B0604020202020204" pitchFamily="34" charset="0"/>
          <a:ea typeface="+mn-ea"/>
          <a:cs typeface="Arial" panose="020B0604020202020204" pitchFamily="34" charset="0"/>
          <a:sym typeface="Arial" panose="020B0604020202020204" pitchFamily="34" charset="0"/>
        </a:defRPr>
      </a:lvl7pPr>
      <a:lvl8pPr marL="881777" indent="-195950" algn="l" defTabSz="914382" rtl="0" eaLnBrk="1" latinLnBrk="0" hangingPunct="1">
        <a:lnSpc>
          <a:spcPct val="96000"/>
        </a:lnSpc>
        <a:spcBef>
          <a:spcPts val="1088"/>
        </a:spcBef>
        <a:buFont typeface="Arial" panose="020B0604020202020204" pitchFamily="34" charset="0"/>
        <a:buChar char="•"/>
        <a:defRPr sz="1180" kern="1200">
          <a:solidFill>
            <a:schemeClr val="tx1"/>
          </a:solidFill>
          <a:latin typeface="+mn-lt"/>
          <a:ea typeface="+mn-ea"/>
          <a:cs typeface="+mn-cs"/>
        </a:defRPr>
      </a:lvl8pPr>
      <a:lvl9pPr marL="881777" indent="-195950" algn="l" defTabSz="914382" rtl="0" eaLnBrk="1" latinLnBrk="0" hangingPunct="1">
        <a:lnSpc>
          <a:spcPct val="96000"/>
        </a:lnSpc>
        <a:spcBef>
          <a:spcPts val="1088"/>
        </a:spcBef>
        <a:buFont typeface="Arial" panose="020B0604020202020204" pitchFamily="34" charset="0"/>
        <a:buChar char="•"/>
        <a:defRPr sz="1180" kern="1200" baseline="0">
          <a:solidFill>
            <a:schemeClr val="tx1"/>
          </a:solidFill>
          <a:latin typeface="+mn-lt"/>
          <a:ea typeface="+mn-ea"/>
          <a:cs typeface="+mn-cs"/>
        </a:defRPr>
      </a:lvl9pPr>
    </p:bodyStyle>
    <p:otherStyle>
      <a:defPPr>
        <a:defRPr lang="en-US"/>
      </a:defPPr>
      <a:lvl1pPr marL="0" algn="l" defTabSz="914382" rtl="0" eaLnBrk="1" latinLnBrk="0" hangingPunct="1">
        <a:defRPr sz="1800" kern="1200">
          <a:solidFill>
            <a:schemeClr val="tx1"/>
          </a:solidFill>
          <a:latin typeface="+mn-lt"/>
          <a:ea typeface="+mn-ea"/>
          <a:cs typeface="+mn-cs"/>
        </a:defRPr>
      </a:lvl1pPr>
      <a:lvl2pPr marL="457193" algn="l" defTabSz="914382" rtl="0" eaLnBrk="1" latinLnBrk="0" hangingPunct="1">
        <a:defRPr sz="1800" kern="1200">
          <a:solidFill>
            <a:schemeClr val="tx1"/>
          </a:solidFill>
          <a:latin typeface="+mn-lt"/>
          <a:ea typeface="+mn-ea"/>
          <a:cs typeface="+mn-cs"/>
        </a:defRPr>
      </a:lvl2pPr>
      <a:lvl3pPr marL="914382" algn="l" defTabSz="914382" rtl="0" eaLnBrk="1" latinLnBrk="0" hangingPunct="1">
        <a:defRPr sz="1800" kern="1200">
          <a:solidFill>
            <a:schemeClr val="tx1"/>
          </a:solidFill>
          <a:latin typeface="+mn-lt"/>
          <a:ea typeface="+mn-ea"/>
          <a:cs typeface="+mn-cs"/>
        </a:defRPr>
      </a:lvl3pPr>
      <a:lvl4pPr marL="1371575" algn="l" defTabSz="914382" rtl="0" eaLnBrk="1" latinLnBrk="0" hangingPunct="1">
        <a:defRPr sz="1800" kern="1200">
          <a:solidFill>
            <a:schemeClr val="tx1"/>
          </a:solidFill>
          <a:latin typeface="+mn-lt"/>
          <a:ea typeface="+mn-ea"/>
          <a:cs typeface="+mn-cs"/>
        </a:defRPr>
      </a:lvl4pPr>
      <a:lvl5pPr marL="1828766" algn="l" defTabSz="914382" rtl="0" eaLnBrk="1" latinLnBrk="0" hangingPunct="1">
        <a:defRPr sz="1800" kern="1200">
          <a:solidFill>
            <a:schemeClr val="tx1"/>
          </a:solidFill>
          <a:latin typeface="+mn-lt"/>
          <a:ea typeface="+mn-ea"/>
          <a:cs typeface="+mn-cs"/>
        </a:defRPr>
      </a:lvl5pPr>
      <a:lvl6pPr marL="2285958" algn="l" defTabSz="914382" rtl="0" eaLnBrk="1" latinLnBrk="0" hangingPunct="1">
        <a:defRPr sz="1800" kern="1200">
          <a:solidFill>
            <a:schemeClr val="tx1"/>
          </a:solidFill>
          <a:latin typeface="+mn-lt"/>
          <a:ea typeface="+mn-ea"/>
          <a:cs typeface="+mn-cs"/>
        </a:defRPr>
      </a:lvl6pPr>
      <a:lvl7pPr marL="2743149" algn="l" defTabSz="914382" rtl="0" eaLnBrk="1" latinLnBrk="0" hangingPunct="1">
        <a:defRPr sz="1800" kern="1200">
          <a:solidFill>
            <a:schemeClr val="tx1"/>
          </a:solidFill>
          <a:latin typeface="+mn-lt"/>
          <a:ea typeface="+mn-ea"/>
          <a:cs typeface="+mn-cs"/>
        </a:defRPr>
      </a:lvl7pPr>
      <a:lvl8pPr marL="3200341" algn="l" defTabSz="914382" rtl="0" eaLnBrk="1" latinLnBrk="0" hangingPunct="1">
        <a:defRPr sz="1800" kern="1200">
          <a:solidFill>
            <a:schemeClr val="tx1"/>
          </a:solidFill>
          <a:latin typeface="+mn-lt"/>
          <a:ea typeface="+mn-ea"/>
          <a:cs typeface="+mn-cs"/>
        </a:defRPr>
      </a:lvl8pPr>
      <a:lvl9pPr marL="3657533" algn="l" defTabSz="91438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5452794"/>
      </p:ext>
    </p:extLst>
  </p:cSld>
  <p:clrMap bg1="lt1" tx1="dk1" bg2="lt2" tx2="dk2" accent1="accent1" accent2="accent2" accent3="accent3" accent4="accent4" accent5="accent5" accent6="accent6" hlink="hlink" folHlink="folHlink"/>
  <p:sldLayoutIdLst>
    <p:sldLayoutId id="2147483832" r:id="rId1"/>
  </p:sldLayoutIdLst>
  <p:hf hdr="0" dt="0"/>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anose="020F0502020204030204" pitchFamily="34" charset="0"/>
        </a:defRPr>
      </a:lvl2pPr>
      <a:lvl3pPr algn="ctr" rtl="0" eaLnBrk="0" fontAlgn="base" hangingPunct="0">
        <a:spcBef>
          <a:spcPct val="0"/>
        </a:spcBef>
        <a:spcAft>
          <a:spcPct val="0"/>
        </a:spcAft>
        <a:defRPr sz="3300">
          <a:solidFill>
            <a:schemeClr val="tx1"/>
          </a:solidFill>
          <a:latin typeface="Calibri" panose="020F0502020204030204" pitchFamily="34" charset="0"/>
        </a:defRPr>
      </a:lvl3pPr>
      <a:lvl4pPr algn="ctr" rtl="0" eaLnBrk="0" fontAlgn="base" hangingPunct="0">
        <a:spcBef>
          <a:spcPct val="0"/>
        </a:spcBef>
        <a:spcAft>
          <a:spcPct val="0"/>
        </a:spcAft>
        <a:defRPr sz="3300">
          <a:solidFill>
            <a:schemeClr val="tx1"/>
          </a:solidFill>
          <a:latin typeface="Calibri" panose="020F0502020204030204" pitchFamily="34" charset="0"/>
        </a:defRPr>
      </a:lvl4pPr>
      <a:lvl5pPr algn="ctr" rtl="0" eaLnBrk="0" fontAlgn="base" hangingPunct="0">
        <a:spcBef>
          <a:spcPct val="0"/>
        </a:spcBef>
        <a:spcAft>
          <a:spcPct val="0"/>
        </a:spcAft>
        <a:defRPr sz="3300">
          <a:solidFill>
            <a:schemeClr val="tx1"/>
          </a:solidFill>
          <a:latin typeface="Calibri" panose="020F0502020204030204" pitchFamily="34" charset="0"/>
        </a:defRPr>
      </a:lvl5pPr>
      <a:lvl6pPr marL="342900" algn="ctr" rtl="0" fontAlgn="base">
        <a:spcBef>
          <a:spcPct val="0"/>
        </a:spcBef>
        <a:spcAft>
          <a:spcPct val="0"/>
        </a:spcAft>
        <a:defRPr sz="3300">
          <a:solidFill>
            <a:schemeClr val="tx1"/>
          </a:solidFill>
          <a:latin typeface="Calibri" panose="020F0502020204030204" pitchFamily="34" charset="0"/>
        </a:defRPr>
      </a:lvl6pPr>
      <a:lvl7pPr marL="685800" algn="ctr" rtl="0" fontAlgn="base">
        <a:spcBef>
          <a:spcPct val="0"/>
        </a:spcBef>
        <a:spcAft>
          <a:spcPct val="0"/>
        </a:spcAft>
        <a:defRPr sz="3300">
          <a:solidFill>
            <a:schemeClr val="tx1"/>
          </a:solidFill>
          <a:latin typeface="Calibri" panose="020F0502020204030204" pitchFamily="34" charset="0"/>
        </a:defRPr>
      </a:lvl7pPr>
      <a:lvl8pPr marL="1028700" algn="ctr" rtl="0" fontAlgn="base">
        <a:spcBef>
          <a:spcPct val="0"/>
        </a:spcBef>
        <a:spcAft>
          <a:spcPct val="0"/>
        </a:spcAft>
        <a:defRPr sz="3300">
          <a:solidFill>
            <a:schemeClr val="tx1"/>
          </a:solidFill>
          <a:latin typeface="Calibri" panose="020F0502020204030204" pitchFamily="34" charset="0"/>
        </a:defRPr>
      </a:lvl8pPr>
      <a:lvl9pPr marL="1371600" algn="ctr" rtl="0" fontAlgn="base">
        <a:spcBef>
          <a:spcPct val="0"/>
        </a:spcBef>
        <a:spcAft>
          <a:spcPct val="0"/>
        </a:spcAft>
        <a:defRPr sz="3300">
          <a:solidFill>
            <a:schemeClr val="tx1"/>
          </a:solidFill>
          <a:latin typeface="Calibri" panose="020F0502020204030204" pitchFamily="34" charset="0"/>
        </a:defRPr>
      </a:lvl9pPr>
    </p:titleStyle>
    <p:bodyStyle>
      <a:lvl1pPr marL="257175" indent="-257175"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B28446E-A796-DF46-B6B8-5B91A3893FB7}"/>
              </a:ext>
            </a:extLst>
          </p:cNvPr>
          <p:cNvSpPr>
            <a:spLocks noGrp="1"/>
          </p:cNvSpPr>
          <p:nvPr>
            <p:ph type="sldNum" sz="quarter" idx="4"/>
          </p:nvPr>
        </p:nvSpPr>
        <p:spPr>
          <a:xfrm>
            <a:off x="11604128" y="6525347"/>
            <a:ext cx="2844800" cy="268139"/>
          </a:xfrm>
          <a:prstGeom prst="rect">
            <a:avLst/>
          </a:prstGeom>
        </p:spPr>
        <p:txBody>
          <a:bodyPr/>
          <a:lstStyle>
            <a:lvl1pPr>
              <a:defRPr sz="675">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fld id="{2D0DF9ED-8BA0-410B-84D1-2D8774E69E9E}" type="slidenum">
              <a:rPr lang="en-GB" altLang="en-US" smtClean="0"/>
              <a:pPr/>
              <a:t>‹#›</a:t>
            </a:fld>
            <a:endParaRPr lang="en-GB" altLang="en-US" dirty="0"/>
          </a:p>
        </p:txBody>
      </p:sp>
    </p:spTree>
    <p:extLst>
      <p:ext uri="{BB962C8B-B14F-4D97-AF65-F5344CB8AC3E}">
        <p14:creationId xmlns:p14="http://schemas.microsoft.com/office/powerpoint/2010/main" val="120199188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Lst>
  <p:hf hdr="0" dt="0"/>
  <p:txStyles>
    <p:titleStyle>
      <a:lvl1pPr algn="ctr" rtl="0" eaLnBrk="1" fontAlgn="base" hangingPunct="1">
        <a:spcBef>
          <a:spcPct val="0"/>
        </a:spcBef>
        <a:spcAft>
          <a:spcPct val="0"/>
        </a:spcAft>
        <a:defRPr sz="3300" kern="1200">
          <a:solidFill>
            <a:schemeClr val="tx1"/>
          </a:solidFill>
          <a:latin typeface="+mj-lt"/>
          <a:ea typeface="+mj-ea"/>
          <a:cs typeface="+mj-cs"/>
        </a:defRPr>
      </a:lvl1pPr>
      <a:lvl2pPr algn="ctr" rtl="0" eaLnBrk="1" fontAlgn="base" hangingPunct="1">
        <a:spcBef>
          <a:spcPct val="0"/>
        </a:spcBef>
        <a:spcAft>
          <a:spcPct val="0"/>
        </a:spcAft>
        <a:defRPr sz="3300">
          <a:solidFill>
            <a:schemeClr val="tx1"/>
          </a:solidFill>
          <a:latin typeface="Calibri" panose="020F0502020204030204" pitchFamily="34" charset="0"/>
        </a:defRPr>
      </a:lvl2pPr>
      <a:lvl3pPr algn="ctr" rtl="0" eaLnBrk="1" fontAlgn="base" hangingPunct="1">
        <a:spcBef>
          <a:spcPct val="0"/>
        </a:spcBef>
        <a:spcAft>
          <a:spcPct val="0"/>
        </a:spcAft>
        <a:defRPr sz="3300">
          <a:solidFill>
            <a:schemeClr val="tx1"/>
          </a:solidFill>
          <a:latin typeface="Calibri" panose="020F0502020204030204" pitchFamily="34" charset="0"/>
        </a:defRPr>
      </a:lvl3pPr>
      <a:lvl4pPr algn="ctr" rtl="0" eaLnBrk="1" fontAlgn="base" hangingPunct="1">
        <a:spcBef>
          <a:spcPct val="0"/>
        </a:spcBef>
        <a:spcAft>
          <a:spcPct val="0"/>
        </a:spcAft>
        <a:defRPr sz="3300">
          <a:solidFill>
            <a:schemeClr val="tx1"/>
          </a:solidFill>
          <a:latin typeface="Calibri" panose="020F0502020204030204" pitchFamily="34" charset="0"/>
        </a:defRPr>
      </a:lvl4pPr>
      <a:lvl5pPr algn="ctr" rtl="0" eaLnBrk="1" fontAlgn="base" hangingPunct="1">
        <a:spcBef>
          <a:spcPct val="0"/>
        </a:spcBef>
        <a:spcAft>
          <a:spcPct val="0"/>
        </a:spcAft>
        <a:defRPr sz="3300">
          <a:solidFill>
            <a:schemeClr val="tx1"/>
          </a:solidFill>
          <a:latin typeface="Calibri" panose="020F0502020204030204" pitchFamily="34" charset="0"/>
        </a:defRPr>
      </a:lvl5pPr>
      <a:lvl6pPr marL="342900" algn="ctr" rtl="0" eaLnBrk="1" fontAlgn="base" hangingPunct="1">
        <a:spcBef>
          <a:spcPct val="0"/>
        </a:spcBef>
        <a:spcAft>
          <a:spcPct val="0"/>
        </a:spcAft>
        <a:defRPr sz="3300">
          <a:solidFill>
            <a:schemeClr val="tx1"/>
          </a:solidFill>
          <a:latin typeface="Calibri" panose="020F0502020204030204" pitchFamily="34" charset="0"/>
        </a:defRPr>
      </a:lvl6pPr>
      <a:lvl7pPr marL="685800" algn="ctr" rtl="0" eaLnBrk="1" fontAlgn="base" hangingPunct="1">
        <a:spcBef>
          <a:spcPct val="0"/>
        </a:spcBef>
        <a:spcAft>
          <a:spcPct val="0"/>
        </a:spcAft>
        <a:defRPr sz="3300">
          <a:solidFill>
            <a:schemeClr val="tx1"/>
          </a:solidFill>
          <a:latin typeface="Calibri" panose="020F0502020204030204" pitchFamily="34" charset="0"/>
        </a:defRPr>
      </a:lvl7pPr>
      <a:lvl8pPr marL="1028700" algn="ctr" rtl="0" eaLnBrk="1" fontAlgn="base" hangingPunct="1">
        <a:spcBef>
          <a:spcPct val="0"/>
        </a:spcBef>
        <a:spcAft>
          <a:spcPct val="0"/>
        </a:spcAft>
        <a:defRPr sz="3300">
          <a:solidFill>
            <a:schemeClr val="tx1"/>
          </a:solidFill>
          <a:latin typeface="Calibri" panose="020F0502020204030204" pitchFamily="34" charset="0"/>
        </a:defRPr>
      </a:lvl8pPr>
      <a:lvl9pPr marL="1371600" algn="ctr" rtl="0" eaLnBrk="1" fontAlgn="base" hangingPunct="1">
        <a:spcBef>
          <a:spcPct val="0"/>
        </a:spcBef>
        <a:spcAft>
          <a:spcPct val="0"/>
        </a:spcAft>
        <a:defRPr sz="3300">
          <a:solidFill>
            <a:schemeClr val="tx1"/>
          </a:solidFill>
          <a:latin typeface="Calibri" panose="020F0502020204030204" pitchFamily="34" charset="0"/>
        </a:defRPr>
      </a:lvl9pPr>
    </p:titleStyle>
    <p:bodyStyle>
      <a:lvl1pPr marL="257175" indent="-257175"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1pPr>
      <a:lvl2pPr marL="557213" indent="-214313" algn="l" rtl="0" eaLnBrk="1" fontAlgn="base" hangingPunct="1">
        <a:spcBef>
          <a:spcPct val="20000"/>
        </a:spcBef>
        <a:spcAft>
          <a:spcPct val="0"/>
        </a:spcAft>
        <a:buFont typeface="Arial" charset="0"/>
        <a:buChar char="–"/>
        <a:defRPr sz="2100" kern="1200">
          <a:solidFill>
            <a:schemeClr val="tx1"/>
          </a:solidFill>
          <a:latin typeface="+mn-lt"/>
          <a:ea typeface="+mn-ea"/>
          <a:cs typeface="+mn-cs"/>
        </a:defRPr>
      </a:lvl2pPr>
      <a:lvl3pPr marL="857250" indent="-171450" algn="l" rtl="0" eaLnBrk="1" fontAlgn="base" hangingPunct="1">
        <a:spcBef>
          <a:spcPct val="20000"/>
        </a:spcBef>
        <a:spcAft>
          <a:spcPct val="0"/>
        </a:spcAft>
        <a:buFont typeface="Arial" charset="0"/>
        <a:buChar char="•"/>
        <a:defRPr sz="1800" kern="1200">
          <a:solidFill>
            <a:schemeClr val="tx1"/>
          </a:solidFill>
          <a:latin typeface="+mn-lt"/>
          <a:ea typeface="+mn-ea"/>
          <a:cs typeface="+mn-cs"/>
        </a:defRPr>
      </a:lvl3pPr>
      <a:lvl4pPr marL="1200150" indent="-171450" algn="l" rtl="0" eaLnBrk="1" fontAlgn="base" hangingPunct="1">
        <a:spcBef>
          <a:spcPct val="20000"/>
        </a:spcBef>
        <a:spcAft>
          <a:spcPct val="0"/>
        </a:spcAft>
        <a:buFont typeface="Arial" charset="0"/>
        <a:buChar char="–"/>
        <a:defRPr sz="1500" kern="1200">
          <a:solidFill>
            <a:schemeClr val="tx1"/>
          </a:solidFill>
          <a:latin typeface="+mn-lt"/>
          <a:ea typeface="+mn-ea"/>
          <a:cs typeface="+mn-cs"/>
        </a:defRPr>
      </a:lvl4pPr>
      <a:lvl5pPr marL="1543050" indent="-171450" algn="l" rtl="0" eaLnBrk="1" fontAlgn="base" hangingPunct="1">
        <a:spcBef>
          <a:spcPct val="20000"/>
        </a:spcBef>
        <a:spcAft>
          <a:spcPct val="0"/>
        </a:spcAft>
        <a:buFont typeface="Arial"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0B28446E-A796-DF46-B6B8-5B91A3893FB7}"/>
              </a:ext>
            </a:extLst>
          </p:cNvPr>
          <p:cNvSpPr>
            <a:spLocks noGrp="1"/>
          </p:cNvSpPr>
          <p:nvPr>
            <p:ph type="sldNum" sz="quarter" idx="4"/>
          </p:nvPr>
        </p:nvSpPr>
        <p:spPr>
          <a:xfrm>
            <a:off x="11604128" y="6525345"/>
            <a:ext cx="2844800" cy="268139"/>
          </a:xfrm>
          <a:prstGeom prst="rect">
            <a:avLst/>
          </a:prstGeom>
        </p:spPr>
        <p:txBody>
          <a:bodyPr/>
          <a:lstStyle>
            <a:lvl1pPr>
              <a:defRPr sz="900">
                <a:solidFill>
                  <a:srgbClr val="495965"/>
                </a:solidFill>
                <a:latin typeface="Verdana" panose="020B0604030504040204" pitchFamily="34" charset="0"/>
                <a:ea typeface="Verdana" panose="020B0604030504040204" pitchFamily="34" charset="0"/>
                <a:cs typeface="Verdana" panose="020B0604030504040204" pitchFamily="34" charset="0"/>
              </a:defRPr>
            </a:lvl1pPr>
          </a:lstStyle>
          <a:p>
            <a:fld id="{2D0DF9ED-8BA0-410B-84D1-2D8774E69E9E}" type="slidenum">
              <a:rPr lang="en-GB" altLang="en-US" smtClean="0"/>
              <a:pPr/>
              <a:t>‹#›</a:t>
            </a:fld>
            <a:endParaRPr lang="en-GB" altLang="en-US" dirty="0"/>
          </a:p>
        </p:txBody>
      </p:sp>
    </p:spTree>
    <p:extLst>
      <p:ext uri="{BB962C8B-B14F-4D97-AF65-F5344CB8AC3E}">
        <p14:creationId xmlns:p14="http://schemas.microsoft.com/office/powerpoint/2010/main" val="2895645289"/>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anose="020F0502020204030204" pitchFamily="34" charset="0"/>
        </a:defRPr>
      </a:lvl2pPr>
      <a:lvl3pPr algn="ctr" rtl="0" eaLnBrk="1" fontAlgn="base" hangingPunct="1">
        <a:spcBef>
          <a:spcPct val="0"/>
        </a:spcBef>
        <a:spcAft>
          <a:spcPct val="0"/>
        </a:spcAft>
        <a:defRPr sz="4400">
          <a:solidFill>
            <a:schemeClr val="tx1"/>
          </a:solidFill>
          <a:latin typeface="Calibri" panose="020F0502020204030204" pitchFamily="34" charset="0"/>
        </a:defRPr>
      </a:lvl3pPr>
      <a:lvl4pPr algn="ctr" rtl="0" eaLnBrk="1" fontAlgn="base" hangingPunct="1">
        <a:spcBef>
          <a:spcPct val="0"/>
        </a:spcBef>
        <a:spcAft>
          <a:spcPct val="0"/>
        </a:spcAft>
        <a:defRPr sz="4400">
          <a:solidFill>
            <a:schemeClr val="tx1"/>
          </a:solidFill>
          <a:latin typeface="Calibri" panose="020F0502020204030204" pitchFamily="34" charset="0"/>
        </a:defRPr>
      </a:lvl4pPr>
      <a:lvl5pPr algn="ctr" rtl="0" eaLnBrk="1" fontAlgn="base" hangingPunct="1">
        <a:spcBef>
          <a:spcPct val="0"/>
        </a:spcBef>
        <a:spcAft>
          <a:spcPct val="0"/>
        </a:spcAft>
        <a:defRPr sz="4400">
          <a:solidFill>
            <a:schemeClr val="tx1"/>
          </a:solidFill>
          <a:latin typeface="Calibri" panose="020F0502020204030204" pitchFamily="34" charset="0"/>
        </a:defRPr>
      </a:lvl5pPr>
      <a:lvl6pPr marL="457200" algn="ctr" rtl="0" eaLnBrk="1" fontAlgn="base" hangingPunct="1">
        <a:spcBef>
          <a:spcPct val="0"/>
        </a:spcBef>
        <a:spcAft>
          <a:spcPct val="0"/>
        </a:spcAft>
        <a:defRPr sz="4400">
          <a:solidFill>
            <a:schemeClr val="tx1"/>
          </a:solidFill>
          <a:latin typeface="Calibri" panose="020F0502020204030204" pitchFamily="34" charset="0"/>
        </a:defRPr>
      </a:lvl6pPr>
      <a:lvl7pPr marL="914400" algn="ctr" rtl="0" eaLnBrk="1" fontAlgn="base" hangingPunct="1">
        <a:spcBef>
          <a:spcPct val="0"/>
        </a:spcBef>
        <a:spcAft>
          <a:spcPct val="0"/>
        </a:spcAft>
        <a:defRPr sz="4400">
          <a:solidFill>
            <a:schemeClr val="tx1"/>
          </a:solidFill>
          <a:latin typeface="Calibri" panose="020F0502020204030204" pitchFamily="34" charset="0"/>
        </a:defRPr>
      </a:lvl7pPr>
      <a:lvl8pPr marL="1371600" algn="ctr" rtl="0" eaLnBrk="1" fontAlgn="base" hangingPunct="1">
        <a:spcBef>
          <a:spcPct val="0"/>
        </a:spcBef>
        <a:spcAft>
          <a:spcPct val="0"/>
        </a:spcAft>
        <a:defRPr sz="4400">
          <a:solidFill>
            <a:schemeClr val="tx1"/>
          </a:solidFill>
          <a:latin typeface="Calibri" panose="020F0502020204030204" pitchFamily="34" charset="0"/>
        </a:defRPr>
      </a:lvl8pPr>
      <a:lvl9pPr marL="1828800" algn="ctr" rtl="0" eaLnBrk="1" fontAlgn="base" hangingPunct="1">
        <a:spcBef>
          <a:spcPct val="0"/>
        </a:spcBef>
        <a:spcAft>
          <a:spcPct val="0"/>
        </a:spcAft>
        <a:defRPr sz="4400">
          <a:solidFill>
            <a:schemeClr val="tx1"/>
          </a:solidFill>
          <a:latin typeface="Calibri" panose="020F0502020204030204"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14866F-397A-442D-8608-60CDBC114A02}"/>
              </a:ext>
            </a:extLst>
          </p:cNvPr>
          <p:cNvSpPr>
            <a:spLocks noGrp="1"/>
          </p:cNvSpPr>
          <p:nvPr>
            <p:ph type="body" idx="1"/>
          </p:nvPr>
        </p:nvSpPr>
        <p:spPr>
          <a:xfrm>
            <a:off x="431401" y="1414217"/>
            <a:ext cx="11328399" cy="3980577"/>
          </a:xfrm>
          <a:prstGeom prst="rect">
            <a:avLst/>
          </a:prstGeom>
        </p:spPr>
        <p:txBody>
          <a:bodyPr vert="horz" wrap="square" lIns="0" tIns="0" rIns="0" bIns="0" rtlCol="0">
            <a:sp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Title Placeholder 3">
            <a:extLst>
              <a:ext uri="{FF2B5EF4-FFF2-40B4-BE49-F238E27FC236}">
                <a16:creationId xmlns:a16="http://schemas.microsoft.com/office/drawing/2014/main" id="{385A9BAF-70C4-4682-9C98-A7480CE7E49F}"/>
              </a:ext>
            </a:extLst>
          </p:cNvPr>
          <p:cNvSpPr>
            <a:spLocks noGrp="1"/>
          </p:cNvSpPr>
          <p:nvPr>
            <p:ph type="title"/>
          </p:nvPr>
        </p:nvSpPr>
        <p:spPr>
          <a:xfrm>
            <a:off x="431401" y="441140"/>
            <a:ext cx="11327999" cy="393955"/>
          </a:xfrm>
          <a:prstGeom prst="rect">
            <a:avLst/>
          </a:prstGeom>
        </p:spPr>
        <p:txBody>
          <a:bodyPr vert="horz" wrap="square" lIns="0" tIns="0" rIns="0" bIns="0" rtlCol="0" anchor="t">
            <a:noAutofit/>
          </a:bodyPr>
          <a:lstStyle/>
          <a:p>
            <a:r>
              <a:rPr lang="en-US"/>
              <a:t>Click to edit Master title style</a:t>
            </a:r>
            <a:endParaRPr lang="en-GB" dirty="0"/>
          </a:p>
        </p:txBody>
      </p:sp>
      <p:sp>
        <p:nvSpPr>
          <p:cNvPr id="6" name="TextBox 5">
            <a:extLst>
              <a:ext uri="{FF2B5EF4-FFF2-40B4-BE49-F238E27FC236}">
                <a16:creationId xmlns:a16="http://schemas.microsoft.com/office/drawing/2014/main" id="{CB375368-3DA2-4068-999A-FD7D5CC1593E}"/>
              </a:ext>
            </a:extLst>
          </p:cNvPr>
          <p:cNvSpPr txBox="1"/>
          <p:nvPr userDrawn="1"/>
        </p:nvSpPr>
        <p:spPr>
          <a:xfrm>
            <a:off x="431801" y="6260793"/>
            <a:ext cx="1113553" cy="246221"/>
          </a:xfrm>
          <a:prstGeom prst="rect">
            <a:avLst/>
          </a:prstGeom>
          <a:noFill/>
        </p:spPr>
        <p:txBody>
          <a:bodyPr wrap="square" lIns="0" tIns="0" rIns="0" bIns="0" rtlCol="0">
            <a:spAutoFit/>
          </a:bodyPr>
          <a:lstStyle/>
          <a:p>
            <a:fld id="{8A64BEAD-2F81-4807-9FB1-B1EFCD142F0E}" type="slidenum">
              <a:rPr lang="en-GB" sz="1600" smtClean="0">
                <a:solidFill>
                  <a:schemeClr val="accent1"/>
                </a:solidFill>
              </a:rPr>
              <a:pPr/>
              <a:t>‹#›</a:t>
            </a:fld>
            <a:endParaRPr lang="en-GB" sz="1600" dirty="0">
              <a:solidFill>
                <a:schemeClr val="accent1"/>
              </a:solidFill>
            </a:endParaRPr>
          </a:p>
        </p:txBody>
      </p:sp>
      <p:pic>
        <p:nvPicPr>
          <p:cNvPr id="8" name="Picture 7">
            <a:extLst>
              <a:ext uri="{FF2B5EF4-FFF2-40B4-BE49-F238E27FC236}">
                <a16:creationId xmlns:a16="http://schemas.microsoft.com/office/drawing/2014/main" id="{17DFA1DF-B17A-476E-B757-42F3AEE3DC4B}"/>
              </a:ext>
            </a:extLst>
          </p:cNvPr>
          <p:cNvPicPr>
            <a:picLocks noChangeAspect="1"/>
          </p:cNvPicPr>
          <p:nvPr userDrawn="1"/>
        </p:nvPicPr>
        <p:blipFill>
          <a:blip r:embed="rId18"/>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1680142705"/>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Lst>
  <p:txStyles>
    <p:titleStyle>
      <a:lvl1pPr eaLnBrk="1" hangingPunct="1">
        <a:lnSpc>
          <a:spcPct val="80000"/>
        </a:lnSpc>
        <a:defRPr sz="3200" b="1">
          <a:solidFill>
            <a:schemeClr val="accent1"/>
          </a:solidFill>
          <a:latin typeface="+mj-lt"/>
          <a:ea typeface="+mj-ea"/>
          <a:cs typeface="+mj-cs"/>
        </a:defRPr>
      </a:lvl1pPr>
    </p:titleStyle>
    <p:bodyStyle>
      <a:lvl1pPr marL="0" indent="0" eaLnBrk="1" hangingPunct="1">
        <a:spcAft>
          <a:spcPts val="800"/>
        </a:spcAft>
        <a:buFont typeface="Wingdings 2" panose="05020102010507070707" pitchFamily="18" charset="2"/>
        <a:buNone/>
        <a:defRPr sz="2400" b="1">
          <a:solidFill>
            <a:schemeClr val="accent1"/>
          </a:solidFill>
          <a:latin typeface="+mn-lt"/>
          <a:ea typeface="+mn-ea"/>
          <a:cs typeface="+mn-cs"/>
        </a:defRPr>
      </a:lvl1pPr>
      <a:lvl2pPr marL="0" indent="0" eaLnBrk="1" hangingPunct="1">
        <a:spcAft>
          <a:spcPts val="800"/>
        </a:spcAft>
        <a:buFont typeface="Wingdings 2" panose="05020102010507070707" pitchFamily="18" charset="2"/>
        <a:buNone/>
        <a:defRPr sz="2133">
          <a:solidFill>
            <a:schemeClr val="tx1"/>
          </a:solidFill>
          <a:latin typeface="+mn-lt"/>
          <a:ea typeface="+mn-ea"/>
          <a:cs typeface="+mn-cs"/>
        </a:defRPr>
      </a:lvl2pPr>
      <a:lvl3pPr marL="239994" indent="-239994" eaLnBrk="1" hangingPunct="1">
        <a:spcAft>
          <a:spcPts val="800"/>
        </a:spcAft>
        <a:buClr>
          <a:schemeClr val="accent1"/>
        </a:buClr>
        <a:buFont typeface="Wingdings 2" panose="05020102010507070707" pitchFamily="18" charset="2"/>
        <a:buChar char=""/>
        <a:defRPr sz="2133">
          <a:solidFill>
            <a:schemeClr val="tx1"/>
          </a:solidFill>
          <a:latin typeface="+mn-lt"/>
          <a:ea typeface="+mn-ea"/>
          <a:cs typeface="+mn-cs"/>
        </a:defRPr>
      </a:lvl3pPr>
      <a:lvl4pPr marL="479988"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4pPr>
      <a:lvl5pPr marL="719982"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5pPr>
      <a:lvl6pPr marL="239994" indent="-239994" eaLnBrk="1" hangingPunct="1">
        <a:spcAft>
          <a:spcPts val="800"/>
        </a:spcAft>
        <a:buFont typeface="+mj-lt"/>
        <a:buAutoNum type="arabicPeriod"/>
        <a:defRPr sz="2133">
          <a:solidFill>
            <a:schemeClr val="tx1"/>
          </a:solidFill>
          <a:latin typeface="+mn-lt"/>
          <a:ea typeface="+mn-ea"/>
          <a:cs typeface="+mn-cs"/>
        </a:defRPr>
      </a:lvl6pPr>
      <a:lvl7pPr marL="479988" indent="-239994" eaLnBrk="1" hangingPunct="1">
        <a:spcAft>
          <a:spcPts val="800"/>
        </a:spcAft>
        <a:buFont typeface="+mj-lt"/>
        <a:buAutoNum type="alphaLcPeriod"/>
        <a:defRPr sz="2133">
          <a:solidFill>
            <a:schemeClr val="tx1"/>
          </a:solidFill>
          <a:latin typeface="+mn-lt"/>
          <a:ea typeface="+mn-ea"/>
          <a:cs typeface="+mn-cs"/>
        </a:defRPr>
      </a:lvl7pPr>
      <a:lvl8pPr marL="719982" indent="-239994" eaLnBrk="1" hangingPunct="1">
        <a:spcAft>
          <a:spcPts val="800"/>
        </a:spcAft>
        <a:buFont typeface="+mj-lt"/>
        <a:buAutoNum type="romanLcPeriod"/>
        <a:defRPr sz="2133">
          <a:solidFill>
            <a:schemeClr val="tx1"/>
          </a:solidFill>
          <a:latin typeface="+mn-lt"/>
          <a:ea typeface="+mn-ea"/>
          <a:cs typeface="+mn-cs"/>
        </a:defRPr>
      </a:lvl8pPr>
      <a:lvl9pPr marL="0" indent="0" eaLnBrk="1" hangingPunct="1">
        <a:spcAft>
          <a:spcPts val="800"/>
        </a:spcAft>
        <a:defRPr sz="3200">
          <a:solidFill>
            <a:schemeClr val="accent1"/>
          </a:solidFill>
          <a:latin typeface="+mn-lt"/>
          <a:ea typeface="+mn-ea"/>
          <a:cs typeface="+mn-cs"/>
        </a:defRPr>
      </a:lvl9pPr>
    </p:bodyStyle>
    <p:otherStyle>
      <a:lvl1pPr marL="0" eaLnBrk="1" hangingPunct="1">
        <a:defRPr>
          <a:latin typeface="+mn-lt"/>
          <a:ea typeface="+mn-ea"/>
          <a:cs typeface="+mn-cs"/>
        </a:defRPr>
      </a:lvl1pPr>
      <a:lvl2pPr marL="277240" eaLnBrk="1" hangingPunct="1">
        <a:defRPr>
          <a:latin typeface="+mn-lt"/>
          <a:ea typeface="+mn-ea"/>
          <a:cs typeface="+mn-cs"/>
        </a:defRPr>
      </a:lvl2pPr>
      <a:lvl3pPr marL="554478" eaLnBrk="1" hangingPunct="1">
        <a:defRPr>
          <a:latin typeface="+mn-lt"/>
          <a:ea typeface="+mn-ea"/>
          <a:cs typeface="+mn-cs"/>
        </a:defRPr>
      </a:lvl3pPr>
      <a:lvl4pPr marL="831718" eaLnBrk="1" hangingPunct="1">
        <a:defRPr>
          <a:latin typeface="+mn-lt"/>
          <a:ea typeface="+mn-ea"/>
          <a:cs typeface="+mn-cs"/>
        </a:defRPr>
      </a:lvl4pPr>
      <a:lvl5pPr marL="1108956" eaLnBrk="1" hangingPunct="1">
        <a:defRPr>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p:otherStyle>
  </p:txStyles>
  <p:extLst>
    <p:ext uri="{27BBF7A9-308A-43DC-89C8-2F10F3537804}">
      <p15:sldGuideLst xmlns:p15="http://schemas.microsoft.com/office/powerpoint/2012/main">
        <p15:guide id="2" orient="horz" pos="667">
          <p15:clr>
            <a:srgbClr val="F26B43"/>
          </p15:clr>
        </p15:guide>
        <p15:guide id="7" pos="1837">
          <p15:clr>
            <a:srgbClr val="F26B43"/>
          </p15:clr>
        </p15:guide>
        <p15:guide id="8" pos="2064">
          <p15:clr>
            <a:srgbClr val="F26B43"/>
          </p15:clr>
        </p15:guide>
        <p15:guide id="9" pos="3696">
          <p15:clr>
            <a:srgbClr val="F26B43"/>
          </p15:clr>
        </p15:guide>
        <p15:guide id="10" pos="3923">
          <p15:clr>
            <a:srgbClr val="F26B43"/>
          </p15:clr>
        </p15:guide>
        <p15:guide id="12" pos="2767">
          <p15:clr>
            <a:srgbClr val="F26B43"/>
          </p15:clr>
        </p15:guide>
        <p15:guide id="13" pos="2993">
          <p15:clr>
            <a:srgbClr val="F26B43"/>
          </p15:clr>
        </p15:guide>
        <p15:guide id="14" orient="horz" pos="1053">
          <p15:clr>
            <a:srgbClr val="F26B43"/>
          </p15:clr>
        </p15:guide>
        <p15:guide id="15" orient="horz" pos="350">
          <p15:clr>
            <a:srgbClr val="F26B43"/>
          </p15:clr>
        </p15:guide>
        <p15:guide id="16" orient="horz" pos="2845">
          <p15:clr>
            <a:srgbClr val="F26B43"/>
          </p15:clr>
        </p15:guide>
        <p15:guide id="17" pos="5556">
          <p15:clr>
            <a:srgbClr val="F26B43"/>
          </p15:clr>
        </p15:guide>
        <p15:guide id="18" orient="horz" pos="3049">
          <p15:clr>
            <a:srgbClr val="F26B43"/>
          </p15:clr>
        </p15:guide>
        <p15:guide id="19" pos="204">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14866F-397A-442D-8608-60CDBC114A02}"/>
              </a:ext>
            </a:extLst>
          </p:cNvPr>
          <p:cNvSpPr>
            <a:spLocks noGrp="1"/>
          </p:cNvSpPr>
          <p:nvPr>
            <p:ph type="body" idx="1"/>
          </p:nvPr>
        </p:nvSpPr>
        <p:spPr>
          <a:xfrm>
            <a:off x="431401" y="1414217"/>
            <a:ext cx="11328399" cy="3980577"/>
          </a:xfrm>
          <a:prstGeom prst="rect">
            <a:avLst/>
          </a:prstGeom>
        </p:spPr>
        <p:txBody>
          <a:bodyPr vert="horz" wrap="square" lIns="0" tIns="0" rIns="0" bIns="0" rtlCol="0">
            <a:sp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Title Placeholder 3">
            <a:extLst>
              <a:ext uri="{FF2B5EF4-FFF2-40B4-BE49-F238E27FC236}">
                <a16:creationId xmlns:a16="http://schemas.microsoft.com/office/drawing/2014/main" id="{385A9BAF-70C4-4682-9C98-A7480CE7E49F}"/>
              </a:ext>
            </a:extLst>
          </p:cNvPr>
          <p:cNvSpPr>
            <a:spLocks noGrp="1"/>
          </p:cNvSpPr>
          <p:nvPr>
            <p:ph type="title"/>
          </p:nvPr>
        </p:nvSpPr>
        <p:spPr>
          <a:xfrm>
            <a:off x="431401" y="441140"/>
            <a:ext cx="11327999" cy="393955"/>
          </a:xfrm>
          <a:prstGeom prst="rect">
            <a:avLst/>
          </a:prstGeom>
        </p:spPr>
        <p:txBody>
          <a:bodyPr vert="horz" wrap="square" lIns="0" tIns="0" rIns="0" bIns="0" rtlCol="0" anchor="t">
            <a:noAutofit/>
          </a:bodyPr>
          <a:lstStyle/>
          <a:p>
            <a:r>
              <a:rPr lang="en-US"/>
              <a:t>Click to edit Master title style</a:t>
            </a:r>
            <a:endParaRPr lang="en-GB"/>
          </a:p>
        </p:txBody>
      </p:sp>
      <p:sp>
        <p:nvSpPr>
          <p:cNvPr id="6" name="TextBox 5">
            <a:extLst>
              <a:ext uri="{FF2B5EF4-FFF2-40B4-BE49-F238E27FC236}">
                <a16:creationId xmlns:a16="http://schemas.microsoft.com/office/drawing/2014/main" id="{CB375368-3DA2-4068-999A-FD7D5CC1593E}"/>
              </a:ext>
            </a:extLst>
          </p:cNvPr>
          <p:cNvSpPr txBox="1"/>
          <p:nvPr userDrawn="1"/>
        </p:nvSpPr>
        <p:spPr>
          <a:xfrm>
            <a:off x="431801" y="6260793"/>
            <a:ext cx="1113553" cy="246221"/>
          </a:xfrm>
          <a:prstGeom prst="rect">
            <a:avLst/>
          </a:prstGeom>
          <a:noFill/>
        </p:spPr>
        <p:txBody>
          <a:bodyPr wrap="square" lIns="0" tIns="0" rIns="0" bIns="0" rtlCol="0">
            <a:spAutoFit/>
          </a:bodyPr>
          <a:lstStyle/>
          <a:p>
            <a:fld id="{8A64BEAD-2F81-4807-9FB1-B1EFCD142F0E}" type="slidenum">
              <a:rPr lang="en-GB" sz="1600" smtClean="0">
                <a:solidFill>
                  <a:schemeClr val="accent1"/>
                </a:solidFill>
              </a:rPr>
              <a:pPr/>
              <a:t>‹#›</a:t>
            </a:fld>
            <a:endParaRPr lang="en-GB" sz="1600" dirty="0">
              <a:solidFill>
                <a:schemeClr val="accent1"/>
              </a:solidFill>
            </a:endParaRPr>
          </a:p>
        </p:txBody>
      </p:sp>
      <p:pic>
        <p:nvPicPr>
          <p:cNvPr id="8" name="Picture 7">
            <a:extLst>
              <a:ext uri="{FF2B5EF4-FFF2-40B4-BE49-F238E27FC236}">
                <a16:creationId xmlns:a16="http://schemas.microsoft.com/office/drawing/2014/main" id="{17DFA1DF-B17A-476E-B757-42F3AEE3DC4B}"/>
              </a:ext>
            </a:extLst>
          </p:cNvPr>
          <p:cNvPicPr>
            <a:picLocks noChangeAspect="1"/>
          </p:cNvPicPr>
          <p:nvPr userDrawn="1"/>
        </p:nvPicPr>
        <p:blipFill>
          <a:blip r:embed="rId22"/>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2507057281"/>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3882" r:id="rId20"/>
  </p:sldLayoutIdLst>
  <p:txStyles>
    <p:titleStyle>
      <a:lvl1pPr eaLnBrk="1" hangingPunct="1">
        <a:lnSpc>
          <a:spcPct val="80000"/>
        </a:lnSpc>
        <a:defRPr sz="3200" b="1">
          <a:solidFill>
            <a:schemeClr val="accent1"/>
          </a:solidFill>
          <a:latin typeface="+mj-lt"/>
          <a:ea typeface="+mj-ea"/>
          <a:cs typeface="+mj-cs"/>
        </a:defRPr>
      </a:lvl1pPr>
    </p:titleStyle>
    <p:bodyStyle>
      <a:lvl1pPr marL="0" indent="0" eaLnBrk="1" hangingPunct="1">
        <a:spcAft>
          <a:spcPts val="800"/>
        </a:spcAft>
        <a:buFont typeface="Wingdings 2" panose="05020102010507070707" pitchFamily="18" charset="2"/>
        <a:buNone/>
        <a:defRPr sz="2400" b="1">
          <a:solidFill>
            <a:schemeClr val="accent1"/>
          </a:solidFill>
          <a:latin typeface="+mn-lt"/>
          <a:ea typeface="+mn-ea"/>
          <a:cs typeface="+mn-cs"/>
        </a:defRPr>
      </a:lvl1pPr>
      <a:lvl2pPr marL="0" indent="0" eaLnBrk="1" hangingPunct="1">
        <a:spcAft>
          <a:spcPts val="800"/>
        </a:spcAft>
        <a:buFont typeface="Wingdings 2" panose="05020102010507070707" pitchFamily="18" charset="2"/>
        <a:buNone/>
        <a:defRPr sz="2133">
          <a:solidFill>
            <a:schemeClr val="tx1"/>
          </a:solidFill>
          <a:latin typeface="+mn-lt"/>
          <a:ea typeface="+mn-ea"/>
          <a:cs typeface="+mn-cs"/>
        </a:defRPr>
      </a:lvl2pPr>
      <a:lvl3pPr marL="239994" indent="-239994" eaLnBrk="1" hangingPunct="1">
        <a:spcAft>
          <a:spcPts val="800"/>
        </a:spcAft>
        <a:buClr>
          <a:schemeClr val="accent1"/>
        </a:buClr>
        <a:buFont typeface="Wingdings 2" panose="05020102010507070707" pitchFamily="18" charset="2"/>
        <a:buChar char=""/>
        <a:defRPr sz="2133">
          <a:solidFill>
            <a:schemeClr val="tx1"/>
          </a:solidFill>
          <a:latin typeface="+mn-lt"/>
          <a:ea typeface="+mn-ea"/>
          <a:cs typeface="+mn-cs"/>
        </a:defRPr>
      </a:lvl3pPr>
      <a:lvl4pPr marL="479988"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4pPr>
      <a:lvl5pPr marL="719982"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5pPr>
      <a:lvl6pPr marL="239994" indent="-239994" eaLnBrk="1" hangingPunct="1">
        <a:spcAft>
          <a:spcPts val="800"/>
        </a:spcAft>
        <a:buFont typeface="+mj-lt"/>
        <a:buAutoNum type="arabicPeriod"/>
        <a:defRPr sz="2133">
          <a:solidFill>
            <a:schemeClr val="tx1"/>
          </a:solidFill>
          <a:latin typeface="+mn-lt"/>
          <a:ea typeface="+mn-ea"/>
          <a:cs typeface="+mn-cs"/>
        </a:defRPr>
      </a:lvl6pPr>
      <a:lvl7pPr marL="479988" indent="-239994" eaLnBrk="1" hangingPunct="1">
        <a:spcAft>
          <a:spcPts val="800"/>
        </a:spcAft>
        <a:buFont typeface="+mj-lt"/>
        <a:buAutoNum type="alphaLcPeriod"/>
        <a:defRPr sz="2133">
          <a:solidFill>
            <a:schemeClr val="tx1"/>
          </a:solidFill>
          <a:latin typeface="+mn-lt"/>
          <a:ea typeface="+mn-ea"/>
          <a:cs typeface="+mn-cs"/>
        </a:defRPr>
      </a:lvl7pPr>
      <a:lvl8pPr marL="719982" indent="-239994" eaLnBrk="1" hangingPunct="1">
        <a:spcAft>
          <a:spcPts val="800"/>
        </a:spcAft>
        <a:buFont typeface="+mj-lt"/>
        <a:buAutoNum type="romanLcPeriod"/>
        <a:defRPr sz="2133">
          <a:solidFill>
            <a:schemeClr val="tx1"/>
          </a:solidFill>
          <a:latin typeface="+mn-lt"/>
          <a:ea typeface="+mn-ea"/>
          <a:cs typeface="+mn-cs"/>
        </a:defRPr>
      </a:lvl8pPr>
      <a:lvl9pPr marL="0" indent="0" eaLnBrk="1" hangingPunct="1">
        <a:spcAft>
          <a:spcPts val="800"/>
        </a:spcAft>
        <a:defRPr sz="3200">
          <a:solidFill>
            <a:schemeClr val="accent1"/>
          </a:solidFill>
          <a:latin typeface="+mn-lt"/>
          <a:ea typeface="+mn-ea"/>
          <a:cs typeface="+mn-cs"/>
        </a:defRPr>
      </a:lvl9pPr>
    </p:bodyStyle>
    <p:otherStyle>
      <a:lvl1pPr marL="0" eaLnBrk="1" hangingPunct="1">
        <a:defRPr>
          <a:latin typeface="+mn-lt"/>
          <a:ea typeface="+mn-ea"/>
          <a:cs typeface="+mn-cs"/>
        </a:defRPr>
      </a:lvl1pPr>
      <a:lvl2pPr marL="277240" eaLnBrk="1" hangingPunct="1">
        <a:defRPr>
          <a:latin typeface="+mn-lt"/>
          <a:ea typeface="+mn-ea"/>
          <a:cs typeface="+mn-cs"/>
        </a:defRPr>
      </a:lvl2pPr>
      <a:lvl3pPr marL="554478" eaLnBrk="1" hangingPunct="1">
        <a:defRPr>
          <a:latin typeface="+mn-lt"/>
          <a:ea typeface="+mn-ea"/>
          <a:cs typeface="+mn-cs"/>
        </a:defRPr>
      </a:lvl3pPr>
      <a:lvl4pPr marL="831718" eaLnBrk="1" hangingPunct="1">
        <a:defRPr>
          <a:latin typeface="+mn-lt"/>
          <a:ea typeface="+mn-ea"/>
          <a:cs typeface="+mn-cs"/>
        </a:defRPr>
      </a:lvl4pPr>
      <a:lvl5pPr marL="1108956" eaLnBrk="1" hangingPunct="1">
        <a:defRPr>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p:otherStyle>
  </p:txStyles>
  <p:extLst>
    <p:ext uri="{27BBF7A9-308A-43DC-89C8-2F10F3537804}">
      <p15:sldGuideLst xmlns:p15="http://schemas.microsoft.com/office/powerpoint/2012/main">
        <p15:guide id="2" orient="horz" pos="667">
          <p15:clr>
            <a:srgbClr val="F26B43"/>
          </p15:clr>
        </p15:guide>
        <p15:guide id="7" pos="1837">
          <p15:clr>
            <a:srgbClr val="F26B43"/>
          </p15:clr>
        </p15:guide>
        <p15:guide id="8" pos="2064">
          <p15:clr>
            <a:srgbClr val="F26B43"/>
          </p15:clr>
        </p15:guide>
        <p15:guide id="9" pos="3696">
          <p15:clr>
            <a:srgbClr val="F26B43"/>
          </p15:clr>
        </p15:guide>
        <p15:guide id="10" pos="3923">
          <p15:clr>
            <a:srgbClr val="F26B43"/>
          </p15:clr>
        </p15:guide>
        <p15:guide id="12" pos="2767">
          <p15:clr>
            <a:srgbClr val="F26B43"/>
          </p15:clr>
        </p15:guide>
        <p15:guide id="13" pos="2993">
          <p15:clr>
            <a:srgbClr val="F26B43"/>
          </p15:clr>
        </p15:guide>
        <p15:guide id="14" orient="horz" pos="1053">
          <p15:clr>
            <a:srgbClr val="F26B43"/>
          </p15:clr>
        </p15:guide>
        <p15:guide id="15" orient="horz" pos="350">
          <p15:clr>
            <a:srgbClr val="F26B43"/>
          </p15:clr>
        </p15:guide>
        <p15:guide id="16" orient="horz" pos="2845">
          <p15:clr>
            <a:srgbClr val="F26B43"/>
          </p15:clr>
        </p15:guide>
        <p15:guide id="17" pos="5556">
          <p15:clr>
            <a:srgbClr val="F26B43"/>
          </p15:clr>
        </p15:guide>
        <p15:guide id="18" orient="horz" pos="3049">
          <p15:clr>
            <a:srgbClr val="F26B43"/>
          </p15:clr>
        </p15:guide>
        <p15:guide id="19" pos="2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14866F-397A-442D-8608-60CDBC114A02}"/>
              </a:ext>
            </a:extLst>
          </p:cNvPr>
          <p:cNvSpPr>
            <a:spLocks noGrp="1"/>
          </p:cNvSpPr>
          <p:nvPr>
            <p:ph type="body" idx="1"/>
          </p:nvPr>
        </p:nvSpPr>
        <p:spPr>
          <a:xfrm>
            <a:off x="431401" y="1414217"/>
            <a:ext cx="11328399" cy="3980577"/>
          </a:xfrm>
          <a:prstGeom prst="rect">
            <a:avLst/>
          </a:prstGeom>
        </p:spPr>
        <p:txBody>
          <a:bodyPr vert="horz" wrap="square" lIns="0" tIns="0" rIns="0" bIns="0" rtlCol="0">
            <a:spAutoFit/>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Title Placeholder 3">
            <a:extLst>
              <a:ext uri="{FF2B5EF4-FFF2-40B4-BE49-F238E27FC236}">
                <a16:creationId xmlns:a16="http://schemas.microsoft.com/office/drawing/2014/main" id="{385A9BAF-70C4-4682-9C98-A7480CE7E49F}"/>
              </a:ext>
            </a:extLst>
          </p:cNvPr>
          <p:cNvSpPr>
            <a:spLocks noGrp="1"/>
          </p:cNvSpPr>
          <p:nvPr>
            <p:ph type="title"/>
          </p:nvPr>
        </p:nvSpPr>
        <p:spPr>
          <a:xfrm>
            <a:off x="431401" y="441140"/>
            <a:ext cx="11327999" cy="393955"/>
          </a:xfrm>
          <a:prstGeom prst="rect">
            <a:avLst/>
          </a:prstGeom>
        </p:spPr>
        <p:txBody>
          <a:bodyPr vert="horz" wrap="square" lIns="0" tIns="0" rIns="0" bIns="0" rtlCol="0" anchor="t">
            <a:noAutofit/>
          </a:bodyPr>
          <a:lstStyle/>
          <a:p>
            <a:r>
              <a:rPr lang="en-US"/>
              <a:t>Click to edit Master title style</a:t>
            </a:r>
            <a:endParaRPr lang="en-GB" dirty="0"/>
          </a:p>
        </p:txBody>
      </p:sp>
      <p:sp>
        <p:nvSpPr>
          <p:cNvPr id="6" name="TextBox 5">
            <a:extLst>
              <a:ext uri="{FF2B5EF4-FFF2-40B4-BE49-F238E27FC236}">
                <a16:creationId xmlns:a16="http://schemas.microsoft.com/office/drawing/2014/main" id="{CB375368-3DA2-4068-999A-FD7D5CC1593E}"/>
              </a:ext>
            </a:extLst>
          </p:cNvPr>
          <p:cNvSpPr txBox="1"/>
          <p:nvPr userDrawn="1"/>
        </p:nvSpPr>
        <p:spPr>
          <a:xfrm>
            <a:off x="431801" y="6260793"/>
            <a:ext cx="1113553" cy="246221"/>
          </a:xfrm>
          <a:prstGeom prst="rect">
            <a:avLst/>
          </a:prstGeom>
          <a:noFill/>
        </p:spPr>
        <p:txBody>
          <a:bodyPr wrap="square" lIns="0" tIns="0" rIns="0" bIns="0" rtlCol="0">
            <a:spAutoFit/>
          </a:bodyPr>
          <a:lstStyle/>
          <a:p>
            <a:fld id="{8A64BEAD-2F81-4807-9FB1-B1EFCD142F0E}" type="slidenum">
              <a:rPr lang="en-GB" sz="1600" smtClean="0">
                <a:solidFill>
                  <a:schemeClr val="accent1"/>
                </a:solidFill>
              </a:rPr>
              <a:pPr/>
              <a:t>‹#›</a:t>
            </a:fld>
            <a:endParaRPr lang="en-GB" sz="1600" dirty="0">
              <a:solidFill>
                <a:schemeClr val="accent1"/>
              </a:solidFill>
            </a:endParaRPr>
          </a:p>
        </p:txBody>
      </p:sp>
      <p:pic>
        <p:nvPicPr>
          <p:cNvPr id="8" name="Picture 7">
            <a:extLst>
              <a:ext uri="{FF2B5EF4-FFF2-40B4-BE49-F238E27FC236}">
                <a16:creationId xmlns:a16="http://schemas.microsoft.com/office/drawing/2014/main" id="{17DFA1DF-B17A-476E-B757-42F3AEE3DC4B}"/>
              </a:ext>
            </a:extLst>
          </p:cNvPr>
          <p:cNvPicPr>
            <a:picLocks noChangeAspect="1"/>
          </p:cNvPicPr>
          <p:nvPr userDrawn="1"/>
        </p:nvPicPr>
        <p:blipFill>
          <a:blip r:embed="rId19"/>
          <a:stretch>
            <a:fillRect/>
          </a:stretch>
        </p:blipFill>
        <p:spPr>
          <a:xfrm>
            <a:off x="9965223" y="6237768"/>
            <a:ext cx="1794176" cy="268024"/>
          </a:xfrm>
          <a:prstGeom prst="rect">
            <a:avLst/>
          </a:prstGeom>
        </p:spPr>
      </p:pic>
    </p:spTree>
    <p:extLst>
      <p:ext uri="{BB962C8B-B14F-4D97-AF65-F5344CB8AC3E}">
        <p14:creationId xmlns:p14="http://schemas.microsoft.com/office/powerpoint/2010/main" val="518711251"/>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 id="2147483900" r:id="rId17"/>
  </p:sldLayoutIdLst>
  <p:txStyles>
    <p:titleStyle>
      <a:lvl1pPr eaLnBrk="1" hangingPunct="1">
        <a:lnSpc>
          <a:spcPct val="80000"/>
        </a:lnSpc>
        <a:defRPr sz="3200" b="1">
          <a:solidFill>
            <a:schemeClr val="accent1"/>
          </a:solidFill>
          <a:latin typeface="+mj-lt"/>
          <a:ea typeface="+mj-ea"/>
          <a:cs typeface="+mj-cs"/>
        </a:defRPr>
      </a:lvl1pPr>
    </p:titleStyle>
    <p:bodyStyle>
      <a:lvl1pPr marL="0" indent="0" eaLnBrk="1" hangingPunct="1">
        <a:spcAft>
          <a:spcPts val="800"/>
        </a:spcAft>
        <a:buFont typeface="Wingdings 2" panose="05020102010507070707" pitchFamily="18" charset="2"/>
        <a:buNone/>
        <a:defRPr sz="2400" b="1">
          <a:solidFill>
            <a:schemeClr val="accent1"/>
          </a:solidFill>
          <a:latin typeface="+mn-lt"/>
          <a:ea typeface="+mn-ea"/>
          <a:cs typeface="+mn-cs"/>
        </a:defRPr>
      </a:lvl1pPr>
      <a:lvl2pPr marL="0" indent="0" eaLnBrk="1" hangingPunct="1">
        <a:spcAft>
          <a:spcPts val="800"/>
        </a:spcAft>
        <a:buFont typeface="Wingdings 2" panose="05020102010507070707" pitchFamily="18" charset="2"/>
        <a:buNone/>
        <a:defRPr sz="2133">
          <a:solidFill>
            <a:schemeClr val="tx1"/>
          </a:solidFill>
          <a:latin typeface="+mn-lt"/>
          <a:ea typeface="+mn-ea"/>
          <a:cs typeface="+mn-cs"/>
        </a:defRPr>
      </a:lvl2pPr>
      <a:lvl3pPr marL="239994" indent="-239994" eaLnBrk="1" hangingPunct="1">
        <a:spcAft>
          <a:spcPts val="800"/>
        </a:spcAft>
        <a:buClr>
          <a:schemeClr val="accent1"/>
        </a:buClr>
        <a:buFont typeface="Wingdings 2" panose="05020102010507070707" pitchFamily="18" charset="2"/>
        <a:buChar char=""/>
        <a:defRPr sz="2133">
          <a:solidFill>
            <a:schemeClr val="tx1"/>
          </a:solidFill>
          <a:latin typeface="+mn-lt"/>
          <a:ea typeface="+mn-ea"/>
          <a:cs typeface="+mn-cs"/>
        </a:defRPr>
      </a:lvl3pPr>
      <a:lvl4pPr marL="479988"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4pPr>
      <a:lvl5pPr marL="719982" indent="-239994" eaLnBrk="1" hangingPunct="1">
        <a:spcAft>
          <a:spcPts val="800"/>
        </a:spcAft>
        <a:buClr>
          <a:schemeClr val="accent1"/>
        </a:buClr>
        <a:buFont typeface="Symbol" panose="05050102010706020507" pitchFamily="18" charset="2"/>
        <a:buChar char=""/>
        <a:defRPr sz="2133">
          <a:solidFill>
            <a:schemeClr val="tx1"/>
          </a:solidFill>
          <a:latin typeface="+mn-lt"/>
          <a:ea typeface="+mn-ea"/>
          <a:cs typeface="+mn-cs"/>
        </a:defRPr>
      </a:lvl5pPr>
      <a:lvl6pPr marL="239994" indent="-239994" eaLnBrk="1" hangingPunct="1">
        <a:spcAft>
          <a:spcPts val="800"/>
        </a:spcAft>
        <a:buFont typeface="+mj-lt"/>
        <a:buAutoNum type="arabicPeriod"/>
        <a:defRPr sz="2133">
          <a:solidFill>
            <a:schemeClr val="tx1"/>
          </a:solidFill>
          <a:latin typeface="+mn-lt"/>
          <a:ea typeface="+mn-ea"/>
          <a:cs typeface="+mn-cs"/>
        </a:defRPr>
      </a:lvl6pPr>
      <a:lvl7pPr marL="479988" indent="-239994" eaLnBrk="1" hangingPunct="1">
        <a:spcAft>
          <a:spcPts val="800"/>
        </a:spcAft>
        <a:buFont typeface="+mj-lt"/>
        <a:buAutoNum type="alphaLcPeriod"/>
        <a:defRPr sz="2133">
          <a:solidFill>
            <a:schemeClr val="tx1"/>
          </a:solidFill>
          <a:latin typeface="+mn-lt"/>
          <a:ea typeface="+mn-ea"/>
          <a:cs typeface="+mn-cs"/>
        </a:defRPr>
      </a:lvl7pPr>
      <a:lvl8pPr marL="719982" indent="-239994" eaLnBrk="1" hangingPunct="1">
        <a:spcAft>
          <a:spcPts val="800"/>
        </a:spcAft>
        <a:buFont typeface="+mj-lt"/>
        <a:buAutoNum type="romanLcPeriod"/>
        <a:defRPr sz="2133">
          <a:solidFill>
            <a:schemeClr val="tx1"/>
          </a:solidFill>
          <a:latin typeface="+mn-lt"/>
          <a:ea typeface="+mn-ea"/>
          <a:cs typeface="+mn-cs"/>
        </a:defRPr>
      </a:lvl8pPr>
      <a:lvl9pPr marL="0" indent="0" eaLnBrk="1" hangingPunct="1">
        <a:spcAft>
          <a:spcPts val="800"/>
        </a:spcAft>
        <a:defRPr sz="3200">
          <a:solidFill>
            <a:schemeClr val="accent1"/>
          </a:solidFill>
          <a:latin typeface="+mn-lt"/>
          <a:ea typeface="+mn-ea"/>
          <a:cs typeface="+mn-cs"/>
        </a:defRPr>
      </a:lvl9pPr>
    </p:bodyStyle>
    <p:otherStyle>
      <a:lvl1pPr marL="0" eaLnBrk="1" hangingPunct="1">
        <a:defRPr>
          <a:latin typeface="+mn-lt"/>
          <a:ea typeface="+mn-ea"/>
          <a:cs typeface="+mn-cs"/>
        </a:defRPr>
      </a:lvl1pPr>
      <a:lvl2pPr marL="277240" eaLnBrk="1" hangingPunct="1">
        <a:defRPr>
          <a:latin typeface="+mn-lt"/>
          <a:ea typeface="+mn-ea"/>
          <a:cs typeface="+mn-cs"/>
        </a:defRPr>
      </a:lvl2pPr>
      <a:lvl3pPr marL="554478" eaLnBrk="1" hangingPunct="1">
        <a:defRPr>
          <a:latin typeface="+mn-lt"/>
          <a:ea typeface="+mn-ea"/>
          <a:cs typeface="+mn-cs"/>
        </a:defRPr>
      </a:lvl3pPr>
      <a:lvl4pPr marL="831718" eaLnBrk="1" hangingPunct="1">
        <a:defRPr>
          <a:latin typeface="+mn-lt"/>
          <a:ea typeface="+mn-ea"/>
          <a:cs typeface="+mn-cs"/>
        </a:defRPr>
      </a:lvl4pPr>
      <a:lvl5pPr marL="1108956" eaLnBrk="1" hangingPunct="1">
        <a:defRPr>
          <a:latin typeface="+mn-lt"/>
          <a:ea typeface="+mn-ea"/>
          <a:cs typeface="+mn-cs"/>
        </a:defRPr>
      </a:lvl5pPr>
      <a:lvl6pPr marL="1386196" eaLnBrk="1" hangingPunct="1">
        <a:defRPr>
          <a:latin typeface="+mn-lt"/>
          <a:ea typeface="+mn-ea"/>
          <a:cs typeface="+mn-cs"/>
        </a:defRPr>
      </a:lvl6pPr>
      <a:lvl7pPr marL="1663434" eaLnBrk="1" hangingPunct="1">
        <a:defRPr>
          <a:latin typeface="+mn-lt"/>
          <a:ea typeface="+mn-ea"/>
          <a:cs typeface="+mn-cs"/>
        </a:defRPr>
      </a:lvl7pPr>
      <a:lvl8pPr marL="1940674" eaLnBrk="1" hangingPunct="1">
        <a:defRPr>
          <a:latin typeface="+mn-lt"/>
          <a:ea typeface="+mn-ea"/>
          <a:cs typeface="+mn-cs"/>
        </a:defRPr>
      </a:lvl8pPr>
      <a:lvl9pPr marL="2217913" eaLnBrk="1" hangingPunct="1">
        <a:defRPr>
          <a:latin typeface="+mn-lt"/>
          <a:ea typeface="+mn-ea"/>
          <a:cs typeface="+mn-cs"/>
        </a:defRPr>
      </a:lvl9pPr>
    </p:otherStyle>
  </p:txStyles>
  <p:extLst>
    <p:ext uri="{27BBF7A9-308A-43DC-89C8-2F10F3537804}">
      <p15:sldGuideLst xmlns:p15="http://schemas.microsoft.com/office/powerpoint/2012/main">
        <p15:guide id="2" orient="horz" pos="667">
          <p15:clr>
            <a:srgbClr val="F26B43"/>
          </p15:clr>
        </p15:guide>
        <p15:guide id="7" pos="1837">
          <p15:clr>
            <a:srgbClr val="F26B43"/>
          </p15:clr>
        </p15:guide>
        <p15:guide id="8" pos="2064">
          <p15:clr>
            <a:srgbClr val="F26B43"/>
          </p15:clr>
        </p15:guide>
        <p15:guide id="9" pos="3696">
          <p15:clr>
            <a:srgbClr val="F26B43"/>
          </p15:clr>
        </p15:guide>
        <p15:guide id="10" pos="3923">
          <p15:clr>
            <a:srgbClr val="F26B43"/>
          </p15:clr>
        </p15:guide>
        <p15:guide id="12" pos="2767">
          <p15:clr>
            <a:srgbClr val="F26B43"/>
          </p15:clr>
        </p15:guide>
        <p15:guide id="13" pos="2993">
          <p15:clr>
            <a:srgbClr val="F26B43"/>
          </p15:clr>
        </p15:guide>
        <p15:guide id="14" orient="horz" pos="1053">
          <p15:clr>
            <a:srgbClr val="F26B43"/>
          </p15:clr>
        </p15:guide>
        <p15:guide id="15" orient="horz" pos="350">
          <p15:clr>
            <a:srgbClr val="F26B43"/>
          </p15:clr>
        </p15:guide>
        <p15:guide id="16" orient="horz" pos="2845">
          <p15:clr>
            <a:srgbClr val="F26B43"/>
          </p15:clr>
        </p15:guide>
        <p15:guide id="17" pos="5556">
          <p15:clr>
            <a:srgbClr val="F26B43"/>
          </p15:clr>
        </p15:guide>
        <p15:guide id="18" orient="horz" pos="3049">
          <p15:clr>
            <a:srgbClr val="F26B43"/>
          </p15:clr>
        </p15:guide>
        <p15:guide id="19" pos="20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F6DC8FE-687D-BC40-94EC-0F4CCBFD4EE6}"/>
              </a:ext>
            </a:extLst>
          </p:cNvPr>
          <p:cNvPicPr>
            <a:picLocks noChangeAspect="1"/>
          </p:cNvPicPr>
          <p:nvPr userDrawn="1"/>
        </p:nvPicPr>
        <p:blipFill>
          <a:blip r:embed="rId21"/>
          <a:stretch>
            <a:fillRect/>
          </a:stretch>
        </p:blipFill>
        <p:spPr>
          <a:xfrm>
            <a:off x="0" y="5816600"/>
            <a:ext cx="12192000" cy="1041400"/>
          </a:xfrm>
          <a:prstGeom prst="rect">
            <a:avLst/>
          </a:prstGeom>
        </p:spPr>
      </p:pic>
    </p:spTree>
    <p:extLst>
      <p:ext uri="{BB962C8B-B14F-4D97-AF65-F5344CB8AC3E}">
        <p14:creationId xmlns:p14="http://schemas.microsoft.com/office/powerpoint/2010/main" val="2321013829"/>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 id="2147483914" r:id="rId13"/>
    <p:sldLayoutId id="2147483915" r:id="rId14"/>
    <p:sldLayoutId id="2147483916" r:id="rId15"/>
    <p:sldLayoutId id="2147483917" r:id="rId16"/>
    <p:sldLayoutId id="2147483918" r:id="rId17"/>
    <p:sldLayoutId id="2147483919" r:id="rId18"/>
    <p:sldLayoutId id="2147483920" r:id="rId19"/>
  </p:sldLayoutIdLst>
  <p:hf sldNum="0"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tel:+44%2020%203443%206278,,269946332# " TargetMode="External"/><Relationship Id="rId2" Type="http://schemas.openxmlformats.org/officeDocument/2006/relationships/hyperlink" Target="https://teams.microsoft.com/l/meetup-join/19:meeting_MDEzZDUzMzUtM2FiZi00NzFmLTkxNWUtNDc2ZDE0OTRmMGY1@thread.v2/0?context=%7b%22Tid%22:%22f98a6a53-25f3-4212-901c-c7787fcd3495%22,%22Oid%22:%229f95b1af-488e-4201-b545-8583ac4eaa7a%22%7d" TargetMode="Externa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7.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157.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png"/><Relationship Id="rId1" Type="http://schemas.openxmlformats.org/officeDocument/2006/relationships/slideLayout" Target="../slideLayouts/slideLayout157.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hyperlink" Target="https://www.ofgem.gov.uk/system/files/docs/2016/02/urgency_criteria.pdf" TargetMode="Externa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4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142.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6.png"/><Relationship Id="rId1" Type="http://schemas.openxmlformats.org/officeDocument/2006/relationships/slideLayout" Target="../slideLayouts/slideLayout142.xml"/></Relationships>
</file>

<file path=ppt/slides/_rels/slide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42.xml"/></Relationships>
</file>

<file path=ppt/slides/_rels/slide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4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1">
            <a:extLst>
              <a:ext uri="{FF2B5EF4-FFF2-40B4-BE49-F238E27FC236}">
                <a16:creationId xmlns:a16="http://schemas.microsoft.com/office/drawing/2014/main" id="{239D8572-4B80-43C0-A793-A677B76538B7}"/>
              </a:ext>
            </a:extLst>
          </p:cNvPr>
          <p:cNvSpPr txBox="1">
            <a:spLocks/>
          </p:cNvSpPr>
          <p:nvPr/>
        </p:nvSpPr>
        <p:spPr>
          <a:xfrm>
            <a:off x="323550" y="330855"/>
            <a:ext cx="8495999" cy="527136"/>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3600" b="1" dirty="0"/>
              <a:t>CUSC Panel </a:t>
            </a:r>
          </a:p>
        </p:txBody>
      </p:sp>
      <p:sp>
        <p:nvSpPr>
          <p:cNvPr id="5" name="Text Placeholder 4">
            <a:extLst>
              <a:ext uri="{FF2B5EF4-FFF2-40B4-BE49-F238E27FC236}">
                <a16:creationId xmlns:a16="http://schemas.microsoft.com/office/drawing/2014/main" id="{4FBA6ABF-CE97-446E-AFED-BDC24A2E4D0F}"/>
              </a:ext>
            </a:extLst>
          </p:cNvPr>
          <p:cNvSpPr>
            <a:spLocks noGrp="1"/>
          </p:cNvSpPr>
          <p:nvPr>
            <p:ph type="title"/>
          </p:nvPr>
        </p:nvSpPr>
        <p:spPr>
          <a:xfrm>
            <a:off x="323550" y="891298"/>
            <a:ext cx="5588152" cy="683089"/>
          </a:xfrm>
        </p:spPr>
        <p:txBody>
          <a:bodyPr/>
          <a:lstStyle/>
          <a:p>
            <a:r>
              <a:rPr lang="en-GB" sz="2800" b="1" dirty="0">
                <a:solidFill>
                  <a:srgbClr val="0070C0"/>
                </a:solidFill>
              </a:rPr>
              <a:t>Friday 30 October 2020</a:t>
            </a:r>
          </a:p>
          <a:p>
            <a:r>
              <a:rPr lang="en-GB" sz="2000" b="1" dirty="0">
                <a:solidFill>
                  <a:schemeClr val="tx1"/>
                </a:solidFill>
              </a:rPr>
              <a:t>Online Meeting via Teams</a:t>
            </a:r>
          </a:p>
        </p:txBody>
      </p:sp>
      <p:sp>
        <p:nvSpPr>
          <p:cNvPr id="6" name="Rectangle 5">
            <a:extLst>
              <a:ext uri="{FF2B5EF4-FFF2-40B4-BE49-F238E27FC236}">
                <a16:creationId xmlns:a16="http://schemas.microsoft.com/office/drawing/2014/main" id="{AC937874-D7EE-486A-ABF2-55630BCC69D8}"/>
              </a:ext>
            </a:extLst>
          </p:cNvPr>
          <p:cNvSpPr/>
          <p:nvPr/>
        </p:nvSpPr>
        <p:spPr>
          <a:xfrm>
            <a:off x="323550" y="2120382"/>
            <a:ext cx="6096000" cy="923330"/>
          </a:xfrm>
          <a:prstGeom prst="rect">
            <a:avLst/>
          </a:prstGeom>
        </p:spPr>
        <p:txBody>
          <a:bodyPr>
            <a:spAutoFit/>
          </a:bodyPr>
          <a:lstStyle/>
          <a:p>
            <a:r>
              <a:rPr lang="en-GB" u="sng" dirty="0">
                <a:latin typeface="Helvetica Neue Condensed" panose="02000503000000020004"/>
                <a:hlinkClick r:id="rId2"/>
              </a:rPr>
              <a:t>Join Microsoft Teams Meeting</a:t>
            </a:r>
            <a:r>
              <a:rPr lang="en-GB" dirty="0">
                <a:latin typeface="Helvetica Neue Condensed" panose="02000503000000020004"/>
              </a:rPr>
              <a:t> </a:t>
            </a:r>
          </a:p>
          <a:p>
            <a:r>
              <a:rPr lang="en-GB" dirty="0">
                <a:latin typeface="Helvetica Neue Condensed" panose="02000503000000020004"/>
                <a:hlinkClick r:id="rId3"/>
              </a:rPr>
              <a:t>+44 20 3443 6278</a:t>
            </a:r>
            <a:r>
              <a:rPr lang="en-GB" dirty="0">
                <a:latin typeface="Helvetica Neue Condensed" panose="02000503000000020004"/>
              </a:rPr>
              <a:t>   United Kingdom, London (Toll) </a:t>
            </a:r>
          </a:p>
          <a:p>
            <a:r>
              <a:rPr lang="en-GB" dirty="0">
                <a:latin typeface="Helvetica Neue Condensed" panose="02000503000000020004"/>
              </a:rPr>
              <a:t>Conference ID: 269 946 332# </a:t>
            </a:r>
          </a:p>
        </p:txBody>
      </p:sp>
    </p:spTree>
    <p:extLst>
      <p:ext uri="{BB962C8B-B14F-4D97-AF65-F5344CB8AC3E}">
        <p14:creationId xmlns:p14="http://schemas.microsoft.com/office/powerpoint/2010/main" val="28742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08D62AD-89DC-4DA7-AA12-1176EDCA180B}"/>
              </a:ext>
            </a:extLst>
          </p:cNvPr>
          <p:cNvSpPr>
            <a:spLocks noGrp="1"/>
          </p:cNvSpPr>
          <p:nvPr>
            <p:ph type="title"/>
          </p:nvPr>
        </p:nvSpPr>
        <p:spPr/>
        <p:txBody>
          <a:bodyPr/>
          <a:lstStyle/>
          <a:p>
            <a:r>
              <a:rPr lang="en-GB" dirty="0"/>
              <a:t>An Example (1)</a:t>
            </a:r>
          </a:p>
        </p:txBody>
      </p:sp>
      <p:sp>
        <p:nvSpPr>
          <p:cNvPr id="5" name="Text Placeholder 4">
            <a:extLst>
              <a:ext uri="{FF2B5EF4-FFF2-40B4-BE49-F238E27FC236}">
                <a16:creationId xmlns:a16="http://schemas.microsoft.com/office/drawing/2014/main" id="{C48021B3-4B44-4C07-B42B-3ECF9F83FA23}"/>
              </a:ext>
            </a:extLst>
          </p:cNvPr>
          <p:cNvSpPr>
            <a:spLocks noGrp="1"/>
          </p:cNvSpPr>
          <p:nvPr>
            <p:ph type="body" sz="quarter" idx="16"/>
          </p:nvPr>
        </p:nvSpPr>
        <p:spPr>
          <a:xfrm>
            <a:off x="432001" y="1416668"/>
            <a:ext cx="11327399" cy="4841967"/>
          </a:xfrm>
        </p:spPr>
        <p:txBody>
          <a:bodyPr/>
          <a:lstStyle/>
          <a:p>
            <a:r>
              <a:rPr lang="en-GB" dirty="0"/>
              <a:t>Using NHH Demand as an example, there are 2 issues</a:t>
            </a:r>
          </a:p>
          <a:p>
            <a:endParaRPr lang="en-GB" dirty="0"/>
          </a:p>
          <a:p>
            <a:endParaRPr lang="en-GB" dirty="0"/>
          </a:p>
          <a:p>
            <a:endParaRPr lang="en-GB" dirty="0"/>
          </a:p>
          <a:p>
            <a:endParaRPr lang="en-GB" dirty="0"/>
          </a:p>
          <a:p>
            <a:pPr marL="380990" lvl="1" indent="-380990">
              <a:buClr>
                <a:schemeClr val="accent1"/>
              </a:buClr>
              <a:buFont typeface="Arial" panose="020B0604020202020204" pitchFamily="34" charset="0"/>
              <a:buChar char="•"/>
            </a:pPr>
            <a:r>
              <a:rPr lang="en-GB" dirty="0"/>
              <a:t>DUA = average metered User demand 20 business days prior to increase in demand</a:t>
            </a:r>
          </a:p>
          <a:p>
            <a:pPr marL="380990" lvl="1" indent="-380990">
              <a:buClr>
                <a:schemeClr val="accent1"/>
              </a:buClr>
              <a:buFont typeface="Arial" panose="020B0604020202020204" pitchFamily="34" charset="0"/>
              <a:buChar char="•"/>
            </a:pPr>
            <a:r>
              <a:rPr lang="en-GB" dirty="0"/>
              <a:t>DUB = average metered User demand 20 business days after increase in demand</a:t>
            </a:r>
          </a:p>
          <a:p>
            <a:pPr marL="380990" lvl="1" indent="-380990">
              <a:buClr>
                <a:schemeClr val="accent1"/>
              </a:buClr>
              <a:buFont typeface="Arial" panose="020B0604020202020204" pitchFamily="34" charset="0"/>
              <a:buChar char="•"/>
            </a:pPr>
            <a:r>
              <a:rPr lang="en-GB" dirty="0"/>
              <a:t>DSA = average metered System demand 20 business days prior to increase in demand</a:t>
            </a:r>
          </a:p>
          <a:p>
            <a:pPr marL="380990" lvl="1" indent="-380990">
              <a:buClr>
                <a:schemeClr val="accent1"/>
              </a:buClr>
              <a:buFont typeface="Arial" panose="020B0604020202020204" pitchFamily="34" charset="0"/>
              <a:buChar char="•"/>
            </a:pPr>
            <a:r>
              <a:rPr lang="en-GB" dirty="0"/>
              <a:t>DSB = average metered System demand 20 business days after increase in demand</a:t>
            </a:r>
          </a:p>
          <a:p>
            <a:pPr marL="380990" lvl="1" indent="-380990">
              <a:buClr>
                <a:schemeClr val="accent1"/>
              </a:buClr>
              <a:buFont typeface="Arial" panose="020B0604020202020204" pitchFamily="34" charset="0"/>
              <a:buChar char="•"/>
            </a:pPr>
            <a:r>
              <a:rPr lang="en-GB" dirty="0"/>
              <a:t>RD = forecast proportion of HH Charges remaining for the previous Financial Year</a:t>
            </a:r>
          </a:p>
          <a:p>
            <a:pPr marL="380990" lvl="1" indent="-380990">
              <a:buClr>
                <a:schemeClr val="accent1"/>
              </a:buClr>
              <a:buFont typeface="Arial" panose="020B0604020202020204" pitchFamily="34" charset="0"/>
              <a:buChar char="•"/>
            </a:pPr>
            <a:r>
              <a:rPr lang="en-GB" dirty="0"/>
              <a:t>IA = Indicative Annual HH </a:t>
            </a:r>
            <a:r>
              <a:rPr lang="en-GB" dirty="0" err="1"/>
              <a:t>TNUoS</a:t>
            </a:r>
            <a:r>
              <a:rPr lang="en-GB" dirty="0"/>
              <a:t> charge</a:t>
            </a:r>
          </a:p>
        </p:txBody>
      </p:sp>
      <p:pic>
        <p:nvPicPr>
          <p:cNvPr id="3" name="Picture 2">
            <a:extLst>
              <a:ext uri="{FF2B5EF4-FFF2-40B4-BE49-F238E27FC236}">
                <a16:creationId xmlns:a16="http://schemas.microsoft.com/office/drawing/2014/main" id="{1D0D2060-5213-4A0F-AE78-2B5BEBBC073E}"/>
              </a:ext>
            </a:extLst>
          </p:cNvPr>
          <p:cNvPicPr>
            <a:picLocks noChangeAspect="1"/>
          </p:cNvPicPr>
          <p:nvPr/>
        </p:nvPicPr>
        <p:blipFill>
          <a:blip r:embed="rId2"/>
          <a:stretch>
            <a:fillRect/>
          </a:stretch>
        </p:blipFill>
        <p:spPr>
          <a:xfrm>
            <a:off x="1295467" y="1958997"/>
            <a:ext cx="8400256" cy="1458377"/>
          </a:xfrm>
          <a:prstGeom prst="rect">
            <a:avLst/>
          </a:prstGeom>
        </p:spPr>
      </p:pic>
      <p:sp>
        <p:nvSpPr>
          <p:cNvPr id="4" name="Rectangle 3">
            <a:extLst>
              <a:ext uri="{FF2B5EF4-FFF2-40B4-BE49-F238E27FC236}">
                <a16:creationId xmlns:a16="http://schemas.microsoft.com/office/drawing/2014/main" id="{525E3F84-DBAE-4023-AD44-D1E468C4F41B}"/>
              </a:ext>
            </a:extLst>
          </p:cNvPr>
          <p:cNvSpPr/>
          <p:nvPr/>
        </p:nvSpPr>
        <p:spPr>
          <a:xfrm>
            <a:off x="4391472" y="2614819"/>
            <a:ext cx="2760645" cy="864096"/>
          </a:xfrm>
          <a:prstGeom prst="rect">
            <a:avLst/>
          </a:prstGeom>
          <a:solidFill>
            <a:schemeClr val="accent3">
              <a:alpha val="30000"/>
            </a:schemeClr>
          </a:solidFill>
          <a:ln>
            <a:solidFill>
              <a:schemeClr val="bg1"/>
            </a:solidFill>
          </a:ln>
        </p:spPr>
        <p:txBody>
          <a:bodyPr wrap="square" lIns="0" tIns="0" rIns="0" bIns="0" rtlCol="0" anchor="ctr">
            <a:noAutofit/>
          </a:bodyPr>
          <a:lstStyle/>
          <a:p>
            <a:pPr algn="ctr" defTabSz="554478"/>
            <a:endParaRPr lang="en-GB" sz="2133" dirty="0">
              <a:solidFill>
                <a:srgbClr val="454545"/>
              </a:solidFill>
              <a:latin typeface="Arial" panose="020B0604020202020204"/>
              <a:cs typeface="Helvetica" charset="0"/>
            </a:endParaRPr>
          </a:p>
        </p:txBody>
      </p:sp>
      <p:sp>
        <p:nvSpPr>
          <p:cNvPr id="7" name="Rectangle 6">
            <a:extLst>
              <a:ext uri="{FF2B5EF4-FFF2-40B4-BE49-F238E27FC236}">
                <a16:creationId xmlns:a16="http://schemas.microsoft.com/office/drawing/2014/main" id="{4D50883B-F6A5-4BF6-88DD-8137C0DEC56E}"/>
              </a:ext>
            </a:extLst>
          </p:cNvPr>
          <p:cNvSpPr/>
          <p:nvPr/>
        </p:nvSpPr>
        <p:spPr>
          <a:xfrm>
            <a:off x="8015584" y="2584048"/>
            <a:ext cx="864725" cy="864096"/>
          </a:xfrm>
          <a:prstGeom prst="rect">
            <a:avLst/>
          </a:prstGeom>
          <a:solidFill>
            <a:srgbClr val="FF0000">
              <a:alpha val="30000"/>
            </a:srgbClr>
          </a:solidFill>
          <a:ln>
            <a:solidFill>
              <a:schemeClr val="bg1"/>
            </a:solidFill>
          </a:ln>
        </p:spPr>
        <p:txBody>
          <a:bodyPr wrap="square" lIns="0" tIns="0" rIns="0" bIns="0" rtlCol="0" anchor="ctr">
            <a:noAutofit/>
          </a:bodyPr>
          <a:lstStyle/>
          <a:p>
            <a:pPr algn="ctr" defTabSz="554478"/>
            <a:endParaRPr lang="en-GB" sz="2133" dirty="0">
              <a:solidFill>
                <a:srgbClr val="454545"/>
              </a:solidFill>
              <a:latin typeface="Arial" panose="020B0604020202020204"/>
              <a:cs typeface="Helvetica" charset="0"/>
            </a:endParaRPr>
          </a:p>
        </p:txBody>
      </p:sp>
    </p:spTree>
    <p:extLst>
      <p:ext uri="{BB962C8B-B14F-4D97-AF65-F5344CB8AC3E}">
        <p14:creationId xmlns:p14="http://schemas.microsoft.com/office/powerpoint/2010/main" val="36208730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08D62AD-89DC-4DA7-AA12-1176EDCA180B}"/>
              </a:ext>
            </a:extLst>
          </p:cNvPr>
          <p:cNvSpPr>
            <a:spLocks noGrp="1"/>
          </p:cNvSpPr>
          <p:nvPr>
            <p:ph type="title"/>
          </p:nvPr>
        </p:nvSpPr>
        <p:spPr/>
        <p:txBody>
          <a:bodyPr/>
          <a:lstStyle/>
          <a:p>
            <a:r>
              <a:rPr lang="en-GB" dirty="0"/>
              <a:t>An Example (2)</a:t>
            </a:r>
          </a:p>
        </p:txBody>
      </p:sp>
      <p:sp>
        <p:nvSpPr>
          <p:cNvPr id="5" name="Text Placeholder 4">
            <a:extLst>
              <a:ext uri="{FF2B5EF4-FFF2-40B4-BE49-F238E27FC236}">
                <a16:creationId xmlns:a16="http://schemas.microsoft.com/office/drawing/2014/main" id="{C48021B3-4B44-4C07-B42B-3ECF9F83FA23}"/>
              </a:ext>
            </a:extLst>
          </p:cNvPr>
          <p:cNvSpPr>
            <a:spLocks noGrp="1"/>
          </p:cNvSpPr>
          <p:nvPr>
            <p:ph type="body" sz="quarter" idx="16"/>
          </p:nvPr>
        </p:nvSpPr>
        <p:spPr>
          <a:xfrm>
            <a:off x="431401" y="1048904"/>
            <a:ext cx="11327399" cy="841256"/>
          </a:xfrm>
        </p:spPr>
        <p:txBody>
          <a:bodyPr/>
          <a:lstStyle/>
          <a:p>
            <a:r>
              <a:rPr lang="en-GB" dirty="0"/>
              <a:t>1 - Comparing User Demand to System Demand</a:t>
            </a:r>
          </a:p>
          <a:p>
            <a:endParaRPr lang="en-GB" dirty="0"/>
          </a:p>
        </p:txBody>
      </p:sp>
      <p:pic>
        <p:nvPicPr>
          <p:cNvPr id="1026" name="Chart 1" descr="image002">
            <a:extLst>
              <a:ext uri="{FF2B5EF4-FFF2-40B4-BE49-F238E27FC236}">
                <a16:creationId xmlns:a16="http://schemas.microsoft.com/office/drawing/2014/main" id="{73670BC1-7C25-4EE6-A309-664D067175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404" y="1604798"/>
            <a:ext cx="6461169" cy="3308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4">
            <a:extLst>
              <a:ext uri="{FF2B5EF4-FFF2-40B4-BE49-F238E27FC236}">
                <a16:creationId xmlns:a16="http://schemas.microsoft.com/office/drawing/2014/main" id="{57AF0EE3-3776-4C82-868B-4DA1E9F4154F}"/>
              </a:ext>
            </a:extLst>
          </p:cNvPr>
          <p:cNvSpPr txBox="1">
            <a:spLocks/>
          </p:cNvSpPr>
          <p:nvPr/>
        </p:nvSpPr>
        <p:spPr>
          <a:xfrm>
            <a:off x="7248128" y="1604798"/>
            <a:ext cx="4734009" cy="3508268"/>
          </a:xfrm>
          <a:prstGeom prst="rect">
            <a:avLst/>
          </a:prstGeom>
        </p:spPr>
        <p:txBody>
          <a:bodyPr vert="horz" wrap="square" lIns="0" tIns="0" rIns="0" bIns="0" rtlCol="0">
            <a:spAutoFit/>
          </a:bodyPr>
          <a:lstStyle>
            <a:lvl1pPr marL="0" indent="0" eaLnBrk="1" hangingPunct="1">
              <a:spcAft>
                <a:spcPts val="600"/>
              </a:spcAft>
              <a:buFont typeface="Wingdings 2" panose="05020102010507070707" pitchFamily="18" charset="2"/>
              <a:buNone/>
              <a:defRPr sz="1800" b="1">
                <a:solidFill>
                  <a:schemeClr val="accent1"/>
                </a:solidFill>
                <a:latin typeface="+mn-lt"/>
                <a:ea typeface="+mn-ea"/>
                <a:cs typeface="+mn-cs"/>
              </a:defRPr>
            </a:lvl1pPr>
            <a:lvl2pPr marL="0" indent="0" eaLnBrk="1" hangingPunct="1">
              <a:spcAft>
                <a:spcPts val="600"/>
              </a:spcAft>
              <a:buFont typeface="Wingdings 2" panose="05020102010507070707" pitchFamily="18" charset="2"/>
              <a:buNone/>
              <a:defRPr sz="1600">
                <a:solidFill>
                  <a:schemeClr val="tx1"/>
                </a:solidFill>
                <a:latin typeface="+mn-lt"/>
                <a:ea typeface="+mn-ea"/>
                <a:cs typeface="+mn-cs"/>
              </a:defRPr>
            </a:lvl2pPr>
            <a:lvl3pPr marL="180000" indent="-180000" eaLnBrk="1" hangingPunct="1">
              <a:spcAft>
                <a:spcPts val="600"/>
              </a:spcAft>
              <a:buClr>
                <a:schemeClr val="accent1"/>
              </a:buClr>
              <a:buFont typeface="Wingdings 2" panose="05020102010507070707" pitchFamily="18" charset="2"/>
              <a:buChar char=""/>
              <a:defRPr sz="1600">
                <a:solidFill>
                  <a:schemeClr val="tx1"/>
                </a:solidFill>
                <a:latin typeface="+mn-lt"/>
                <a:ea typeface="+mn-ea"/>
                <a:cs typeface="+mn-cs"/>
              </a:defRPr>
            </a:lvl3pPr>
            <a:lvl4pPr marL="360000" indent="-180000" eaLnBrk="1" hangingPunct="1">
              <a:spcAft>
                <a:spcPts val="600"/>
              </a:spcAft>
              <a:buClr>
                <a:schemeClr val="accent1"/>
              </a:buClr>
              <a:buFont typeface="Symbol" panose="05050102010706020507" pitchFamily="18" charset="2"/>
              <a:buChar char=""/>
              <a:defRPr sz="1600">
                <a:solidFill>
                  <a:schemeClr val="tx1"/>
                </a:solidFill>
                <a:latin typeface="+mn-lt"/>
                <a:ea typeface="+mn-ea"/>
                <a:cs typeface="+mn-cs"/>
              </a:defRPr>
            </a:lvl4pPr>
            <a:lvl5pPr marL="540000" indent="-180000" eaLnBrk="1" hangingPunct="1">
              <a:spcAft>
                <a:spcPts val="600"/>
              </a:spcAft>
              <a:buClr>
                <a:schemeClr val="accent1"/>
              </a:buClr>
              <a:buFont typeface="Symbol" panose="05050102010706020507" pitchFamily="18" charset="2"/>
              <a:buChar char=""/>
              <a:defRPr sz="1600">
                <a:solidFill>
                  <a:schemeClr val="tx1"/>
                </a:solidFill>
                <a:latin typeface="+mn-lt"/>
                <a:ea typeface="+mn-ea"/>
                <a:cs typeface="+mn-cs"/>
              </a:defRPr>
            </a:lvl5pPr>
            <a:lvl6pPr marL="180000" indent="-180000" eaLnBrk="1" hangingPunct="1">
              <a:spcAft>
                <a:spcPts val="600"/>
              </a:spcAft>
              <a:buFont typeface="+mj-lt"/>
              <a:buAutoNum type="arabicPeriod"/>
              <a:defRPr sz="1600">
                <a:solidFill>
                  <a:schemeClr val="tx1"/>
                </a:solidFill>
                <a:latin typeface="+mn-lt"/>
                <a:ea typeface="+mn-ea"/>
                <a:cs typeface="+mn-cs"/>
              </a:defRPr>
            </a:lvl6pPr>
            <a:lvl7pPr marL="360000" indent="-180000" eaLnBrk="1" hangingPunct="1">
              <a:spcAft>
                <a:spcPts val="600"/>
              </a:spcAft>
              <a:buFont typeface="+mj-lt"/>
              <a:buAutoNum type="alphaLcPeriod"/>
              <a:defRPr sz="1600">
                <a:solidFill>
                  <a:schemeClr val="tx1"/>
                </a:solidFill>
                <a:latin typeface="+mn-lt"/>
                <a:ea typeface="+mn-ea"/>
                <a:cs typeface="+mn-cs"/>
              </a:defRPr>
            </a:lvl7pPr>
            <a:lvl8pPr marL="540000" indent="-180000" eaLnBrk="1" hangingPunct="1">
              <a:spcAft>
                <a:spcPts val="600"/>
              </a:spcAft>
              <a:buFont typeface="+mj-lt"/>
              <a:buAutoNum type="romanLcPeriod"/>
              <a:defRPr sz="1600">
                <a:solidFill>
                  <a:schemeClr val="tx1"/>
                </a:solidFill>
                <a:latin typeface="+mn-lt"/>
                <a:ea typeface="+mn-ea"/>
                <a:cs typeface="+mn-cs"/>
              </a:defRPr>
            </a:lvl8pPr>
            <a:lvl9pPr marL="0" indent="0" eaLnBrk="1" hangingPunct="1">
              <a:spcAft>
                <a:spcPts val="600"/>
              </a:spcAft>
              <a:defRPr sz="2400">
                <a:solidFill>
                  <a:schemeClr val="accent1"/>
                </a:solidFill>
                <a:latin typeface="+mn-lt"/>
                <a:ea typeface="+mn-ea"/>
                <a:cs typeface="+mn-cs"/>
              </a:defRPr>
            </a:lvl9pPr>
          </a:lstStyle>
          <a:p>
            <a:pPr marL="380990" lvl="1" indent="-380990" defTabSz="1219170">
              <a:spcAft>
                <a:spcPts val="800"/>
              </a:spcAft>
              <a:buClr>
                <a:srgbClr val="F26522"/>
              </a:buClr>
              <a:buFont typeface="Arial" panose="020B0604020202020204" pitchFamily="34" charset="0"/>
              <a:buChar char="•"/>
            </a:pPr>
            <a:r>
              <a:rPr lang="en-GB" sz="2133" kern="0" dirty="0">
                <a:solidFill>
                  <a:srgbClr val="454545"/>
                </a:solidFill>
                <a:latin typeface="Arial" panose="020B0604020202020204"/>
              </a:rPr>
              <a:t>The intention is to compare the Users demand either side of the Reported Period of Increase, and compare to System demand over the same period</a:t>
            </a:r>
          </a:p>
          <a:p>
            <a:pPr marL="380990" lvl="1" indent="-380990" defTabSz="1219170">
              <a:spcAft>
                <a:spcPts val="800"/>
              </a:spcAft>
              <a:buClr>
                <a:srgbClr val="F26522"/>
              </a:buClr>
              <a:buFont typeface="Arial" panose="020B0604020202020204" pitchFamily="34" charset="0"/>
              <a:buChar char="•"/>
            </a:pPr>
            <a:r>
              <a:rPr lang="en-GB" sz="2133" kern="0" dirty="0">
                <a:solidFill>
                  <a:srgbClr val="454545"/>
                </a:solidFill>
                <a:latin typeface="Arial" panose="020B0604020202020204"/>
              </a:rPr>
              <a:t>From the chart, we can see both User and System demand have increased</a:t>
            </a:r>
          </a:p>
          <a:p>
            <a:pPr marL="620984" lvl="2" indent="-380990" defTabSz="1219170">
              <a:spcAft>
                <a:spcPts val="800"/>
              </a:spcAft>
              <a:buClr>
                <a:srgbClr val="F26522"/>
              </a:buClr>
              <a:buFont typeface="Arial" panose="020B0604020202020204" pitchFamily="34" charset="0"/>
              <a:buChar char="•"/>
            </a:pPr>
            <a:r>
              <a:rPr lang="en-GB" sz="1867" kern="0" dirty="0">
                <a:solidFill>
                  <a:srgbClr val="454545"/>
                </a:solidFill>
                <a:latin typeface="Arial" panose="020B0604020202020204"/>
              </a:rPr>
              <a:t>User = 220/135 = 1.63</a:t>
            </a:r>
          </a:p>
          <a:p>
            <a:pPr marL="620984" lvl="2" indent="-380990" defTabSz="1219170">
              <a:spcAft>
                <a:spcPts val="800"/>
              </a:spcAft>
              <a:buClr>
                <a:srgbClr val="F26522"/>
              </a:buClr>
              <a:buFont typeface="Arial" panose="020B0604020202020204" pitchFamily="34" charset="0"/>
              <a:buChar char="•"/>
            </a:pPr>
            <a:r>
              <a:rPr lang="en-GB" sz="1867" kern="0" dirty="0">
                <a:solidFill>
                  <a:srgbClr val="454545"/>
                </a:solidFill>
                <a:latin typeface="Arial" panose="020B0604020202020204"/>
              </a:rPr>
              <a:t>System = 87,200/66,500 = 1.31</a:t>
            </a:r>
          </a:p>
        </p:txBody>
      </p:sp>
      <p:pic>
        <p:nvPicPr>
          <p:cNvPr id="7" name="Picture 6">
            <a:extLst>
              <a:ext uri="{FF2B5EF4-FFF2-40B4-BE49-F238E27FC236}">
                <a16:creationId xmlns:a16="http://schemas.microsoft.com/office/drawing/2014/main" id="{0A902678-1A9D-4DC9-BB71-2BCFE90347D6}"/>
              </a:ext>
            </a:extLst>
          </p:cNvPr>
          <p:cNvPicPr>
            <a:picLocks noChangeAspect="1"/>
          </p:cNvPicPr>
          <p:nvPr/>
        </p:nvPicPr>
        <p:blipFill rotWithShape="1">
          <a:blip r:embed="rId3"/>
          <a:srcRect l="36575" t="38579" r="29929"/>
          <a:stretch/>
        </p:blipFill>
        <p:spPr>
          <a:xfrm>
            <a:off x="2063552" y="5430512"/>
            <a:ext cx="2813805" cy="895755"/>
          </a:xfrm>
          <a:prstGeom prst="rect">
            <a:avLst/>
          </a:prstGeom>
        </p:spPr>
      </p:pic>
      <p:sp>
        <p:nvSpPr>
          <p:cNvPr id="8" name="Text Placeholder 4">
            <a:extLst>
              <a:ext uri="{FF2B5EF4-FFF2-40B4-BE49-F238E27FC236}">
                <a16:creationId xmlns:a16="http://schemas.microsoft.com/office/drawing/2014/main" id="{B886DD86-27DA-4E74-91A4-9CACE60DAA02}"/>
              </a:ext>
            </a:extLst>
          </p:cNvPr>
          <p:cNvSpPr txBox="1">
            <a:spLocks/>
          </p:cNvSpPr>
          <p:nvPr/>
        </p:nvSpPr>
        <p:spPr>
          <a:xfrm>
            <a:off x="815413" y="5222021"/>
            <a:ext cx="10924072" cy="1518108"/>
          </a:xfrm>
          <a:prstGeom prst="rect">
            <a:avLst/>
          </a:prstGeom>
        </p:spPr>
        <p:txBody>
          <a:bodyPr vert="horz" wrap="square" lIns="0" tIns="0" rIns="0" bIns="0" rtlCol="0">
            <a:spAutoFit/>
          </a:bodyPr>
          <a:lstStyle>
            <a:lvl1pPr marL="0" indent="0" eaLnBrk="1" hangingPunct="1">
              <a:spcAft>
                <a:spcPts val="600"/>
              </a:spcAft>
              <a:buFont typeface="Wingdings 2" panose="05020102010507070707" pitchFamily="18" charset="2"/>
              <a:buNone/>
              <a:defRPr sz="1800" b="1">
                <a:solidFill>
                  <a:schemeClr val="accent1"/>
                </a:solidFill>
                <a:latin typeface="+mn-lt"/>
                <a:ea typeface="+mn-ea"/>
                <a:cs typeface="+mn-cs"/>
              </a:defRPr>
            </a:lvl1pPr>
            <a:lvl2pPr marL="0" indent="0" eaLnBrk="1" hangingPunct="1">
              <a:spcAft>
                <a:spcPts val="600"/>
              </a:spcAft>
              <a:buFont typeface="Wingdings 2" panose="05020102010507070707" pitchFamily="18" charset="2"/>
              <a:buNone/>
              <a:defRPr sz="1600">
                <a:solidFill>
                  <a:schemeClr val="tx1"/>
                </a:solidFill>
                <a:latin typeface="+mn-lt"/>
                <a:ea typeface="+mn-ea"/>
                <a:cs typeface="+mn-cs"/>
              </a:defRPr>
            </a:lvl2pPr>
            <a:lvl3pPr marL="180000" indent="-180000" eaLnBrk="1" hangingPunct="1">
              <a:spcAft>
                <a:spcPts val="600"/>
              </a:spcAft>
              <a:buClr>
                <a:schemeClr val="accent1"/>
              </a:buClr>
              <a:buFont typeface="Wingdings 2" panose="05020102010507070707" pitchFamily="18" charset="2"/>
              <a:buChar char=""/>
              <a:defRPr sz="1600">
                <a:solidFill>
                  <a:schemeClr val="tx1"/>
                </a:solidFill>
                <a:latin typeface="+mn-lt"/>
                <a:ea typeface="+mn-ea"/>
                <a:cs typeface="+mn-cs"/>
              </a:defRPr>
            </a:lvl3pPr>
            <a:lvl4pPr marL="360000" indent="-180000" eaLnBrk="1" hangingPunct="1">
              <a:spcAft>
                <a:spcPts val="600"/>
              </a:spcAft>
              <a:buClr>
                <a:schemeClr val="accent1"/>
              </a:buClr>
              <a:buFont typeface="Symbol" panose="05050102010706020507" pitchFamily="18" charset="2"/>
              <a:buChar char=""/>
              <a:defRPr sz="1600">
                <a:solidFill>
                  <a:schemeClr val="tx1"/>
                </a:solidFill>
                <a:latin typeface="+mn-lt"/>
                <a:ea typeface="+mn-ea"/>
                <a:cs typeface="+mn-cs"/>
              </a:defRPr>
            </a:lvl4pPr>
            <a:lvl5pPr marL="540000" indent="-180000" eaLnBrk="1" hangingPunct="1">
              <a:spcAft>
                <a:spcPts val="600"/>
              </a:spcAft>
              <a:buClr>
                <a:schemeClr val="accent1"/>
              </a:buClr>
              <a:buFont typeface="Symbol" panose="05050102010706020507" pitchFamily="18" charset="2"/>
              <a:buChar char=""/>
              <a:defRPr sz="1600">
                <a:solidFill>
                  <a:schemeClr val="tx1"/>
                </a:solidFill>
                <a:latin typeface="+mn-lt"/>
                <a:ea typeface="+mn-ea"/>
                <a:cs typeface="+mn-cs"/>
              </a:defRPr>
            </a:lvl5pPr>
            <a:lvl6pPr marL="180000" indent="-180000" eaLnBrk="1" hangingPunct="1">
              <a:spcAft>
                <a:spcPts val="600"/>
              </a:spcAft>
              <a:buFont typeface="+mj-lt"/>
              <a:buAutoNum type="arabicPeriod"/>
              <a:defRPr sz="1600">
                <a:solidFill>
                  <a:schemeClr val="tx1"/>
                </a:solidFill>
                <a:latin typeface="+mn-lt"/>
                <a:ea typeface="+mn-ea"/>
                <a:cs typeface="+mn-cs"/>
              </a:defRPr>
            </a:lvl6pPr>
            <a:lvl7pPr marL="360000" indent="-180000" eaLnBrk="1" hangingPunct="1">
              <a:spcAft>
                <a:spcPts val="600"/>
              </a:spcAft>
              <a:buFont typeface="+mj-lt"/>
              <a:buAutoNum type="alphaLcPeriod"/>
              <a:defRPr sz="1600">
                <a:solidFill>
                  <a:schemeClr val="tx1"/>
                </a:solidFill>
                <a:latin typeface="+mn-lt"/>
                <a:ea typeface="+mn-ea"/>
                <a:cs typeface="+mn-cs"/>
              </a:defRPr>
            </a:lvl7pPr>
            <a:lvl8pPr marL="540000" indent="-180000" eaLnBrk="1" hangingPunct="1">
              <a:spcAft>
                <a:spcPts val="600"/>
              </a:spcAft>
              <a:buFont typeface="+mj-lt"/>
              <a:buAutoNum type="romanLcPeriod"/>
              <a:defRPr sz="1600">
                <a:solidFill>
                  <a:schemeClr val="tx1"/>
                </a:solidFill>
                <a:latin typeface="+mn-lt"/>
                <a:ea typeface="+mn-ea"/>
                <a:cs typeface="+mn-cs"/>
              </a:defRPr>
            </a:lvl8pPr>
            <a:lvl9pPr marL="0" indent="0" eaLnBrk="1" hangingPunct="1">
              <a:spcAft>
                <a:spcPts val="600"/>
              </a:spcAft>
              <a:defRPr sz="2400">
                <a:solidFill>
                  <a:schemeClr val="accent1"/>
                </a:solidFill>
                <a:latin typeface="+mn-lt"/>
                <a:ea typeface="+mn-ea"/>
                <a:cs typeface="+mn-cs"/>
              </a:defRPr>
            </a:lvl9pPr>
          </a:lstStyle>
          <a:p>
            <a:pPr marL="380990" lvl="1" indent="-380990" defTabSz="1219170">
              <a:spcAft>
                <a:spcPts val="800"/>
              </a:spcAft>
              <a:buClr>
                <a:srgbClr val="F26522"/>
              </a:buClr>
              <a:buFont typeface="Arial" panose="020B0604020202020204" pitchFamily="34" charset="0"/>
              <a:buChar char="•"/>
            </a:pPr>
            <a:r>
              <a:rPr lang="en-GB" sz="2133" kern="0" dirty="0">
                <a:solidFill>
                  <a:srgbClr val="454545"/>
                </a:solidFill>
                <a:latin typeface="Arial" panose="020B0604020202020204"/>
              </a:rPr>
              <a:t>The nominator and denominator variables in CUSC are the wrong way round i.e. CUSC states</a:t>
            </a:r>
          </a:p>
          <a:p>
            <a:pPr marL="380990" lvl="1" indent="-380990" defTabSz="1219170">
              <a:spcAft>
                <a:spcPts val="800"/>
              </a:spcAft>
              <a:buClr>
                <a:srgbClr val="F26522"/>
              </a:buClr>
              <a:buFont typeface="Arial" panose="020B0604020202020204" pitchFamily="34" charset="0"/>
              <a:buChar char="•"/>
            </a:pPr>
            <a:endParaRPr lang="en-GB" sz="2133" kern="0" dirty="0">
              <a:solidFill>
                <a:srgbClr val="454545"/>
              </a:solidFill>
              <a:latin typeface="Arial" panose="020B0604020202020204"/>
            </a:endParaRPr>
          </a:p>
          <a:p>
            <a:pPr marL="380990" lvl="1" indent="-380990" defTabSz="1219170">
              <a:spcAft>
                <a:spcPts val="800"/>
              </a:spcAft>
              <a:buClr>
                <a:srgbClr val="F26522"/>
              </a:buClr>
              <a:buFont typeface="Arial" panose="020B0604020202020204" pitchFamily="34" charset="0"/>
              <a:buChar char="•"/>
            </a:pPr>
            <a:r>
              <a:rPr lang="en-GB" sz="2133" kern="0" dirty="0">
                <a:solidFill>
                  <a:srgbClr val="454545"/>
                </a:solidFill>
                <a:latin typeface="Arial" panose="020B0604020202020204"/>
              </a:rPr>
              <a:t>Demand increases do not feed through as max of (0.61-0.76 = -0.15) vs 0</a:t>
            </a:r>
          </a:p>
        </p:txBody>
      </p:sp>
      <p:sp>
        <p:nvSpPr>
          <p:cNvPr id="9" name="Text Placeholder 4">
            <a:extLst>
              <a:ext uri="{FF2B5EF4-FFF2-40B4-BE49-F238E27FC236}">
                <a16:creationId xmlns:a16="http://schemas.microsoft.com/office/drawing/2014/main" id="{6C3C2B9F-F68D-4DB3-8D5A-7D5703446613}"/>
              </a:ext>
            </a:extLst>
          </p:cNvPr>
          <p:cNvSpPr txBox="1">
            <a:spLocks/>
          </p:cNvSpPr>
          <p:nvPr/>
        </p:nvSpPr>
        <p:spPr>
          <a:xfrm>
            <a:off x="4655840" y="5592681"/>
            <a:ext cx="5760640" cy="595035"/>
          </a:xfrm>
          <a:prstGeom prst="rect">
            <a:avLst/>
          </a:prstGeom>
        </p:spPr>
        <p:txBody>
          <a:bodyPr vert="horz" wrap="square" lIns="0" tIns="0" rIns="0" bIns="0" rtlCol="0">
            <a:spAutoFit/>
          </a:bodyPr>
          <a:lstStyle>
            <a:lvl1pPr marL="0" indent="0" eaLnBrk="1" hangingPunct="1">
              <a:spcAft>
                <a:spcPts val="600"/>
              </a:spcAft>
              <a:buFont typeface="Wingdings 2" panose="05020102010507070707" pitchFamily="18" charset="2"/>
              <a:buNone/>
              <a:defRPr sz="1800" b="1">
                <a:solidFill>
                  <a:schemeClr val="accent1"/>
                </a:solidFill>
                <a:latin typeface="+mn-lt"/>
                <a:ea typeface="+mn-ea"/>
                <a:cs typeface="+mn-cs"/>
              </a:defRPr>
            </a:lvl1pPr>
            <a:lvl2pPr marL="0" indent="0" eaLnBrk="1" hangingPunct="1">
              <a:spcAft>
                <a:spcPts val="600"/>
              </a:spcAft>
              <a:buFont typeface="Wingdings 2" panose="05020102010507070707" pitchFamily="18" charset="2"/>
              <a:buNone/>
              <a:defRPr sz="1600">
                <a:solidFill>
                  <a:schemeClr val="tx1"/>
                </a:solidFill>
                <a:latin typeface="+mn-lt"/>
                <a:ea typeface="+mn-ea"/>
                <a:cs typeface="+mn-cs"/>
              </a:defRPr>
            </a:lvl2pPr>
            <a:lvl3pPr marL="180000" indent="-180000" eaLnBrk="1" hangingPunct="1">
              <a:spcAft>
                <a:spcPts val="600"/>
              </a:spcAft>
              <a:buClr>
                <a:schemeClr val="accent1"/>
              </a:buClr>
              <a:buFont typeface="Wingdings 2" panose="05020102010507070707" pitchFamily="18" charset="2"/>
              <a:buChar char=""/>
              <a:defRPr sz="1600">
                <a:solidFill>
                  <a:schemeClr val="tx1"/>
                </a:solidFill>
                <a:latin typeface="+mn-lt"/>
                <a:ea typeface="+mn-ea"/>
                <a:cs typeface="+mn-cs"/>
              </a:defRPr>
            </a:lvl3pPr>
            <a:lvl4pPr marL="360000" indent="-180000" eaLnBrk="1" hangingPunct="1">
              <a:spcAft>
                <a:spcPts val="600"/>
              </a:spcAft>
              <a:buClr>
                <a:schemeClr val="accent1"/>
              </a:buClr>
              <a:buFont typeface="Symbol" panose="05050102010706020507" pitchFamily="18" charset="2"/>
              <a:buChar char=""/>
              <a:defRPr sz="1600">
                <a:solidFill>
                  <a:schemeClr val="tx1"/>
                </a:solidFill>
                <a:latin typeface="+mn-lt"/>
                <a:ea typeface="+mn-ea"/>
                <a:cs typeface="+mn-cs"/>
              </a:defRPr>
            </a:lvl4pPr>
            <a:lvl5pPr marL="540000" indent="-180000" eaLnBrk="1" hangingPunct="1">
              <a:spcAft>
                <a:spcPts val="600"/>
              </a:spcAft>
              <a:buClr>
                <a:schemeClr val="accent1"/>
              </a:buClr>
              <a:buFont typeface="Symbol" panose="05050102010706020507" pitchFamily="18" charset="2"/>
              <a:buChar char=""/>
              <a:defRPr sz="1600">
                <a:solidFill>
                  <a:schemeClr val="tx1"/>
                </a:solidFill>
                <a:latin typeface="+mn-lt"/>
                <a:ea typeface="+mn-ea"/>
                <a:cs typeface="+mn-cs"/>
              </a:defRPr>
            </a:lvl5pPr>
            <a:lvl6pPr marL="180000" indent="-180000" eaLnBrk="1" hangingPunct="1">
              <a:spcAft>
                <a:spcPts val="600"/>
              </a:spcAft>
              <a:buFont typeface="+mj-lt"/>
              <a:buAutoNum type="arabicPeriod"/>
              <a:defRPr sz="1600">
                <a:solidFill>
                  <a:schemeClr val="tx1"/>
                </a:solidFill>
                <a:latin typeface="+mn-lt"/>
                <a:ea typeface="+mn-ea"/>
                <a:cs typeface="+mn-cs"/>
              </a:defRPr>
            </a:lvl6pPr>
            <a:lvl7pPr marL="360000" indent="-180000" eaLnBrk="1" hangingPunct="1">
              <a:spcAft>
                <a:spcPts val="600"/>
              </a:spcAft>
              <a:buFont typeface="+mj-lt"/>
              <a:buAutoNum type="alphaLcPeriod"/>
              <a:defRPr sz="1600">
                <a:solidFill>
                  <a:schemeClr val="tx1"/>
                </a:solidFill>
                <a:latin typeface="+mn-lt"/>
                <a:ea typeface="+mn-ea"/>
                <a:cs typeface="+mn-cs"/>
              </a:defRPr>
            </a:lvl7pPr>
            <a:lvl8pPr marL="540000" indent="-180000" eaLnBrk="1" hangingPunct="1">
              <a:spcAft>
                <a:spcPts val="600"/>
              </a:spcAft>
              <a:buFont typeface="+mj-lt"/>
              <a:buAutoNum type="romanLcPeriod"/>
              <a:defRPr sz="1600">
                <a:solidFill>
                  <a:schemeClr val="tx1"/>
                </a:solidFill>
                <a:latin typeface="+mn-lt"/>
                <a:ea typeface="+mn-ea"/>
                <a:cs typeface="+mn-cs"/>
              </a:defRPr>
            </a:lvl8pPr>
            <a:lvl9pPr marL="0" indent="0" eaLnBrk="1" hangingPunct="1">
              <a:spcAft>
                <a:spcPts val="600"/>
              </a:spcAft>
              <a:defRPr sz="2400">
                <a:solidFill>
                  <a:schemeClr val="accent1"/>
                </a:solidFill>
                <a:latin typeface="+mn-lt"/>
                <a:ea typeface="+mn-ea"/>
                <a:cs typeface="+mn-cs"/>
              </a:defRPr>
            </a:lvl9pPr>
          </a:lstStyle>
          <a:p>
            <a:pPr marL="479988" lvl="3" indent="0" defTabSz="1219170">
              <a:spcAft>
                <a:spcPts val="800"/>
              </a:spcAft>
              <a:buClr>
                <a:srgbClr val="F26522"/>
              </a:buClr>
              <a:buNone/>
            </a:pPr>
            <a:r>
              <a:rPr lang="en-GB" kern="0" dirty="0">
                <a:solidFill>
                  <a:srgbClr val="454545"/>
                </a:solidFill>
                <a:latin typeface="Arial" panose="020B0604020202020204"/>
              </a:rPr>
              <a:t>User Demand = 135/220 = 0.61</a:t>
            </a:r>
          </a:p>
          <a:p>
            <a:pPr marL="479988" lvl="3" indent="0" defTabSz="1219170">
              <a:spcAft>
                <a:spcPts val="800"/>
              </a:spcAft>
              <a:buClr>
                <a:srgbClr val="F26522"/>
              </a:buClr>
              <a:buNone/>
            </a:pPr>
            <a:r>
              <a:rPr lang="en-GB" kern="0" dirty="0">
                <a:solidFill>
                  <a:srgbClr val="454545"/>
                </a:solidFill>
                <a:latin typeface="Arial" panose="020B0604020202020204"/>
              </a:rPr>
              <a:t>System Demand = 66,500/87,200 = 0.76</a:t>
            </a:r>
          </a:p>
        </p:txBody>
      </p:sp>
    </p:spTree>
    <p:extLst>
      <p:ext uri="{BB962C8B-B14F-4D97-AF65-F5344CB8AC3E}">
        <p14:creationId xmlns:p14="http://schemas.microsoft.com/office/powerpoint/2010/main" val="37415996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08D62AD-89DC-4DA7-AA12-1176EDCA180B}"/>
              </a:ext>
            </a:extLst>
          </p:cNvPr>
          <p:cNvSpPr>
            <a:spLocks noGrp="1"/>
          </p:cNvSpPr>
          <p:nvPr>
            <p:ph type="title"/>
          </p:nvPr>
        </p:nvSpPr>
        <p:spPr/>
        <p:txBody>
          <a:bodyPr/>
          <a:lstStyle/>
          <a:p>
            <a:r>
              <a:rPr lang="en-GB" dirty="0"/>
              <a:t>An Example (3)</a:t>
            </a:r>
          </a:p>
        </p:txBody>
      </p:sp>
      <p:sp>
        <p:nvSpPr>
          <p:cNvPr id="5" name="Text Placeholder 4">
            <a:extLst>
              <a:ext uri="{FF2B5EF4-FFF2-40B4-BE49-F238E27FC236}">
                <a16:creationId xmlns:a16="http://schemas.microsoft.com/office/drawing/2014/main" id="{C48021B3-4B44-4C07-B42B-3ECF9F83FA23}"/>
              </a:ext>
            </a:extLst>
          </p:cNvPr>
          <p:cNvSpPr>
            <a:spLocks noGrp="1"/>
          </p:cNvSpPr>
          <p:nvPr>
            <p:ph type="body" sz="quarter" idx="16"/>
          </p:nvPr>
        </p:nvSpPr>
        <p:spPr>
          <a:xfrm>
            <a:off x="432001" y="1416667"/>
            <a:ext cx="11327399" cy="5170198"/>
          </a:xfrm>
        </p:spPr>
        <p:txBody>
          <a:bodyPr/>
          <a:lstStyle/>
          <a:p>
            <a:r>
              <a:rPr lang="en-GB" dirty="0"/>
              <a:t>2 – Adding (rather than multiplying) percentages to a value</a:t>
            </a:r>
          </a:p>
          <a:p>
            <a:endParaRPr lang="en-GB" dirty="0"/>
          </a:p>
          <a:p>
            <a:endParaRPr lang="en-GB" dirty="0"/>
          </a:p>
          <a:p>
            <a:endParaRPr lang="en-GB" dirty="0"/>
          </a:p>
          <a:p>
            <a:endParaRPr lang="en-GB" dirty="0"/>
          </a:p>
          <a:p>
            <a:pPr marL="380990" lvl="1" indent="-380990">
              <a:buClr>
                <a:schemeClr val="accent1"/>
              </a:buClr>
              <a:buFont typeface="Arial" panose="020B0604020202020204" pitchFamily="34" charset="0"/>
              <a:buChar char="•"/>
            </a:pPr>
            <a:r>
              <a:rPr lang="en-GB" dirty="0"/>
              <a:t>The variable RD is a percentage, whilst IA is a £ value. Assume RD = 59%, IA = £1m and the blue box is corrected as per the previous slide.</a:t>
            </a:r>
          </a:p>
          <a:p>
            <a:pPr marL="380990" lvl="1" indent="-380990">
              <a:buClr>
                <a:schemeClr val="accent1"/>
              </a:buClr>
              <a:buFont typeface="Arial" panose="020B0604020202020204" pitchFamily="34" charset="0"/>
              <a:buChar char="•"/>
            </a:pPr>
            <a:r>
              <a:rPr lang="en-GB" dirty="0"/>
              <a:t>This results in;</a:t>
            </a:r>
          </a:p>
          <a:p>
            <a:pPr lvl="1">
              <a:buClr>
                <a:schemeClr val="accent1"/>
              </a:buClr>
            </a:pPr>
            <a:r>
              <a:rPr lang="en-GB" dirty="0"/>
              <a:t>	0.32 x 0.59 + £1,000,000 = £1,000,000.19 </a:t>
            </a:r>
          </a:p>
          <a:p>
            <a:pPr marL="380990" lvl="1" indent="-380990">
              <a:buClr>
                <a:schemeClr val="accent1"/>
              </a:buClr>
              <a:buFont typeface="Arial" panose="020B0604020202020204" pitchFamily="34" charset="0"/>
              <a:buChar char="•"/>
            </a:pPr>
            <a:r>
              <a:rPr lang="en-GB" dirty="0"/>
              <a:t>We believe the intent is multiplicative so that;</a:t>
            </a:r>
          </a:p>
          <a:p>
            <a:pPr lvl="1">
              <a:buClr>
                <a:schemeClr val="accent1"/>
              </a:buClr>
            </a:pPr>
            <a:r>
              <a:rPr lang="en-GB" dirty="0"/>
              <a:t>	(1 + (0.32 x 0.59)) x £1,000,000 = £1,188,800</a:t>
            </a:r>
          </a:p>
          <a:p>
            <a:pPr marL="380990" lvl="1" indent="-380990">
              <a:buClr>
                <a:schemeClr val="accent1"/>
              </a:buClr>
              <a:buFont typeface="Arial" panose="020B0604020202020204" pitchFamily="34" charset="0"/>
              <a:buChar char="•"/>
            </a:pPr>
            <a:endParaRPr lang="en-GB" dirty="0"/>
          </a:p>
        </p:txBody>
      </p:sp>
      <p:pic>
        <p:nvPicPr>
          <p:cNvPr id="3" name="Picture 2">
            <a:extLst>
              <a:ext uri="{FF2B5EF4-FFF2-40B4-BE49-F238E27FC236}">
                <a16:creationId xmlns:a16="http://schemas.microsoft.com/office/drawing/2014/main" id="{1D0D2060-5213-4A0F-AE78-2B5BEBBC073E}"/>
              </a:ext>
            </a:extLst>
          </p:cNvPr>
          <p:cNvPicPr>
            <a:picLocks noChangeAspect="1"/>
          </p:cNvPicPr>
          <p:nvPr/>
        </p:nvPicPr>
        <p:blipFill>
          <a:blip r:embed="rId2"/>
          <a:stretch>
            <a:fillRect/>
          </a:stretch>
        </p:blipFill>
        <p:spPr>
          <a:xfrm>
            <a:off x="1295467" y="1935086"/>
            <a:ext cx="8400256" cy="1458377"/>
          </a:xfrm>
          <a:prstGeom prst="rect">
            <a:avLst/>
          </a:prstGeom>
        </p:spPr>
      </p:pic>
      <mc:AlternateContent xmlns:mc="http://schemas.openxmlformats.org/markup-compatibility/2006">
        <mc:Choice xmlns:a14="http://schemas.microsoft.com/office/drawing/2010/main" Requires="a14">
          <p:sp>
            <p:nvSpPr>
              <p:cNvPr id="2" name="Rectangle 1">
                <a:extLst>
                  <a:ext uri="{FF2B5EF4-FFF2-40B4-BE49-F238E27FC236}">
                    <a16:creationId xmlns:a16="http://schemas.microsoft.com/office/drawing/2014/main" id="{43E4FF3F-38EE-4CBE-AEE0-D35D49C21922}"/>
                  </a:ext>
                </a:extLst>
              </p:cNvPr>
              <p:cNvSpPr/>
              <p:nvPr/>
            </p:nvSpPr>
            <p:spPr>
              <a:xfrm>
                <a:off x="7419188" y="4399424"/>
                <a:ext cx="3786339" cy="469872"/>
              </a:xfrm>
              <a:prstGeom prst="rect">
                <a:avLst/>
              </a:prstGeom>
            </p:spPr>
            <p:txBody>
              <a:bodyPr wrap="square">
                <a:spAutoFit/>
              </a:bodyPr>
              <a:lstStyle/>
              <a:p>
                <a:pPr defTabSz="554478"/>
                <a14:m>
                  <m:oMathPara xmlns:m="http://schemas.openxmlformats.org/officeDocument/2006/math">
                    <m:oMathParaPr>
                      <m:jc m:val="centerGroup"/>
                    </m:oMathParaPr>
                    <m:oMath xmlns:m="http://schemas.openxmlformats.org/officeDocument/2006/math">
                      <m:r>
                        <a:rPr lang="en-GB" sz="1092" i="1">
                          <a:solidFill>
                            <a:srgbClr val="454545"/>
                          </a:solidFill>
                          <a:latin typeface="Cambria Math" panose="02040503050406030204" pitchFamily="18" charset="0"/>
                        </a:rPr>
                        <m:t>𝑚𝑎𝑥</m:t>
                      </m:r>
                      <m:d>
                        <m:dPr>
                          <m:ctrlPr>
                            <a:rPr lang="en-GB" sz="1092" i="1">
                              <a:solidFill>
                                <a:srgbClr val="454545"/>
                              </a:solidFill>
                              <a:latin typeface="Cambria Math" panose="02040503050406030204" pitchFamily="18" charset="0"/>
                            </a:rPr>
                          </m:ctrlPr>
                        </m:dPr>
                        <m:e>
                          <m:f>
                            <m:fPr>
                              <m:ctrlPr>
                                <a:rPr lang="en-GB" sz="1092" i="1">
                                  <a:solidFill>
                                    <a:srgbClr val="454545"/>
                                  </a:solidFill>
                                  <a:latin typeface="Cambria Math" panose="02040503050406030204" pitchFamily="18" charset="0"/>
                                </a:rPr>
                              </m:ctrlPr>
                            </m:fPr>
                            <m:num>
                              <m:r>
                                <a:rPr lang="en-GB" sz="1092">
                                  <a:solidFill>
                                    <a:srgbClr val="454545"/>
                                  </a:solidFill>
                                  <a:latin typeface="Cambria Math" panose="02040503050406030204" pitchFamily="18" charset="0"/>
                                </a:rPr>
                                <m:t>220</m:t>
                              </m:r>
                            </m:num>
                            <m:den>
                              <m:r>
                                <a:rPr lang="en-GB" sz="1092">
                                  <a:solidFill>
                                    <a:srgbClr val="454545"/>
                                  </a:solidFill>
                                  <a:latin typeface="Cambria Math" panose="02040503050406030204" pitchFamily="18" charset="0"/>
                                </a:rPr>
                                <m:t>135</m:t>
                              </m:r>
                            </m:den>
                          </m:f>
                          <m:r>
                            <a:rPr lang="en-GB" sz="1092">
                              <a:solidFill>
                                <a:srgbClr val="454545"/>
                              </a:solidFill>
                              <a:latin typeface="Cambria Math" panose="02040503050406030204" pitchFamily="18" charset="0"/>
                            </a:rPr>
                            <m:t>− </m:t>
                          </m:r>
                          <m:f>
                            <m:fPr>
                              <m:ctrlPr>
                                <a:rPr lang="en-GB" sz="1092" i="1">
                                  <a:solidFill>
                                    <a:srgbClr val="454545"/>
                                  </a:solidFill>
                                  <a:latin typeface="Cambria Math" panose="02040503050406030204" pitchFamily="18" charset="0"/>
                                </a:rPr>
                              </m:ctrlPr>
                            </m:fPr>
                            <m:num>
                              <m:r>
                                <a:rPr lang="en-GB" sz="1092">
                                  <a:solidFill>
                                    <a:srgbClr val="454545"/>
                                  </a:solidFill>
                                  <a:latin typeface="Cambria Math" panose="02040503050406030204" pitchFamily="18" charset="0"/>
                                </a:rPr>
                                <m:t>87,200</m:t>
                              </m:r>
                            </m:num>
                            <m:den>
                              <m:r>
                                <a:rPr lang="en-GB" sz="1092">
                                  <a:solidFill>
                                    <a:srgbClr val="454545"/>
                                  </a:solidFill>
                                  <a:latin typeface="Cambria Math" panose="02040503050406030204" pitchFamily="18" charset="0"/>
                                </a:rPr>
                                <m:t>66,500</m:t>
                              </m:r>
                            </m:den>
                          </m:f>
                          <m:r>
                            <a:rPr lang="en-GB" sz="1092">
                              <a:solidFill>
                                <a:srgbClr val="454545"/>
                              </a:solidFill>
                              <a:latin typeface="Cambria Math" panose="02040503050406030204" pitchFamily="18" charset="0"/>
                            </a:rPr>
                            <m:t>, 0</m:t>
                          </m:r>
                        </m:e>
                      </m:d>
                      <m:r>
                        <a:rPr lang="en-GB" sz="1092">
                          <a:solidFill>
                            <a:srgbClr val="454545"/>
                          </a:solidFill>
                          <a:latin typeface="Cambria Math" panose="02040503050406030204" pitchFamily="18" charset="0"/>
                        </a:rPr>
                        <m:t>=</m:t>
                      </m:r>
                      <m:r>
                        <a:rPr lang="en-GB" sz="1092" i="1">
                          <a:solidFill>
                            <a:srgbClr val="454545"/>
                          </a:solidFill>
                          <a:latin typeface="Cambria Math" panose="02040503050406030204" pitchFamily="18" charset="0"/>
                        </a:rPr>
                        <m:t>𝑚𝑎𝑥</m:t>
                      </m:r>
                      <m:d>
                        <m:dPr>
                          <m:ctrlPr>
                            <a:rPr lang="en-GB" sz="1092" i="1">
                              <a:solidFill>
                                <a:srgbClr val="454545"/>
                              </a:solidFill>
                              <a:latin typeface="Cambria Math" panose="02040503050406030204" pitchFamily="18" charset="0"/>
                            </a:rPr>
                          </m:ctrlPr>
                        </m:dPr>
                        <m:e>
                          <m:r>
                            <a:rPr lang="en-GB" sz="1092">
                              <a:solidFill>
                                <a:srgbClr val="454545"/>
                              </a:solidFill>
                              <a:latin typeface="Cambria Math" panose="02040503050406030204" pitchFamily="18" charset="0"/>
                            </a:rPr>
                            <m:t>1.63− 1.31, 0</m:t>
                          </m:r>
                        </m:e>
                      </m:d>
                      <m:r>
                        <a:rPr lang="en-GB" sz="1092">
                          <a:solidFill>
                            <a:srgbClr val="454545"/>
                          </a:solidFill>
                          <a:latin typeface="Cambria Math" panose="02040503050406030204" pitchFamily="18" charset="0"/>
                        </a:rPr>
                        <m:t>=0.32</m:t>
                      </m:r>
                    </m:oMath>
                  </m:oMathPara>
                </a14:m>
                <a:endParaRPr lang="en-GB" sz="1092" dirty="0">
                  <a:solidFill>
                    <a:srgbClr val="454545"/>
                  </a:solidFill>
                  <a:latin typeface="Arial" panose="020B0604020202020204"/>
                </a:endParaRPr>
              </a:p>
            </p:txBody>
          </p:sp>
        </mc:Choice>
        <mc:Fallback>
          <p:sp>
            <p:nvSpPr>
              <p:cNvPr id="2" name="Rectangle 1">
                <a:extLst>
                  <a:ext uri="{FF2B5EF4-FFF2-40B4-BE49-F238E27FC236}">
                    <a16:creationId xmlns:a16="http://schemas.microsoft.com/office/drawing/2014/main" id="{43E4FF3F-38EE-4CBE-AEE0-D35D49C21922}"/>
                  </a:ext>
                </a:extLst>
              </p:cNvPr>
              <p:cNvSpPr>
                <a:spLocks noRot="1" noChangeAspect="1" noMove="1" noResize="1" noEditPoints="1" noAdjustHandles="1" noChangeArrowheads="1" noChangeShapeType="1" noTextEdit="1"/>
              </p:cNvSpPr>
              <p:nvPr/>
            </p:nvSpPr>
            <p:spPr>
              <a:xfrm>
                <a:off x="7419188" y="4399424"/>
                <a:ext cx="3786339" cy="469872"/>
              </a:xfrm>
              <a:prstGeom prst="rect">
                <a:avLst/>
              </a:prstGeom>
              <a:blipFill>
                <a:blip r:embed="rId3"/>
                <a:stretch>
                  <a:fillRect/>
                </a:stretch>
              </a:blipFill>
            </p:spPr>
            <p:txBody>
              <a:bodyPr/>
              <a:lstStyle/>
              <a:p>
                <a:r>
                  <a:rPr lang="en-GB">
                    <a:noFill/>
                  </a:rPr>
                  <a:t> </a:t>
                </a:r>
              </a:p>
            </p:txBody>
          </p:sp>
        </mc:Fallback>
      </mc:AlternateContent>
      <p:sp>
        <p:nvSpPr>
          <p:cNvPr id="6" name="Rectangle 5">
            <a:extLst>
              <a:ext uri="{FF2B5EF4-FFF2-40B4-BE49-F238E27FC236}">
                <a16:creationId xmlns:a16="http://schemas.microsoft.com/office/drawing/2014/main" id="{FB9F8F0B-C43C-4E84-B7A1-366A44FFE023}"/>
              </a:ext>
            </a:extLst>
          </p:cNvPr>
          <p:cNvSpPr/>
          <p:nvPr/>
        </p:nvSpPr>
        <p:spPr>
          <a:xfrm>
            <a:off x="4391472" y="2614819"/>
            <a:ext cx="2760645" cy="864096"/>
          </a:xfrm>
          <a:prstGeom prst="rect">
            <a:avLst/>
          </a:prstGeom>
          <a:solidFill>
            <a:schemeClr val="accent3">
              <a:alpha val="30000"/>
            </a:schemeClr>
          </a:solidFill>
          <a:ln>
            <a:solidFill>
              <a:schemeClr val="bg1"/>
            </a:solidFill>
          </a:ln>
        </p:spPr>
        <p:txBody>
          <a:bodyPr wrap="square" lIns="0" tIns="0" rIns="0" bIns="0" rtlCol="0" anchor="ctr">
            <a:noAutofit/>
          </a:bodyPr>
          <a:lstStyle/>
          <a:p>
            <a:pPr algn="ctr" defTabSz="554478"/>
            <a:endParaRPr lang="en-GB" sz="2133" dirty="0">
              <a:solidFill>
                <a:srgbClr val="454545"/>
              </a:solidFill>
              <a:latin typeface="Arial" panose="020B0604020202020204"/>
              <a:cs typeface="Helvetica" charset="0"/>
            </a:endParaRPr>
          </a:p>
        </p:txBody>
      </p:sp>
      <p:sp>
        <p:nvSpPr>
          <p:cNvPr id="7" name="Rectangle 6">
            <a:extLst>
              <a:ext uri="{FF2B5EF4-FFF2-40B4-BE49-F238E27FC236}">
                <a16:creationId xmlns:a16="http://schemas.microsoft.com/office/drawing/2014/main" id="{0421CDB8-F0BD-4C43-9091-177610F3E6AC}"/>
              </a:ext>
            </a:extLst>
          </p:cNvPr>
          <p:cNvSpPr/>
          <p:nvPr/>
        </p:nvSpPr>
        <p:spPr>
          <a:xfrm>
            <a:off x="8015583" y="2584048"/>
            <a:ext cx="864727" cy="864096"/>
          </a:xfrm>
          <a:prstGeom prst="rect">
            <a:avLst/>
          </a:prstGeom>
          <a:solidFill>
            <a:srgbClr val="FF0000">
              <a:alpha val="30000"/>
            </a:srgbClr>
          </a:solidFill>
          <a:ln>
            <a:solidFill>
              <a:schemeClr val="bg1"/>
            </a:solidFill>
          </a:ln>
        </p:spPr>
        <p:txBody>
          <a:bodyPr wrap="square" lIns="0" tIns="0" rIns="0" bIns="0" rtlCol="0" anchor="ctr">
            <a:noAutofit/>
          </a:bodyPr>
          <a:lstStyle/>
          <a:p>
            <a:pPr algn="ctr" defTabSz="554478"/>
            <a:endParaRPr lang="en-GB" sz="2133" dirty="0">
              <a:solidFill>
                <a:srgbClr val="454545"/>
              </a:solidFill>
              <a:latin typeface="Arial" panose="020B0604020202020204"/>
              <a:cs typeface="Helvetica" charset="0"/>
            </a:endParaRPr>
          </a:p>
        </p:txBody>
      </p:sp>
      <p:sp>
        <p:nvSpPr>
          <p:cNvPr id="8" name="Rectangle 7">
            <a:extLst>
              <a:ext uri="{FF2B5EF4-FFF2-40B4-BE49-F238E27FC236}">
                <a16:creationId xmlns:a16="http://schemas.microsoft.com/office/drawing/2014/main" id="{AB0B279A-9322-450D-B041-5A01082FB2FE}"/>
              </a:ext>
            </a:extLst>
          </p:cNvPr>
          <p:cNvSpPr/>
          <p:nvPr/>
        </p:nvSpPr>
        <p:spPr>
          <a:xfrm>
            <a:off x="7536160" y="4217744"/>
            <a:ext cx="3552395" cy="864096"/>
          </a:xfrm>
          <a:prstGeom prst="rect">
            <a:avLst/>
          </a:prstGeom>
          <a:solidFill>
            <a:schemeClr val="accent3">
              <a:alpha val="30000"/>
            </a:schemeClr>
          </a:solidFill>
          <a:ln>
            <a:solidFill>
              <a:schemeClr val="bg1"/>
            </a:solidFill>
          </a:ln>
        </p:spPr>
        <p:txBody>
          <a:bodyPr wrap="square" lIns="0" tIns="0" rIns="0" bIns="0" rtlCol="0" anchor="ctr">
            <a:noAutofit/>
          </a:bodyPr>
          <a:lstStyle/>
          <a:p>
            <a:pPr algn="ctr" defTabSz="554478"/>
            <a:endParaRPr lang="en-GB" sz="2133" dirty="0">
              <a:solidFill>
                <a:srgbClr val="454545"/>
              </a:solidFill>
              <a:latin typeface="Arial" panose="020B0604020202020204"/>
              <a:cs typeface="Helvetica" charset="0"/>
            </a:endParaRPr>
          </a:p>
        </p:txBody>
      </p:sp>
      <p:cxnSp>
        <p:nvCxnSpPr>
          <p:cNvPr id="11" name="Straight Arrow Connector 10">
            <a:extLst>
              <a:ext uri="{FF2B5EF4-FFF2-40B4-BE49-F238E27FC236}">
                <a16:creationId xmlns:a16="http://schemas.microsoft.com/office/drawing/2014/main" id="{EB4C03DD-0A3B-4459-B9E0-6EADA4393A05}"/>
              </a:ext>
            </a:extLst>
          </p:cNvPr>
          <p:cNvCxnSpPr>
            <a:cxnSpLocks/>
          </p:cNvCxnSpPr>
          <p:nvPr/>
        </p:nvCxnSpPr>
        <p:spPr>
          <a:xfrm>
            <a:off x="6987456" y="3393463"/>
            <a:ext cx="662501" cy="861437"/>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0E602D1-8955-4A7D-B38A-A2435E7E7564}"/>
              </a:ext>
            </a:extLst>
          </p:cNvPr>
          <p:cNvCxnSpPr>
            <a:cxnSpLocks/>
          </p:cNvCxnSpPr>
          <p:nvPr/>
        </p:nvCxnSpPr>
        <p:spPr>
          <a:xfrm flipH="1">
            <a:off x="2094968" y="4485117"/>
            <a:ext cx="5441193" cy="462544"/>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56584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5689A-C375-43FA-9B00-7F6913C5DC6D}"/>
              </a:ext>
            </a:extLst>
          </p:cNvPr>
          <p:cNvSpPr>
            <a:spLocks noGrp="1"/>
          </p:cNvSpPr>
          <p:nvPr>
            <p:ph type="title"/>
          </p:nvPr>
        </p:nvSpPr>
        <p:spPr/>
        <p:txBody>
          <a:bodyPr/>
          <a:lstStyle/>
          <a:p>
            <a:r>
              <a:rPr lang="en-GB" dirty="0"/>
              <a:t>What’s the proposed solution</a:t>
            </a:r>
          </a:p>
        </p:txBody>
      </p:sp>
      <mc:AlternateContent xmlns:mc="http://schemas.openxmlformats.org/markup-compatibility/2006">
        <mc:Choice xmlns:a14="http://schemas.microsoft.com/office/drawing/2010/main" Requires="a14">
          <p:sp>
            <p:nvSpPr>
              <p:cNvPr id="10" name="Text Placeholder 9">
                <a:extLst>
                  <a:ext uri="{FF2B5EF4-FFF2-40B4-BE49-F238E27FC236}">
                    <a16:creationId xmlns:a16="http://schemas.microsoft.com/office/drawing/2014/main" id="{16E55317-8425-4743-803D-B757134B2595}"/>
                  </a:ext>
                </a:extLst>
              </p:cNvPr>
              <p:cNvSpPr>
                <a:spLocks noGrp="1"/>
              </p:cNvSpPr>
              <p:nvPr>
                <p:ph type="body" sz="quarter" idx="16"/>
              </p:nvPr>
            </p:nvSpPr>
            <p:spPr>
              <a:xfrm>
                <a:off x="431401" y="1124744"/>
                <a:ext cx="11424641" cy="5160131"/>
              </a:xfrm>
            </p:spPr>
            <p:txBody>
              <a:bodyPr/>
              <a:lstStyle/>
              <a:p>
                <a:pPr lvl="2"/>
                <a:r>
                  <a:rPr lang="en-GB" dirty="0"/>
                  <a:t>Revise the formulas in point 5 (HH) and point 8 (NHH) in Appendix 2 of CUSC Section 3 so that the 2 issues are corrected and the intent of the CUSC is maintained</a:t>
                </a:r>
              </a:p>
              <a:p>
                <a:pPr lvl="2"/>
                <a:r>
                  <a:rPr lang="en-GB" dirty="0"/>
                  <a:t>These revised formulas are;</a:t>
                </a:r>
              </a:p>
              <a:p>
                <a:pPr marL="0" lvl="2" indent="0">
                  <a:buNone/>
                </a:pPr>
                <a14:m>
                  <m:oMathPara xmlns:m="http://schemas.openxmlformats.org/officeDocument/2006/math">
                    <m:oMathParaPr>
                      <m:jc m:val="centerGroup"/>
                    </m:oMathParaPr>
                    <m:oMath xmlns:m="http://schemas.openxmlformats.org/officeDocument/2006/math">
                      <m:sSub>
                        <m:sSubPr>
                          <m:ctrlPr>
                            <a:rPr lang="en-GB" i="1">
                              <a:latin typeface="Cambria Math" panose="02040503050406030204" pitchFamily="18" charset="0"/>
                            </a:rPr>
                          </m:ctrlPr>
                        </m:sSubPr>
                        <m:e>
                          <m:r>
                            <a:rPr lang="en-GB" i="1">
                              <a:latin typeface="Cambria Math" panose="02040503050406030204" pitchFamily="18" charset="0"/>
                            </a:rPr>
                            <m:t>𝑅𝐼𝐴</m:t>
                          </m:r>
                        </m:e>
                        <m:sub>
                          <m:r>
                            <a:rPr lang="en-GB" i="1">
                              <a:latin typeface="Cambria Math" panose="02040503050406030204" pitchFamily="18" charset="0"/>
                            </a:rPr>
                            <m:t>𝐻𝐻</m:t>
                          </m:r>
                          <m:r>
                            <a:rPr lang="en-GB" i="1">
                              <a:latin typeface="Cambria Math" panose="02040503050406030204" pitchFamily="18" charset="0"/>
                            </a:rPr>
                            <m:t>, </m:t>
                          </m:r>
                          <m:r>
                            <a:rPr lang="en-GB" i="1">
                              <a:latin typeface="Cambria Math" panose="02040503050406030204" pitchFamily="18" charset="0"/>
                            </a:rPr>
                            <m:t>𝑚</m:t>
                          </m:r>
                        </m:sub>
                      </m:sSub>
                      <m:r>
                        <a:rPr lang="en-GB" i="1">
                          <a:latin typeface="Cambria Math" panose="02040503050406030204" pitchFamily="18" charset="0"/>
                        </a:rPr>
                        <m:t>= </m:t>
                      </m:r>
                      <m:r>
                        <a:rPr lang="en-GB" i="1">
                          <a:latin typeface="Cambria Math" panose="02040503050406030204" pitchFamily="18" charset="0"/>
                        </a:rPr>
                        <m:t>𝑚𝑖𝑛</m:t>
                      </m:r>
                      <m:d>
                        <m:dPr>
                          <m:begChr m:val="["/>
                          <m:endChr m:val="]"/>
                          <m:ctrlPr>
                            <a:rPr lang="en-GB" i="1">
                              <a:latin typeface="Cambria Math" panose="02040503050406030204" pitchFamily="18" charset="0"/>
                            </a:rPr>
                          </m:ctrlPr>
                        </m:dPr>
                        <m:e>
                          <m:d>
                            <m:dPr>
                              <m:ctrlPr>
                                <a:rPr lang="en-GB" i="1">
                                  <a:latin typeface="Cambria Math" panose="02040503050406030204" pitchFamily="18" charset="0"/>
                                </a:rPr>
                              </m:ctrlPr>
                            </m:dPr>
                            <m:e>
                              <m:r>
                                <a:rPr lang="en-GB" i="1">
                                  <a:latin typeface="Cambria Math" panose="02040503050406030204" pitchFamily="18" charset="0"/>
                                </a:rPr>
                                <m:t>1+</m:t>
                              </m:r>
                              <m:d>
                                <m:dPr>
                                  <m:begChr m:val="["/>
                                  <m:endChr m:val="]"/>
                                  <m:ctrlPr>
                                    <a:rPr lang="en-GB" i="1">
                                      <a:latin typeface="Cambria Math" panose="02040503050406030204" pitchFamily="18" charset="0"/>
                                    </a:rPr>
                                  </m:ctrlPr>
                                </m:dPr>
                                <m:e>
                                  <m:r>
                                    <a:rPr lang="en-GB" i="1">
                                      <a:latin typeface="Cambria Math" panose="02040503050406030204" pitchFamily="18" charset="0"/>
                                    </a:rPr>
                                    <m:t>𝑚𝑎𝑥</m:t>
                                  </m:r>
                                  <m:d>
                                    <m:dPr>
                                      <m:ctrlPr>
                                        <a:rPr lang="en-GB" i="1">
                                          <a:latin typeface="Cambria Math" panose="02040503050406030204" pitchFamily="18" charset="0"/>
                                        </a:rPr>
                                      </m:ctrlPr>
                                    </m:dPr>
                                    <m:e>
                                      <m:f>
                                        <m:fPr>
                                          <m:ctrlPr>
                                            <a:rPr lang="en-GB" i="1">
                                              <a:latin typeface="Cambria Math" panose="02040503050406030204" pitchFamily="18" charset="0"/>
                                            </a:rPr>
                                          </m:ctrlPr>
                                        </m:fPr>
                                        <m:num>
                                          <m:sSub>
                                            <m:sSubPr>
                                              <m:ctrlPr>
                                                <a:rPr lang="en-GB" i="1">
                                                  <a:latin typeface="Cambria Math" panose="02040503050406030204" pitchFamily="18" charset="0"/>
                                                </a:rPr>
                                              </m:ctrlPr>
                                            </m:sSubPr>
                                            <m:e>
                                              <m:r>
                                                <a:rPr lang="en-GB" i="1">
                                                  <a:latin typeface="Cambria Math" panose="02040503050406030204" pitchFamily="18" charset="0"/>
                                                </a:rPr>
                                                <m:t>𝐷𝑈𝐵</m:t>
                                              </m:r>
                                            </m:e>
                                            <m:sub>
                                              <m:r>
                                                <a:rPr lang="en-GB" i="1">
                                                  <a:latin typeface="Cambria Math" panose="02040503050406030204" pitchFamily="18" charset="0"/>
                                                </a:rPr>
                                                <m:t>𝐻𝐻</m:t>
                                              </m:r>
                                              <m:r>
                                                <a:rPr lang="en-GB" i="1">
                                                  <a:latin typeface="Cambria Math" panose="02040503050406030204" pitchFamily="18" charset="0"/>
                                                </a:rPr>
                                                <m:t>,</m:t>
                                              </m:r>
                                              <m:r>
                                                <a:rPr lang="en-GB" i="1">
                                                  <a:latin typeface="Cambria Math" panose="02040503050406030204" pitchFamily="18" charset="0"/>
                                                </a:rPr>
                                                <m:t>𝑝</m:t>
                                              </m:r>
                                            </m:sub>
                                          </m:sSub>
                                        </m:num>
                                        <m:den>
                                          <m:sSub>
                                            <m:sSubPr>
                                              <m:ctrlPr>
                                                <a:rPr lang="en-GB" i="1">
                                                  <a:latin typeface="Cambria Math" panose="02040503050406030204" pitchFamily="18" charset="0"/>
                                                </a:rPr>
                                              </m:ctrlPr>
                                            </m:sSubPr>
                                            <m:e>
                                              <m:r>
                                                <a:rPr lang="en-GB" i="1">
                                                  <a:latin typeface="Cambria Math" panose="02040503050406030204" pitchFamily="18" charset="0"/>
                                                </a:rPr>
                                                <m:t>𝐷𝑈𝐴</m:t>
                                              </m:r>
                                            </m:e>
                                            <m:sub>
                                              <m:r>
                                                <a:rPr lang="en-GB" i="1">
                                                  <a:latin typeface="Cambria Math" panose="02040503050406030204" pitchFamily="18" charset="0"/>
                                                </a:rPr>
                                                <m:t>𝐻𝐻</m:t>
                                              </m:r>
                                              <m:r>
                                                <a:rPr lang="en-GB" i="1">
                                                  <a:latin typeface="Cambria Math" panose="02040503050406030204" pitchFamily="18" charset="0"/>
                                                </a:rPr>
                                                <m:t>,</m:t>
                                              </m:r>
                                              <m:r>
                                                <a:rPr lang="en-GB" i="1">
                                                  <a:latin typeface="Cambria Math" panose="02040503050406030204" pitchFamily="18" charset="0"/>
                                                </a:rPr>
                                                <m:t>𝑝</m:t>
                                              </m:r>
                                            </m:sub>
                                          </m:sSub>
                                        </m:den>
                                      </m:f>
                                      <m:r>
                                        <a:rPr lang="en-GB" i="1">
                                          <a:latin typeface="Cambria Math" panose="02040503050406030204" pitchFamily="18" charset="0"/>
                                        </a:rPr>
                                        <m:t>− </m:t>
                                      </m:r>
                                      <m:f>
                                        <m:fPr>
                                          <m:ctrlPr>
                                            <a:rPr lang="en-GB" i="1">
                                              <a:latin typeface="Cambria Math" panose="02040503050406030204" pitchFamily="18" charset="0"/>
                                            </a:rPr>
                                          </m:ctrlPr>
                                        </m:fPr>
                                        <m:num>
                                          <m:sSub>
                                            <m:sSubPr>
                                              <m:ctrlPr>
                                                <a:rPr lang="en-GB" i="1">
                                                  <a:latin typeface="Cambria Math" panose="02040503050406030204" pitchFamily="18" charset="0"/>
                                                </a:rPr>
                                              </m:ctrlPr>
                                            </m:sSubPr>
                                            <m:e>
                                              <m:r>
                                                <a:rPr lang="en-GB" i="1">
                                                  <a:latin typeface="Cambria Math" panose="02040503050406030204" pitchFamily="18" charset="0"/>
                                                </a:rPr>
                                                <m:t>𝐷𝑆𝐵</m:t>
                                              </m:r>
                                            </m:e>
                                            <m:sub>
                                              <m:r>
                                                <a:rPr lang="en-GB" i="1">
                                                  <a:latin typeface="Cambria Math" panose="02040503050406030204" pitchFamily="18" charset="0"/>
                                                </a:rPr>
                                                <m:t>𝐻𝐻</m:t>
                                              </m:r>
                                              <m:r>
                                                <a:rPr lang="en-GB" i="1">
                                                  <a:latin typeface="Cambria Math" panose="02040503050406030204" pitchFamily="18" charset="0"/>
                                                </a:rPr>
                                                <m:t>,</m:t>
                                              </m:r>
                                              <m:r>
                                                <a:rPr lang="en-GB" i="1">
                                                  <a:latin typeface="Cambria Math" panose="02040503050406030204" pitchFamily="18" charset="0"/>
                                                </a:rPr>
                                                <m:t>𝑝</m:t>
                                              </m:r>
                                            </m:sub>
                                          </m:sSub>
                                        </m:num>
                                        <m:den>
                                          <m:sSub>
                                            <m:sSubPr>
                                              <m:ctrlPr>
                                                <a:rPr lang="en-GB" i="1">
                                                  <a:latin typeface="Cambria Math" panose="02040503050406030204" pitchFamily="18" charset="0"/>
                                                </a:rPr>
                                              </m:ctrlPr>
                                            </m:sSubPr>
                                            <m:e>
                                              <m:r>
                                                <a:rPr lang="en-GB" i="1">
                                                  <a:latin typeface="Cambria Math" panose="02040503050406030204" pitchFamily="18" charset="0"/>
                                                </a:rPr>
                                                <m:t>𝐷𝑆𝐴</m:t>
                                              </m:r>
                                            </m:e>
                                            <m:sub>
                                              <m:r>
                                                <a:rPr lang="en-GB" i="1">
                                                  <a:latin typeface="Cambria Math" panose="02040503050406030204" pitchFamily="18" charset="0"/>
                                                </a:rPr>
                                                <m:t>𝐻𝐻</m:t>
                                              </m:r>
                                              <m:r>
                                                <a:rPr lang="en-GB" i="1">
                                                  <a:latin typeface="Cambria Math" panose="02040503050406030204" pitchFamily="18" charset="0"/>
                                                </a:rPr>
                                                <m:t>,</m:t>
                                              </m:r>
                                              <m:r>
                                                <a:rPr lang="en-GB" i="1">
                                                  <a:latin typeface="Cambria Math" panose="02040503050406030204" pitchFamily="18" charset="0"/>
                                                </a:rPr>
                                                <m:t>𝑝</m:t>
                                              </m:r>
                                            </m:sub>
                                          </m:sSub>
                                        </m:den>
                                      </m:f>
                                      <m:r>
                                        <a:rPr lang="en-GB" i="1">
                                          <a:latin typeface="Cambria Math" panose="02040503050406030204" pitchFamily="18" charset="0"/>
                                        </a:rPr>
                                        <m:t>, 0</m:t>
                                      </m:r>
                                    </m:e>
                                  </m:d>
                                  <m:r>
                                    <a:rPr lang="en-GB" i="1">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𝑅𝐷</m:t>
                                      </m:r>
                                    </m:e>
                                    <m:sub>
                                      <m:r>
                                        <a:rPr lang="en-GB" i="1">
                                          <a:latin typeface="Cambria Math" panose="02040503050406030204" pitchFamily="18" charset="0"/>
                                        </a:rPr>
                                        <m:t>𝐻𝐻</m:t>
                                      </m:r>
                                      <m:r>
                                        <a:rPr lang="en-GB" i="1">
                                          <a:latin typeface="Cambria Math" panose="02040503050406030204" pitchFamily="18" charset="0"/>
                                        </a:rPr>
                                        <m:t>,</m:t>
                                      </m:r>
                                      <m:r>
                                        <a:rPr lang="en-GB" i="1">
                                          <a:latin typeface="Cambria Math" panose="02040503050406030204" pitchFamily="18" charset="0"/>
                                        </a:rPr>
                                        <m:t>𝑝</m:t>
                                      </m:r>
                                    </m:sub>
                                  </m:sSub>
                                </m:e>
                              </m:d>
                            </m:e>
                          </m:d>
                          <m:r>
                            <a:rPr lang="en-GB" i="1">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𝐼𝐴</m:t>
                              </m:r>
                            </m:e>
                            <m:sub>
                              <m:r>
                                <a:rPr lang="en-GB" i="1">
                                  <a:latin typeface="Cambria Math" panose="02040503050406030204" pitchFamily="18" charset="0"/>
                                </a:rPr>
                                <m:t>𝐻𝐻</m:t>
                              </m:r>
                              <m:r>
                                <a:rPr lang="en-GB" i="1">
                                  <a:latin typeface="Cambria Math" panose="02040503050406030204" pitchFamily="18" charset="0"/>
                                </a:rPr>
                                <m:t>,</m:t>
                              </m:r>
                              <m:r>
                                <a:rPr lang="en-GB" i="1">
                                  <a:latin typeface="Cambria Math" panose="02040503050406030204" pitchFamily="18" charset="0"/>
                                </a:rPr>
                                <m:t>𝑚</m:t>
                              </m:r>
                            </m:sub>
                          </m:sSub>
                          <m:r>
                            <a:rPr lang="en-GB" i="1">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𝐼𝐴</m:t>
                              </m:r>
                            </m:e>
                            <m:sub>
                              <m:r>
                                <a:rPr lang="en-GB" i="1">
                                  <a:latin typeface="Cambria Math" panose="02040503050406030204" pitchFamily="18" charset="0"/>
                                </a:rPr>
                                <m:t>𝐻𝐻</m:t>
                              </m:r>
                              <m:r>
                                <a:rPr lang="en-GB" i="1">
                                  <a:latin typeface="Cambria Math" panose="02040503050406030204" pitchFamily="18" charset="0"/>
                                </a:rPr>
                                <m:t>,</m:t>
                              </m:r>
                              <m:r>
                                <a:rPr lang="en-GB" i="1">
                                  <a:latin typeface="Cambria Math" panose="02040503050406030204" pitchFamily="18" charset="0"/>
                                </a:rPr>
                                <m:t>𝑝</m:t>
                              </m:r>
                            </m:sub>
                          </m:sSub>
                        </m:e>
                      </m:d>
                    </m:oMath>
                  </m:oMathPara>
                </a14:m>
                <a:endParaRPr lang="en-GB" dirty="0"/>
              </a:p>
              <a:p>
                <a:pPr lvl="2"/>
                <a:endParaRPr lang="en-GB" dirty="0"/>
              </a:p>
              <a:p>
                <a:pPr lvl="2"/>
                <a:endParaRPr lang="en-GB" dirty="0"/>
              </a:p>
              <a:p>
                <a:pPr marL="0" lvl="2" indent="0">
                  <a:buNone/>
                </a:pPr>
                <a14:m>
                  <m:oMathPara xmlns:m="http://schemas.openxmlformats.org/officeDocument/2006/math">
                    <m:oMathParaPr>
                      <m:jc m:val="centerGroup"/>
                    </m:oMathParaPr>
                    <m:oMath xmlns:m="http://schemas.openxmlformats.org/officeDocument/2006/math">
                      <m:sSub>
                        <m:sSubPr>
                          <m:ctrlPr>
                            <a:rPr lang="en-GB" i="1">
                              <a:latin typeface="Cambria Math" panose="02040503050406030204" pitchFamily="18" charset="0"/>
                            </a:rPr>
                          </m:ctrlPr>
                        </m:sSubPr>
                        <m:e>
                          <m:r>
                            <a:rPr lang="en-GB" i="1">
                              <a:latin typeface="Cambria Math" panose="02040503050406030204" pitchFamily="18" charset="0"/>
                            </a:rPr>
                            <m:t>𝑅𝐼𝐴</m:t>
                          </m:r>
                        </m:e>
                        <m:sub>
                          <m:r>
                            <a:rPr lang="en-GB" i="1">
                              <a:latin typeface="Cambria Math" panose="02040503050406030204" pitchFamily="18" charset="0"/>
                            </a:rPr>
                            <m:t>𝑁𝐻𝐻</m:t>
                          </m:r>
                          <m:r>
                            <a:rPr lang="en-GB" i="1">
                              <a:latin typeface="Cambria Math" panose="02040503050406030204" pitchFamily="18" charset="0"/>
                            </a:rPr>
                            <m:t>, </m:t>
                          </m:r>
                          <m:r>
                            <a:rPr lang="en-GB" i="1">
                              <a:latin typeface="Cambria Math" panose="02040503050406030204" pitchFamily="18" charset="0"/>
                            </a:rPr>
                            <m:t>𝑚</m:t>
                          </m:r>
                        </m:sub>
                      </m:sSub>
                      <m:r>
                        <a:rPr lang="en-GB" i="1">
                          <a:latin typeface="Cambria Math" panose="02040503050406030204" pitchFamily="18" charset="0"/>
                        </a:rPr>
                        <m:t>= </m:t>
                      </m:r>
                      <m:r>
                        <a:rPr lang="en-GB" i="1">
                          <a:latin typeface="Cambria Math" panose="02040503050406030204" pitchFamily="18" charset="0"/>
                        </a:rPr>
                        <m:t>𝑚𝑖𝑛</m:t>
                      </m:r>
                      <m:d>
                        <m:dPr>
                          <m:begChr m:val="["/>
                          <m:endChr m:val="]"/>
                          <m:ctrlPr>
                            <a:rPr lang="en-GB" i="1">
                              <a:latin typeface="Cambria Math" panose="02040503050406030204" pitchFamily="18" charset="0"/>
                            </a:rPr>
                          </m:ctrlPr>
                        </m:dPr>
                        <m:e>
                          <m:d>
                            <m:dPr>
                              <m:ctrlPr>
                                <a:rPr lang="en-GB" i="1">
                                  <a:latin typeface="Cambria Math" panose="02040503050406030204" pitchFamily="18" charset="0"/>
                                </a:rPr>
                              </m:ctrlPr>
                            </m:dPr>
                            <m:e>
                              <m:r>
                                <a:rPr lang="en-GB" i="1">
                                  <a:latin typeface="Cambria Math" panose="02040503050406030204" pitchFamily="18" charset="0"/>
                                </a:rPr>
                                <m:t>1+</m:t>
                              </m:r>
                              <m:d>
                                <m:dPr>
                                  <m:begChr m:val="["/>
                                  <m:endChr m:val="]"/>
                                  <m:ctrlPr>
                                    <a:rPr lang="en-GB" i="1">
                                      <a:latin typeface="Cambria Math" panose="02040503050406030204" pitchFamily="18" charset="0"/>
                                    </a:rPr>
                                  </m:ctrlPr>
                                </m:dPr>
                                <m:e>
                                  <m:r>
                                    <a:rPr lang="en-GB" i="1">
                                      <a:latin typeface="Cambria Math" panose="02040503050406030204" pitchFamily="18" charset="0"/>
                                    </a:rPr>
                                    <m:t>𝑚𝑎𝑥</m:t>
                                  </m:r>
                                  <m:d>
                                    <m:dPr>
                                      <m:ctrlPr>
                                        <a:rPr lang="en-GB" i="1">
                                          <a:latin typeface="Cambria Math" panose="02040503050406030204" pitchFamily="18" charset="0"/>
                                        </a:rPr>
                                      </m:ctrlPr>
                                    </m:dPr>
                                    <m:e>
                                      <m:f>
                                        <m:fPr>
                                          <m:ctrlPr>
                                            <a:rPr lang="en-GB" i="1">
                                              <a:latin typeface="Cambria Math" panose="02040503050406030204" pitchFamily="18" charset="0"/>
                                            </a:rPr>
                                          </m:ctrlPr>
                                        </m:fPr>
                                        <m:num>
                                          <m:sSub>
                                            <m:sSubPr>
                                              <m:ctrlPr>
                                                <a:rPr lang="en-GB" i="1">
                                                  <a:latin typeface="Cambria Math" panose="02040503050406030204" pitchFamily="18" charset="0"/>
                                                </a:rPr>
                                              </m:ctrlPr>
                                            </m:sSubPr>
                                            <m:e>
                                              <m:r>
                                                <a:rPr lang="en-GB" i="1">
                                                  <a:latin typeface="Cambria Math" panose="02040503050406030204" pitchFamily="18" charset="0"/>
                                                </a:rPr>
                                                <m:t>𝐷𝑈𝐵</m:t>
                                              </m:r>
                                            </m:e>
                                            <m:sub>
                                              <m:r>
                                                <a:rPr lang="en-GB" i="1">
                                                  <a:latin typeface="Cambria Math" panose="02040503050406030204" pitchFamily="18" charset="0"/>
                                                </a:rPr>
                                                <m:t>𝑁𝐻𝐻</m:t>
                                              </m:r>
                                              <m:r>
                                                <a:rPr lang="en-GB" i="1">
                                                  <a:latin typeface="Cambria Math" panose="02040503050406030204" pitchFamily="18" charset="0"/>
                                                </a:rPr>
                                                <m:t>,</m:t>
                                              </m:r>
                                              <m:r>
                                                <a:rPr lang="en-GB" i="1">
                                                  <a:latin typeface="Cambria Math" panose="02040503050406030204" pitchFamily="18" charset="0"/>
                                                </a:rPr>
                                                <m:t>𝑝</m:t>
                                              </m:r>
                                            </m:sub>
                                          </m:sSub>
                                        </m:num>
                                        <m:den>
                                          <m:sSub>
                                            <m:sSubPr>
                                              <m:ctrlPr>
                                                <a:rPr lang="en-GB" i="1">
                                                  <a:latin typeface="Cambria Math" panose="02040503050406030204" pitchFamily="18" charset="0"/>
                                                </a:rPr>
                                              </m:ctrlPr>
                                            </m:sSubPr>
                                            <m:e>
                                              <m:r>
                                                <a:rPr lang="en-GB" i="1">
                                                  <a:latin typeface="Cambria Math" panose="02040503050406030204" pitchFamily="18" charset="0"/>
                                                </a:rPr>
                                                <m:t>𝐷𝑈𝐴</m:t>
                                              </m:r>
                                            </m:e>
                                            <m:sub>
                                              <m:r>
                                                <a:rPr lang="en-GB" i="1">
                                                  <a:latin typeface="Cambria Math" panose="02040503050406030204" pitchFamily="18" charset="0"/>
                                                </a:rPr>
                                                <m:t>𝑁𝐻𝐻</m:t>
                                              </m:r>
                                              <m:r>
                                                <a:rPr lang="en-GB" i="1">
                                                  <a:latin typeface="Cambria Math" panose="02040503050406030204" pitchFamily="18" charset="0"/>
                                                </a:rPr>
                                                <m:t>,</m:t>
                                              </m:r>
                                              <m:r>
                                                <a:rPr lang="en-GB" i="1">
                                                  <a:latin typeface="Cambria Math" panose="02040503050406030204" pitchFamily="18" charset="0"/>
                                                </a:rPr>
                                                <m:t>𝑝</m:t>
                                              </m:r>
                                            </m:sub>
                                          </m:sSub>
                                        </m:den>
                                      </m:f>
                                      <m:r>
                                        <a:rPr lang="en-GB" i="1">
                                          <a:latin typeface="Cambria Math" panose="02040503050406030204" pitchFamily="18" charset="0"/>
                                        </a:rPr>
                                        <m:t>− </m:t>
                                      </m:r>
                                      <m:f>
                                        <m:fPr>
                                          <m:ctrlPr>
                                            <a:rPr lang="en-GB" i="1">
                                              <a:latin typeface="Cambria Math" panose="02040503050406030204" pitchFamily="18" charset="0"/>
                                            </a:rPr>
                                          </m:ctrlPr>
                                        </m:fPr>
                                        <m:num>
                                          <m:sSub>
                                            <m:sSubPr>
                                              <m:ctrlPr>
                                                <a:rPr lang="en-GB" i="1">
                                                  <a:latin typeface="Cambria Math" panose="02040503050406030204" pitchFamily="18" charset="0"/>
                                                </a:rPr>
                                              </m:ctrlPr>
                                            </m:sSubPr>
                                            <m:e>
                                              <m:r>
                                                <a:rPr lang="en-GB" i="1">
                                                  <a:latin typeface="Cambria Math" panose="02040503050406030204" pitchFamily="18" charset="0"/>
                                                </a:rPr>
                                                <m:t>𝐷𝑆𝐵</m:t>
                                              </m:r>
                                            </m:e>
                                            <m:sub>
                                              <m:r>
                                                <a:rPr lang="en-GB" i="1">
                                                  <a:latin typeface="Cambria Math" panose="02040503050406030204" pitchFamily="18" charset="0"/>
                                                </a:rPr>
                                                <m:t>𝑁𝐻𝐻</m:t>
                                              </m:r>
                                              <m:r>
                                                <a:rPr lang="en-GB" i="1">
                                                  <a:latin typeface="Cambria Math" panose="02040503050406030204" pitchFamily="18" charset="0"/>
                                                </a:rPr>
                                                <m:t>,</m:t>
                                              </m:r>
                                              <m:r>
                                                <a:rPr lang="en-GB" i="1">
                                                  <a:latin typeface="Cambria Math" panose="02040503050406030204" pitchFamily="18" charset="0"/>
                                                </a:rPr>
                                                <m:t>𝑝</m:t>
                                              </m:r>
                                            </m:sub>
                                          </m:sSub>
                                        </m:num>
                                        <m:den>
                                          <m:sSub>
                                            <m:sSubPr>
                                              <m:ctrlPr>
                                                <a:rPr lang="en-GB" i="1">
                                                  <a:latin typeface="Cambria Math" panose="02040503050406030204" pitchFamily="18" charset="0"/>
                                                </a:rPr>
                                              </m:ctrlPr>
                                            </m:sSubPr>
                                            <m:e>
                                              <m:r>
                                                <a:rPr lang="en-GB" i="1">
                                                  <a:latin typeface="Cambria Math" panose="02040503050406030204" pitchFamily="18" charset="0"/>
                                                </a:rPr>
                                                <m:t>𝐷𝑆𝐴</m:t>
                                              </m:r>
                                            </m:e>
                                            <m:sub>
                                              <m:r>
                                                <a:rPr lang="en-GB" i="1">
                                                  <a:latin typeface="Cambria Math" panose="02040503050406030204" pitchFamily="18" charset="0"/>
                                                </a:rPr>
                                                <m:t>𝑁𝐻𝐻</m:t>
                                              </m:r>
                                              <m:r>
                                                <a:rPr lang="en-GB" i="1">
                                                  <a:latin typeface="Cambria Math" panose="02040503050406030204" pitchFamily="18" charset="0"/>
                                                </a:rPr>
                                                <m:t>,</m:t>
                                              </m:r>
                                              <m:r>
                                                <a:rPr lang="en-GB" i="1">
                                                  <a:latin typeface="Cambria Math" panose="02040503050406030204" pitchFamily="18" charset="0"/>
                                                </a:rPr>
                                                <m:t>𝑝</m:t>
                                              </m:r>
                                            </m:sub>
                                          </m:sSub>
                                        </m:den>
                                      </m:f>
                                      <m:r>
                                        <a:rPr lang="en-GB" i="1">
                                          <a:latin typeface="Cambria Math" panose="02040503050406030204" pitchFamily="18" charset="0"/>
                                        </a:rPr>
                                        <m:t>, 0</m:t>
                                      </m:r>
                                    </m:e>
                                  </m:d>
                                  <m:r>
                                    <a:rPr lang="en-GB" i="1">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𝑅𝐷</m:t>
                                      </m:r>
                                    </m:e>
                                    <m:sub>
                                      <m:r>
                                        <a:rPr lang="en-GB" i="1">
                                          <a:latin typeface="Cambria Math" panose="02040503050406030204" pitchFamily="18" charset="0"/>
                                        </a:rPr>
                                        <m:t>𝑁𝐻𝐻</m:t>
                                      </m:r>
                                      <m:r>
                                        <a:rPr lang="en-GB" i="1">
                                          <a:latin typeface="Cambria Math" panose="02040503050406030204" pitchFamily="18" charset="0"/>
                                        </a:rPr>
                                        <m:t>,</m:t>
                                      </m:r>
                                      <m:r>
                                        <a:rPr lang="en-GB" i="1">
                                          <a:latin typeface="Cambria Math" panose="02040503050406030204" pitchFamily="18" charset="0"/>
                                        </a:rPr>
                                        <m:t>𝑝</m:t>
                                      </m:r>
                                    </m:sub>
                                  </m:sSub>
                                </m:e>
                              </m:d>
                            </m:e>
                          </m:d>
                          <m:r>
                            <a:rPr lang="en-GB" i="1">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𝐼𝐴</m:t>
                              </m:r>
                            </m:e>
                            <m:sub>
                              <m:r>
                                <a:rPr lang="en-GB" i="1">
                                  <a:latin typeface="Cambria Math" panose="02040503050406030204" pitchFamily="18" charset="0"/>
                                </a:rPr>
                                <m:t>𝑁𝐻𝐻</m:t>
                              </m:r>
                              <m:r>
                                <a:rPr lang="en-GB" i="1">
                                  <a:latin typeface="Cambria Math" panose="02040503050406030204" pitchFamily="18" charset="0"/>
                                </a:rPr>
                                <m:t>,</m:t>
                              </m:r>
                              <m:r>
                                <a:rPr lang="en-GB" i="1">
                                  <a:latin typeface="Cambria Math" panose="02040503050406030204" pitchFamily="18" charset="0"/>
                                </a:rPr>
                                <m:t>𝑚</m:t>
                              </m:r>
                            </m:sub>
                          </m:sSub>
                          <m:r>
                            <a:rPr lang="en-GB" i="1">
                              <a:latin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𝐼𝐴</m:t>
                              </m:r>
                            </m:e>
                            <m:sub>
                              <m:r>
                                <a:rPr lang="en-GB" i="1">
                                  <a:latin typeface="Cambria Math" panose="02040503050406030204" pitchFamily="18" charset="0"/>
                                </a:rPr>
                                <m:t>𝑁𝐻𝐻</m:t>
                              </m:r>
                              <m:r>
                                <a:rPr lang="en-GB" i="1">
                                  <a:latin typeface="Cambria Math" panose="02040503050406030204" pitchFamily="18" charset="0"/>
                                </a:rPr>
                                <m:t>,</m:t>
                              </m:r>
                              <m:r>
                                <a:rPr lang="en-GB" i="1">
                                  <a:latin typeface="Cambria Math" panose="02040503050406030204" pitchFamily="18" charset="0"/>
                                </a:rPr>
                                <m:t>𝑝</m:t>
                              </m:r>
                            </m:sub>
                          </m:sSub>
                        </m:e>
                      </m:d>
                    </m:oMath>
                  </m:oMathPara>
                </a14:m>
                <a:endParaRPr lang="en-GB" dirty="0"/>
              </a:p>
              <a:p>
                <a:pPr lvl="2"/>
                <a:endParaRPr lang="en-GB" dirty="0"/>
              </a:p>
              <a:p>
                <a:pPr lvl="8"/>
                <a:r>
                  <a:rPr lang="en-GB" dirty="0"/>
                  <a:t>Believe this modification should be fast track self governance due to correcting typographical errors.</a:t>
                </a:r>
              </a:p>
            </p:txBody>
          </p:sp>
        </mc:Choice>
        <mc:Fallback>
          <p:sp>
            <p:nvSpPr>
              <p:cNvPr id="10" name="Text Placeholder 9">
                <a:extLst>
                  <a:ext uri="{FF2B5EF4-FFF2-40B4-BE49-F238E27FC236}">
                    <a16:creationId xmlns:a16="http://schemas.microsoft.com/office/drawing/2014/main" id="{16E55317-8425-4743-803D-B757134B2595}"/>
                  </a:ext>
                </a:extLst>
              </p:cNvPr>
              <p:cNvSpPr>
                <a:spLocks noGrp="1" noRot="1" noChangeAspect="1" noMove="1" noResize="1" noEditPoints="1" noAdjustHandles="1" noChangeArrowheads="1" noChangeShapeType="1" noTextEdit="1"/>
              </p:cNvSpPr>
              <p:nvPr>
                <p:ph type="body" sz="quarter" idx="16"/>
              </p:nvPr>
            </p:nvSpPr>
            <p:spPr>
              <a:xfrm>
                <a:off x="431401" y="1124744"/>
                <a:ext cx="11424641" cy="5160131"/>
              </a:xfrm>
              <a:blipFill>
                <a:blip r:embed="rId2"/>
                <a:stretch>
                  <a:fillRect l="-2188" t="-1655" b="-3783"/>
                </a:stretch>
              </a:blipFill>
            </p:spPr>
            <p:txBody>
              <a:bodyPr/>
              <a:lstStyle/>
              <a:p>
                <a:r>
                  <a:rPr lang="en-GB">
                    <a:noFill/>
                  </a:rPr>
                  <a:t> </a:t>
                </a:r>
              </a:p>
            </p:txBody>
          </p:sp>
        </mc:Fallback>
      </mc:AlternateContent>
    </p:spTree>
    <p:extLst>
      <p:ext uri="{BB962C8B-B14F-4D97-AF65-F5344CB8AC3E}">
        <p14:creationId xmlns:p14="http://schemas.microsoft.com/office/powerpoint/2010/main" val="5275066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350920" cy="657605"/>
          </a:xfrm>
        </p:spPr>
        <p:txBody>
          <a:bodyPr/>
          <a:lstStyle/>
          <a:p>
            <a:r>
              <a:rPr lang="en-GB" altLang="en-US" sz="3600" b="1" dirty="0"/>
              <a:t>Justification for Fast Track Self-Governance</a:t>
            </a:r>
            <a:endParaRPr lang="en-GB" altLang="en-US" sz="1800" b="1" dirty="0"/>
          </a:p>
        </p:txBody>
      </p:sp>
      <p:sp>
        <p:nvSpPr>
          <p:cNvPr id="3" name="Rectangle 2"/>
          <p:cNvSpPr/>
          <p:nvPr/>
        </p:nvSpPr>
        <p:spPr>
          <a:xfrm>
            <a:off x="217303" y="977735"/>
            <a:ext cx="11521280" cy="379656"/>
          </a:xfrm>
          <a:prstGeom prst="rect">
            <a:avLst/>
          </a:prstGeom>
        </p:spPr>
        <p:txBody>
          <a:bodyPr wrap="square" anchor="t">
            <a:spAutoFit/>
          </a:bodyPr>
          <a:lstStyle/>
          <a:p>
            <a:pPr indent="-249265" algn="just"/>
            <a:endParaRPr lang="en-GB" sz="1600" dirty="0">
              <a:latin typeface="Arial" panose="020B0604020202020204" pitchFamily="34" charset="0"/>
              <a:ea typeface="+mn-lt"/>
              <a:cs typeface="Arial" panose="020B0604020202020204" pitchFamily="34" charset="0"/>
            </a:endParaRPr>
          </a:p>
          <a:p>
            <a:pPr defTabSz="554478">
              <a:defRPr/>
            </a:pPr>
            <a:endParaRPr lang="en-GB" altLang="en-US" sz="267" dirty="0">
              <a:solidFill>
                <a:srgbClr val="454545"/>
              </a:solidFill>
              <a:latin typeface="Arial" panose="020B0604020202020204"/>
            </a:endParaRPr>
          </a:p>
        </p:txBody>
      </p:sp>
      <p:sp>
        <p:nvSpPr>
          <p:cNvPr id="6" name="Rectangle 5">
            <a:extLst>
              <a:ext uri="{FF2B5EF4-FFF2-40B4-BE49-F238E27FC236}">
                <a16:creationId xmlns:a16="http://schemas.microsoft.com/office/drawing/2014/main" id="{8B8F2500-6CAB-46EA-8ACC-98B29482F0C7}"/>
              </a:ext>
            </a:extLst>
          </p:cNvPr>
          <p:cNvSpPr/>
          <p:nvPr/>
        </p:nvSpPr>
        <p:spPr>
          <a:xfrm>
            <a:off x="302125" y="770862"/>
            <a:ext cx="11521280" cy="5355312"/>
          </a:xfrm>
          <a:prstGeom prst="rect">
            <a:avLst/>
          </a:prstGeom>
        </p:spPr>
        <p:txBody>
          <a:bodyPr wrap="square">
            <a:spAutoFit/>
          </a:bodyPr>
          <a:lstStyle/>
          <a:p>
            <a:r>
              <a:rPr lang="en-GB" dirty="0">
                <a:latin typeface="Arial" panose="020B0604020202020204" pitchFamily="34" charset="0"/>
                <a:cs typeface="Arial" panose="020B0604020202020204" pitchFamily="34" charset="0"/>
              </a:rPr>
              <a:t>The Proposer recommends that this Modification follows the Fast Track Self-Governance procedure as the changes meet the required criteria as the Modification is required as a result of factual change, including but not limited to: </a:t>
            </a:r>
          </a:p>
          <a:p>
            <a:r>
              <a:rPr lang="en-US" dirty="0">
                <a:latin typeface="Arial" panose="020B0604020202020204" pitchFamily="34" charset="0"/>
                <a:cs typeface="Arial" panose="020B0604020202020204" pitchFamily="34" charset="0"/>
              </a:rPr>
              <a:t>iv) Updating out of date references to other documents or paragraphs.</a:t>
            </a:r>
            <a:endParaRPr lang="en-GB" b="1" i="1"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The Self-Governance criteria is met as the modification is unlikely to discriminate between different classes of CUSC Parties and is unlikely to have a material effect on:</a:t>
            </a:r>
            <a:endParaRPr lang="en-GB" dirty="0">
              <a:latin typeface="Arial" panose="020B0604020202020204" pitchFamily="34" charset="0"/>
              <a:cs typeface="Arial" panose="020B0604020202020204" pitchFamily="34" charset="0"/>
            </a:endParaRPr>
          </a:p>
          <a:p>
            <a:pPr lvl="0"/>
            <a:r>
              <a:rPr lang="en-GB" dirty="0">
                <a:latin typeface="Arial" panose="020B0604020202020204" pitchFamily="34" charset="0"/>
                <a:cs typeface="Arial" panose="020B0604020202020204" pitchFamily="34" charset="0"/>
              </a:rPr>
              <a:t> -Existing or future electricity customers;</a:t>
            </a:r>
          </a:p>
          <a:p>
            <a:pPr lvl="0"/>
            <a:r>
              <a:rPr lang="en-GB" dirty="0">
                <a:latin typeface="Arial" panose="020B0604020202020204" pitchFamily="34" charset="0"/>
                <a:cs typeface="Arial" panose="020B0604020202020204" pitchFamily="34" charset="0"/>
              </a:rPr>
              <a:t> -Competition in the generation, distribution, or supply of electricity or any commercial activities connected with the generation, distribution or supply of electricity,</a:t>
            </a:r>
          </a:p>
          <a:p>
            <a:pPr lvl="0"/>
            <a:r>
              <a:rPr lang="en-GB" dirty="0">
                <a:latin typeface="Arial" panose="020B0604020202020204" pitchFamily="34" charset="0"/>
                <a:cs typeface="Arial" panose="020B0604020202020204" pitchFamily="34" charset="0"/>
              </a:rPr>
              <a:t>  -The operation of the National Electricity Transmission System </a:t>
            </a:r>
          </a:p>
          <a:p>
            <a:pPr lvl="0"/>
            <a:r>
              <a:rPr lang="en-GB" dirty="0">
                <a:latin typeface="Arial" panose="020B0604020202020204" pitchFamily="34" charset="0"/>
                <a:cs typeface="Arial" panose="020B0604020202020204" pitchFamily="34" charset="0"/>
              </a:rPr>
              <a:t>  -Matters relating to sustainable development, safety or security of supply, or the management of market or network emergencies </a:t>
            </a:r>
          </a:p>
          <a:p>
            <a:pPr lvl="0"/>
            <a:r>
              <a:rPr lang="en-GB" dirty="0">
                <a:latin typeface="Arial" panose="020B0604020202020204" pitchFamily="34" charset="0"/>
                <a:cs typeface="Arial" panose="020B0604020202020204" pitchFamily="34" charset="0"/>
              </a:rPr>
              <a:t> The CUSC’s governance procedures or the CUSC’s modification procedures</a:t>
            </a:r>
          </a:p>
          <a:p>
            <a:r>
              <a:rPr lang="en-GB" dirty="0">
                <a:latin typeface="Arial" panose="020B0604020202020204" pitchFamily="34" charset="0"/>
                <a:cs typeface="Arial" panose="020B0604020202020204" pitchFamily="34" charset="0"/>
              </a:rPr>
              <a:t>For information, Fast Track Self-Governance – Guidance </a:t>
            </a:r>
          </a:p>
          <a:p>
            <a:pPr lvl="0"/>
            <a:r>
              <a:rPr lang="en-US" dirty="0">
                <a:latin typeface="Arial" panose="020B0604020202020204" pitchFamily="34" charset="0"/>
                <a:cs typeface="Arial" panose="020B0604020202020204" pitchFamily="34" charset="0"/>
              </a:rPr>
              <a:t>-Rectify internal inconsistences</a:t>
            </a:r>
            <a:endParaRPr lang="en-GB" dirty="0">
              <a:latin typeface="Arial" panose="020B0604020202020204" pitchFamily="34" charset="0"/>
              <a:cs typeface="Arial" panose="020B0604020202020204" pitchFamily="34" charset="0"/>
            </a:endParaRPr>
          </a:p>
          <a:p>
            <a:pPr lvl="0"/>
            <a:r>
              <a:rPr lang="en-GB" dirty="0">
                <a:latin typeface="Arial" panose="020B0604020202020204" pitchFamily="34" charset="0"/>
                <a:cs typeface="Arial" panose="020B0604020202020204" pitchFamily="34" charset="0"/>
              </a:rPr>
              <a:t>-Remove outdated (or redundant) information; </a:t>
            </a:r>
          </a:p>
          <a:p>
            <a:pPr lvl="0"/>
            <a:r>
              <a:rPr lang="en-GB" dirty="0">
                <a:latin typeface="Arial" panose="020B0604020202020204" pitchFamily="34" charset="0"/>
                <a:cs typeface="Arial" panose="020B0604020202020204" pitchFamily="34" charset="0"/>
              </a:rPr>
              <a:t> -Correct typographical errors in the CUSC; or </a:t>
            </a:r>
          </a:p>
          <a:p>
            <a:pPr lvl="0"/>
            <a:r>
              <a:rPr lang="en-GB" dirty="0">
                <a:latin typeface="Arial" panose="020B0604020202020204" pitchFamily="34" charset="0"/>
                <a:cs typeface="Arial" panose="020B0604020202020204" pitchFamily="34" charset="0"/>
              </a:rPr>
              <a:t> -Further development / detail existing processes or code arrangements (without introducing new requirements upon code parties which significantly impact business practices or systems).</a:t>
            </a:r>
          </a:p>
        </p:txBody>
      </p:sp>
    </p:spTree>
    <p:extLst>
      <p:ext uri="{BB962C8B-B14F-4D97-AF65-F5344CB8AC3E}">
        <p14:creationId xmlns:p14="http://schemas.microsoft.com/office/powerpoint/2010/main" val="10139853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372" y="287806"/>
            <a:ext cx="5043199" cy="637747"/>
          </a:xfrm>
        </p:spPr>
        <p:txBody>
          <a:bodyPr/>
          <a:lstStyle/>
          <a:p>
            <a:r>
              <a:rPr lang="en-GB" sz="3600" b="1" dirty="0"/>
              <a:t>Next steps </a:t>
            </a:r>
          </a:p>
        </p:txBody>
      </p:sp>
      <p:graphicFrame>
        <p:nvGraphicFramePr>
          <p:cNvPr id="4" name="Table 3">
            <a:extLst>
              <a:ext uri="{FF2B5EF4-FFF2-40B4-BE49-F238E27FC236}">
                <a16:creationId xmlns:a16="http://schemas.microsoft.com/office/drawing/2014/main" id="{CBD83B3D-3680-423E-BAED-52E4E6678DDC}"/>
              </a:ext>
            </a:extLst>
          </p:cNvPr>
          <p:cNvGraphicFramePr>
            <a:graphicFrameLocks noGrp="1"/>
          </p:cNvGraphicFramePr>
          <p:nvPr>
            <p:extLst>
              <p:ext uri="{D42A27DB-BD31-4B8C-83A1-F6EECF244321}">
                <p14:modId xmlns:p14="http://schemas.microsoft.com/office/powerpoint/2010/main" val="145487998"/>
              </p:ext>
            </p:extLst>
          </p:nvPr>
        </p:nvGraphicFramePr>
        <p:xfrm>
          <a:off x="350698" y="1776272"/>
          <a:ext cx="11533136" cy="3633774"/>
        </p:xfrm>
        <a:graphic>
          <a:graphicData uri="http://schemas.openxmlformats.org/drawingml/2006/table">
            <a:tbl>
              <a:tblPr firstRow="1" bandRow="1">
                <a:tableStyleId>{5C22544A-7EE6-4342-B048-85BDC9FD1C3A}</a:tableStyleId>
              </a:tblPr>
              <a:tblGrid>
                <a:gridCol w="5766568">
                  <a:extLst>
                    <a:ext uri="{9D8B030D-6E8A-4147-A177-3AD203B41FA5}">
                      <a16:colId xmlns:a16="http://schemas.microsoft.com/office/drawing/2014/main" val="2513154759"/>
                    </a:ext>
                  </a:extLst>
                </a:gridCol>
                <a:gridCol w="5766568">
                  <a:extLst>
                    <a:ext uri="{9D8B030D-6E8A-4147-A177-3AD203B41FA5}">
                      <a16:colId xmlns:a16="http://schemas.microsoft.com/office/drawing/2014/main" val="3952352042"/>
                    </a:ext>
                  </a:extLst>
                </a:gridCol>
              </a:tblGrid>
              <a:tr h="410582">
                <a:tc>
                  <a:txBody>
                    <a:bodyPr/>
                    <a:lstStyle/>
                    <a:p>
                      <a:r>
                        <a:rPr lang="en-GB" sz="1600" dirty="0">
                          <a:latin typeface="Helvetica Neue Condensed" panose="02000503000000020004"/>
                        </a:rPr>
                        <a:t>Stage Gate</a:t>
                      </a:r>
                    </a:p>
                  </a:txBody>
                  <a:tcPr/>
                </a:tc>
                <a:tc>
                  <a:txBody>
                    <a:bodyPr/>
                    <a:lstStyle/>
                    <a:p>
                      <a:r>
                        <a:rPr lang="en-GB" sz="1600" dirty="0">
                          <a:latin typeface="Helvetica Neue Condensed" panose="02000503000000020004"/>
                        </a:rPr>
                        <a:t>Date</a:t>
                      </a:r>
                    </a:p>
                  </a:txBody>
                  <a:tcPr/>
                </a:tc>
                <a:extLst>
                  <a:ext uri="{0D108BD9-81ED-4DB2-BD59-A6C34878D82A}">
                    <a16:rowId xmlns:a16="http://schemas.microsoft.com/office/drawing/2014/main" val="4049382407"/>
                  </a:ext>
                </a:extLst>
              </a:tr>
              <a:tr h="602430">
                <a:tc>
                  <a:txBody>
                    <a:bodyPr/>
                    <a:lstStyle/>
                    <a:p>
                      <a:pPr algn="l">
                        <a:lnSpc>
                          <a:spcPts val="1500"/>
                        </a:lnSpc>
                        <a:spcBef>
                          <a:spcPts val="200"/>
                        </a:spcBef>
                        <a:spcAft>
                          <a:spcPts val="200"/>
                        </a:spcAft>
                        <a:tabLst>
                          <a:tab pos="108585" algn="l"/>
                        </a:tabLst>
                      </a:pPr>
                      <a:r>
                        <a:rPr lang="en-GB" sz="1600" dirty="0">
                          <a:effectLst/>
                          <a:latin typeface="Arial" panose="020B0604020202020204" pitchFamily="34" charset="0"/>
                          <a:cs typeface="Arial" panose="020B0604020202020204" pitchFamily="34" charset="0"/>
                        </a:rPr>
                        <a:t>Draft Fast Track Self- Governance Report issued to Panel </a:t>
                      </a:r>
                      <a:endParaRPr lang="en-GB"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lnSpc>
                          <a:spcPts val="1500"/>
                        </a:lnSpc>
                        <a:spcBef>
                          <a:spcPts val="200"/>
                        </a:spcBef>
                        <a:spcAft>
                          <a:spcPts val="200"/>
                        </a:spcAft>
                      </a:pPr>
                      <a:r>
                        <a:rPr lang="en-GB"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2 October 2020</a:t>
                      </a:r>
                    </a:p>
                  </a:txBody>
                  <a:tcPr marL="68580" marR="68580" marT="0" marB="0" anchor="ctr"/>
                </a:tc>
                <a:extLst>
                  <a:ext uri="{0D108BD9-81ED-4DB2-BD59-A6C34878D82A}">
                    <a16:rowId xmlns:a16="http://schemas.microsoft.com/office/drawing/2014/main" val="2421481101"/>
                  </a:ext>
                </a:extLst>
              </a:tr>
              <a:tr h="602430">
                <a:tc>
                  <a:txBody>
                    <a:bodyPr/>
                    <a:lstStyle/>
                    <a:p>
                      <a:pPr algn="l">
                        <a:lnSpc>
                          <a:spcPts val="1500"/>
                        </a:lnSpc>
                        <a:spcBef>
                          <a:spcPts val="200"/>
                        </a:spcBef>
                        <a:spcAft>
                          <a:spcPts val="200"/>
                        </a:spcAft>
                        <a:tabLst>
                          <a:tab pos="108585" algn="l"/>
                        </a:tabLst>
                      </a:pPr>
                      <a:r>
                        <a:rPr lang="en-GB" sz="1600" dirty="0">
                          <a:effectLst/>
                          <a:latin typeface="Arial" panose="020B0604020202020204" pitchFamily="34" charset="0"/>
                          <a:cs typeface="Arial" panose="020B0604020202020204" pitchFamily="34" charset="0"/>
                        </a:rPr>
                        <a:t>Draft Fast Track Self-Governance Report presented to Panel </a:t>
                      </a:r>
                      <a:endParaRPr lang="en-GB"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lnSpc>
                          <a:spcPts val="1500"/>
                        </a:lnSpc>
                        <a:spcBef>
                          <a:spcPts val="200"/>
                        </a:spcBef>
                        <a:spcAft>
                          <a:spcPts val="200"/>
                        </a:spcAft>
                      </a:pPr>
                      <a:r>
                        <a:rPr lang="en-GB"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0 October 2020</a:t>
                      </a:r>
                    </a:p>
                  </a:txBody>
                  <a:tcPr marL="68580" marR="68580" marT="0" marB="0" anchor="ctr"/>
                </a:tc>
                <a:extLst>
                  <a:ext uri="{0D108BD9-81ED-4DB2-BD59-A6C34878D82A}">
                    <a16:rowId xmlns:a16="http://schemas.microsoft.com/office/drawing/2014/main" val="1996792837"/>
                  </a:ext>
                </a:extLst>
              </a:tr>
              <a:tr h="733719">
                <a:tc>
                  <a:txBody>
                    <a:bodyPr/>
                    <a:lstStyle/>
                    <a:p>
                      <a:pPr algn="l">
                        <a:lnSpc>
                          <a:spcPts val="1500"/>
                        </a:lnSpc>
                        <a:spcBef>
                          <a:spcPts val="200"/>
                        </a:spcBef>
                        <a:spcAft>
                          <a:spcPts val="200"/>
                        </a:spcAft>
                        <a:tabLst>
                          <a:tab pos="108585" algn="l"/>
                        </a:tabLst>
                      </a:pPr>
                      <a:r>
                        <a:rPr lang="en-GB" sz="1600" dirty="0">
                          <a:effectLst/>
                          <a:latin typeface="Arial" panose="020B0604020202020204" pitchFamily="34" charset="0"/>
                          <a:cs typeface="Arial" panose="020B0604020202020204" pitchFamily="34" charset="0"/>
                        </a:rPr>
                        <a:t>Modification Panel decision </a:t>
                      </a:r>
                      <a:endParaRPr lang="en-GB" sz="1600" dirty="0">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l">
                        <a:lnSpc>
                          <a:spcPts val="1500"/>
                        </a:lnSpc>
                        <a:spcBef>
                          <a:spcPts val="200"/>
                        </a:spcBef>
                        <a:spcAft>
                          <a:spcPts val="200"/>
                        </a:spcAft>
                      </a:pPr>
                      <a:r>
                        <a:rPr lang="en-GB"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0 October 2020</a:t>
                      </a:r>
                    </a:p>
                    <a:p>
                      <a:pPr algn="l">
                        <a:lnSpc>
                          <a:spcPts val="1500"/>
                        </a:lnSpc>
                        <a:spcBef>
                          <a:spcPts val="200"/>
                        </a:spcBef>
                        <a:spcAft>
                          <a:spcPts val="200"/>
                        </a:spcAft>
                      </a:pPr>
                      <a:endParaRPr lang="en-GB"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3257368576"/>
                  </a:ext>
                </a:extLst>
              </a:tr>
              <a:tr h="384262">
                <a:tc>
                  <a:txBody>
                    <a:bodyPr/>
                    <a:lstStyle/>
                    <a:p>
                      <a:pPr algn="l">
                        <a:lnSpc>
                          <a:spcPts val="1500"/>
                        </a:lnSpc>
                        <a:spcBef>
                          <a:spcPts val="200"/>
                        </a:spcBef>
                        <a:spcAft>
                          <a:spcPts val="200"/>
                        </a:spcAft>
                        <a:tabLst>
                          <a:tab pos="108585" algn="l"/>
                        </a:tabLst>
                      </a:pPr>
                      <a:r>
                        <a:rPr lang="en-GB" sz="1600" dirty="0">
                          <a:effectLst/>
                          <a:latin typeface="Helvetica Neue Condensed" panose="02000503000000020004"/>
                          <a:ea typeface="Times New Roman" panose="02020603050405020304" pitchFamily="18" charset="0"/>
                          <a:cs typeface="Arial" panose="020B0604020202020204" pitchFamily="34" charset="0"/>
                        </a:rPr>
                        <a:t>Appeals Window (15 Working Days)</a:t>
                      </a:r>
                      <a:endParaRPr lang="en-GB" sz="1600" dirty="0">
                        <a:effectLst/>
                        <a:latin typeface="Helvetica Neue Condensed" panose="02000503000000020004"/>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l" defTabSz="914377" rtl="0" eaLnBrk="1" fontAlgn="auto" latinLnBrk="0" hangingPunct="1">
                        <a:lnSpc>
                          <a:spcPts val="1500"/>
                        </a:lnSpc>
                        <a:spcBef>
                          <a:spcPts val="200"/>
                        </a:spcBef>
                        <a:spcAft>
                          <a:spcPts val="200"/>
                        </a:spcAft>
                        <a:buClrTx/>
                        <a:buSzTx/>
                        <a:buFontTx/>
                        <a:buNone/>
                        <a:tabLst/>
                        <a:defRPr/>
                      </a:pPr>
                      <a:r>
                        <a:rPr lang="en-GB" sz="1600" dirty="0">
                          <a:effectLst/>
                          <a:latin typeface="Arial" panose="020B0604020202020204" pitchFamily="34" charset="0"/>
                          <a:ea typeface="Times New Roman" panose="02020603050405020304" pitchFamily="18" charset="0"/>
                          <a:cs typeface="Arial" panose="020B0604020202020204" pitchFamily="34" charset="0"/>
                        </a:rPr>
                        <a:t>16 November 2020 to 7 December 2020</a:t>
                      </a:r>
                    </a:p>
                    <a:p>
                      <a:pPr algn="l">
                        <a:lnSpc>
                          <a:spcPts val="1500"/>
                        </a:lnSpc>
                        <a:spcBef>
                          <a:spcPts val="200"/>
                        </a:spcBef>
                        <a:spcAft>
                          <a:spcPts val="200"/>
                        </a:spcAft>
                      </a:pPr>
                      <a:endParaRPr lang="en-GB" sz="1600" dirty="0">
                        <a:effectLst/>
                        <a:latin typeface="Helvetica Neue Condensed" panose="02000503000000020004"/>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946364116"/>
                  </a:ext>
                </a:extLst>
              </a:tr>
              <a:tr h="852813">
                <a:tc>
                  <a:txBody>
                    <a:bodyPr/>
                    <a:lstStyle/>
                    <a:p>
                      <a:pPr algn="l">
                        <a:lnSpc>
                          <a:spcPts val="1500"/>
                        </a:lnSpc>
                        <a:spcBef>
                          <a:spcPts val="200"/>
                        </a:spcBef>
                        <a:spcAft>
                          <a:spcPts val="200"/>
                        </a:spcAft>
                        <a:tabLst>
                          <a:tab pos="108585" algn="l"/>
                        </a:tabLst>
                      </a:pPr>
                      <a:r>
                        <a:rPr lang="en-GB" sz="1600" dirty="0">
                          <a:effectLst/>
                          <a:latin typeface="Helvetica Neue Condensed" panose="02000503000000020004"/>
                          <a:ea typeface="Times New Roman" panose="02020603050405020304" pitchFamily="18" charset="0"/>
                          <a:cs typeface="Arial" panose="020B0604020202020204" pitchFamily="34" charset="0"/>
                        </a:rPr>
                        <a:t>Decision implemented in CUSC</a:t>
                      </a:r>
                      <a:endParaRPr lang="en-GB" sz="1600" dirty="0">
                        <a:effectLst/>
                        <a:latin typeface="Helvetica Neue Condensed" panose="02000503000000020004"/>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l" defTabSz="914377" rtl="0" eaLnBrk="1" fontAlgn="auto" latinLnBrk="0" hangingPunct="1">
                        <a:lnSpc>
                          <a:spcPts val="1500"/>
                        </a:lnSpc>
                        <a:spcBef>
                          <a:spcPts val="200"/>
                        </a:spcBef>
                        <a:spcAft>
                          <a:spcPts val="200"/>
                        </a:spcAft>
                        <a:buClrTx/>
                        <a:buSzTx/>
                        <a:buFontTx/>
                        <a:buNone/>
                        <a:tabLst/>
                        <a:defRPr/>
                      </a:pPr>
                      <a:r>
                        <a:rPr lang="en-GB" sz="1600" dirty="0">
                          <a:effectLst/>
                          <a:latin typeface="Arial" panose="020B0604020202020204" pitchFamily="34" charset="0"/>
                          <a:ea typeface="Times New Roman" panose="02020603050405020304" pitchFamily="18" charset="0"/>
                          <a:cs typeface="Arial" panose="020B0604020202020204" pitchFamily="34" charset="0"/>
                        </a:rPr>
                        <a:t>14 December 2020</a:t>
                      </a:r>
                    </a:p>
                    <a:p>
                      <a:pPr algn="l">
                        <a:lnSpc>
                          <a:spcPts val="1500"/>
                        </a:lnSpc>
                        <a:spcBef>
                          <a:spcPts val="200"/>
                        </a:spcBef>
                        <a:spcAft>
                          <a:spcPts val="200"/>
                        </a:spcAft>
                      </a:pPr>
                      <a:endParaRPr lang="en-GB" sz="1600" dirty="0">
                        <a:effectLst/>
                        <a:latin typeface="Helvetica Neue Condensed" panose="02000503000000020004"/>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48535058"/>
                  </a:ext>
                </a:extLst>
              </a:tr>
            </a:tbl>
          </a:graphicData>
        </a:graphic>
      </p:graphicFrame>
      <p:sp>
        <p:nvSpPr>
          <p:cNvPr id="9" name="TextBox 8">
            <a:extLst>
              <a:ext uri="{FF2B5EF4-FFF2-40B4-BE49-F238E27FC236}">
                <a16:creationId xmlns:a16="http://schemas.microsoft.com/office/drawing/2014/main" id="{39210FDA-55FA-4DEB-AD09-95DCCE988BCE}"/>
              </a:ext>
            </a:extLst>
          </p:cNvPr>
          <p:cNvSpPr txBox="1"/>
          <p:nvPr/>
        </p:nvSpPr>
        <p:spPr>
          <a:xfrm>
            <a:off x="258371" y="925553"/>
            <a:ext cx="11533136" cy="646331"/>
          </a:xfrm>
          <a:prstGeom prst="rect">
            <a:avLst/>
          </a:prstGeom>
        </p:spPr>
        <p:txBody>
          <a:bodyPr wrap="square" rtlCol="0">
            <a:spAutoFit/>
          </a:bodyPr>
          <a:lstStyle/>
          <a:p>
            <a:pPr marL="285750" indent="-285750">
              <a:buFont typeface="Arial" panose="020B0604020202020204" pitchFamily="34" charset="0"/>
              <a:buChar char="•"/>
            </a:pPr>
            <a:r>
              <a:rPr lang="en-GB" dirty="0">
                <a:latin typeface="Helvetica Neue LT Std 65 Medium" panose="020B0604020202020204"/>
                <a:ea typeface="Helvetica Neue Light" panose="02000403000000020004" pitchFamily="2" charset="0"/>
              </a:rPr>
              <a:t>Panel to unanimously approve that this can be implemented </a:t>
            </a:r>
            <a:r>
              <a:rPr lang="en-GB" dirty="0">
                <a:latin typeface="Helvetica Neue LT Std 65 Medium" panose="020B0604020202020204"/>
              </a:rPr>
              <a:t>after the appeals window closes, providing no objections are raised.</a:t>
            </a:r>
            <a:endParaRPr lang="en-GB" b="0" i="0" dirty="0">
              <a:latin typeface="Helvetica Neue LT Std 65 Medium" panose="020B0604020202020204"/>
              <a:ea typeface="Helvetica Neue Light" panose="02000403000000020004" pitchFamily="2" charset="0"/>
            </a:endParaRPr>
          </a:p>
        </p:txBody>
      </p:sp>
    </p:spTree>
    <p:extLst>
      <p:ext uri="{BB962C8B-B14F-4D97-AF65-F5344CB8AC3E}">
        <p14:creationId xmlns:p14="http://schemas.microsoft.com/office/powerpoint/2010/main" val="701910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1">
            <a:extLst>
              <a:ext uri="{FF2B5EF4-FFF2-40B4-BE49-F238E27FC236}">
                <a16:creationId xmlns:a16="http://schemas.microsoft.com/office/drawing/2014/main" id="{239D8572-4B80-43C0-A793-A677B76538B7}"/>
              </a:ext>
            </a:extLst>
          </p:cNvPr>
          <p:cNvSpPr txBox="1">
            <a:spLocks/>
          </p:cNvSpPr>
          <p:nvPr/>
        </p:nvSpPr>
        <p:spPr>
          <a:xfrm>
            <a:off x="5454025" y="460435"/>
            <a:ext cx="4977976" cy="1454051"/>
          </a:xfrm>
          <a:prstGeom prst="rect">
            <a:avLst/>
          </a:prstGeom>
        </p:spPr>
        <p:txBody>
          <a:bodyPr vert="horz" lIns="91440" tIns="45720" rIns="91440" bIns="45720" rtlCol="0" anchor="ctr">
            <a:normAutofit fontScale="85000" lnSpcReduction="10000"/>
          </a:bodyPr>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800" b="1" i="0" u="none" strike="noStrike" kern="1200" cap="none" spc="0" normalizeH="0" baseline="0" noProof="0" dirty="0">
                <a:ln>
                  <a:noFill/>
                </a:ln>
                <a:solidFill>
                  <a:srgbClr val="F0B900"/>
                </a:solidFill>
                <a:effectLst/>
                <a:uLnTx/>
                <a:uFillTx/>
                <a:latin typeface="Helvetica Neue Condensed" panose="02000503000000020004"/>
                <a:ea typeface="+mj-ea"/>
                <a:cs typeface="+mj-cs"/>
              </a:rPr>
              <a:t>New modifications submitted</a:t>
            </a:r>
          </a:p>
        </p:txBody>
      </p:sp>
      <p:pic>
        <p:nvPicPr>
          <p:cNvPr id="5" name="New" descr="Image result for new">
            <a:extLst>
              <a:ext uri="{FF2B5EF4-FFF2-40B4-BE49-F238E27FC236}">
                <a16:creationId xmlns:a16="http://schemas.microsoft.com/office/drawing/2014/main" id="{DB9367DC-8F4E-4CBC-A088-EAA01314A6A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29349" y="2139741"/>
            <a:ext cx="3661831" cy="259871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0">
            <a:extLst>
              <a:ext uri="{FF2B5EF4-FFF2-40B4-BE49-F238E27FC236}">
                <a16:creationId xmlns:a16="http://schemas.microsoft.com/office/drawing/2014/main" id="{82E07708-617F-494B-96D2-84F4EF516508}"/>
              </a:ext>
            </a:extLst>
          </p:cNvPr>
          <p:cNvSpPr txBox="1">
            <a:spLocks/>
          </p:cNvSpPr>
          <p:nvPr/>
        </p:nvSpPr>
        <p:spPr>
          <a:xfrm>
            <a:off x="4954773" y="1775638"/>
            <a:ext cx="6608436" cy="4092294"/>
          </a:xfrm>
          <a:prstGeom prst="rect">
            <a:avLst/>
          </a:prstGeom>
        </p:spPr>
        <p:txBody>
          <a:bodyPr vert="horz" lIns="91440" tIns="45720" rIns="91440" bIns="45720" rtlCol="0" anchor="ctr">
            <a:normAutofit/>
          </a:bodyPr>
          <a:lstStyle>
            <a:lvl1pPr eaLnBrk="1" hangingPunct="1">
              <a:lnSpc>
                <a:spcPct val="80000"/>
              </a:lnSpc>
              <a:defRPr sz="1800" b="1">
                <a:solidFill>
                  <a:schemeClr val="accent1"/>
                </a:solidFill>
                <a:latin typeface="+mj-lt"/>
                <a:ea typeface="+mj-ea"/>
                <a:cs typeface="+mj-cs"/>
              </a:defRPr>
            </a:lvl1pPr>
          </a:lstStyle>
          <a:p>
            <a:pPr marL="514350" lvl="0" indent="-285750" algn="just" defTabSz="914400">
              <a:lnSpc>
                <a:spcPct val="90000"/>
              </a:lnSpc>
              <a:spcAft>
                <a:spcPts val="600"/>
              </a:spcAft>
              <a:buFont typeface="Arial" panose="020B0604020202020204" pitchFamily="34" charset="0"/>
              <a:buChar char="•"/>
            </a:pPr>
            <a:r>
              <a:rPr kumimoji="0" lang="en-GB" sz="2400" u="none" strike="noStrike" kern="1200" cap="none" spc="0" normalizeH="0" baseline="0" noProof="0" dirty="0">
                <a:ln>
                  <a:noFill/>
                </a:ln>
                <a:solidFill>
                  <a:srgbClr val="FFBF22"/>
                </a:solidFill>
                <a:effectLst/>
                <a:uLnTx/>
                <a:uFillTx/>
                <a:latin typeface="Arial" panose="020B0604020202020204" pitchFamily="34" charset="0"/>
                <a:cs typeface="Arial" panose="020B0604020202020204" pitchFamily="34" charset="0"/>
              </a:rPr>
              <a:t>CMP353: </a:t>
            </a:r>
            <a:r>
              <a:rPr lang="en-GB" sz="2400" dirty="0">
                <a:latin typeface="Arial" panose="020B0604020202020204" pitchFamily="34" charset="0"/>
                <a:cs typeface="Arial" panose="020B0604020202020204" pitchFamily="34" charset="0"/>
              </a:rPr>
              <a:t>Stabilising the Expansion Constant and non-specific Onshore Expansion Factors from 1st April 2021</a:t>
            </a:r>
          </a:p>
          <a:p>
            <a:pPr marL="228600" lvl="0" defTabSz="914400">
              <a:lnSpc>
                <a:spcPct val="90000"/>
              </a:lnSpc>
              <a:spcAft>
                <a:spcPts val="600"/>
              </a:spcAft>
            </a:pPr>
            <a:endParaRPr kumimoji="0" lang="en-GB" sz="24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j-ea"/>
              <a:cs typeface="Arial" panose="020B0604020202020204" pitchFamily="34" charset="0"/>
            </a:endParaRPr>
          </a:p>
          <a:p>
            <a:pPr marL="22860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t>
            </a:r>
            <a:r>
              <a:rPr lang="en-GB" dirty="0">
                <a:solidFill>
                  <a:srgbClr val="000000"/>
                </a:solidFill>
                <a:latin typeface="Arial" panose="020B0604020202020204" pitchFamily="34" charset="0"/>
                <a:cs typeface="Arial" panose="020B0604020202020204" pitchFamily="34" charset="0"/>
              </a:rPr>
              <a:t>Grahame Neale and Matt Wootton</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National Grid ESO</a:t>
            </a:r>
          </a:p>
          <a:p>
            <a:pPr marL="228600" marR="0" lvl="0" indent="0" algn="l"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a:p>
            <a:pPr marL="228600" marR="0" lvl="0" indent="0" algn="l" defTabSz="914400" rtl="0" eaLnBrk="1" fontAlgn="auto" latinLnBrk="0" hangingPunct="1">
              <a:lnSpc>
                <a:spcPct val="90000"/>
              </a:lnSpc>
              <a:spcBef>
                <a:spcPts val="0"/>
              </a:spcBef>
              <a:spcAft>
                <a:spcPts val="600"/>
              </a:spcAft>
              <a:buClrTx/>
              <a:buSzTx/>
              <a:buFontTx/>
              <a:buNone/>
              <a:tabLst/>
              <a:defRPr/>
            </a:pPr>
            <a:endParaRPr kumimoji="0" lang="en-US" sz="2600" b="1" i="0" u="none" strike="noStrike" kern="1200" cap="none" spc="0" normalizeH="0" baseline="0" noProof="0" dirty="0">
              <a:ln>
                <a:noFill/>
              </a:ln>
              <a:solidFill>
                <a:srgbClr val="000000"/>
              </a:solidFill>
              <a:effectLst/>
              <a:uLnTx/>
              <a:uFillTx/>
              <a:latin typeface="Calibri" panose="020F0502020204030204"/>
              <a:ea typeface="+mj-ea"/>
              <a:cs typeface="+mj-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j-ea"/>
              <a:cs typeface="+mj-cs"/>
            </a:endParaRP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000000"/>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24214819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8145032" cy="657605"/>
          </a:xfrm>
        </p:spPr>
        <p:txBody>
          <a:bodyPr/>
          <a:lstStyle/>
          <a:p>
            <a:r>
              <a:rPr lang="en-GB" altLang="en-US" sz="3600" b="1" dirty="0"/>
              <a:t>Critical Friend Feedback – CMP353</a:t>
            </a:r>
            <a:endParaRPr lang="en-GB" altLang="en-US" sz="1800" b="1" dirty="0"/>
          </a:p>
        </p:txBody>
      </p:sp>
      <p:sp>
        <p:nvSpPr>
          <p:cNvPr id="3" name="Rectangle 2"/>
          <p:cNvSpPr/>
          <p:nvPr/>
        </p:nvSpPr>
        <p:spPr>
          <a:xfrm>
            <a:off x="217303" y="977735"/>
            <a:ext cx="11521280" cy="379656"/>
          </a:xfrm>
          <a:prstGeom prst="rect">
            <a:avLst/>
          </a:prstGeom>
        </p:spPr>
        <p:txBody>
          <a:bodyPr wrap="square" anchor="t">
            <a:spAutoFit/>
          </a:bodyPr>
          <a:lstStyle/>
          <a:p>
            <a:pPr marL="0" marR="0" lvl="0" indent="-249265" algn="just"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67" b="0" i="0" u="none" strike="noStrike" kern="1200" cap="none" spc="0" normalizeH="0" baseline="0" noProof="0" dirty="0">
              <a:ln>
                <a:noFill/>
              </a:ln>
              <a:solidFill>
                <a:srgbClr val="454545"/>
              </a:solidFill>
              <a:effectLst/>
              <a:uLnTx/>
              <a:uFillTx/>
              <a:latin typeface="Arial" panose="020B0604020202020204"/>
              <a:ea typeface="+mn-ea"/>
              <a:cs typeface="+mn-cs"/>
            </a:endParaRPr>
          </a:p>
        </p:txBody>
      </p:sp>
      <p:graphicFrame>
        <p:nvGraphicFramePr>
          <p:cNvPr id="5" name="Table 4">
            <a:extLst>
              <a:ext uri="{FF2B5EF4-FFF2-40B4-BE49-F238E27FC236}">
                <a16:creationId xmlns:a16="http://schemas.microsoft.com/office/drawing/2014/main" id="{BE571A63-DADC-44E7-B2AC-025B4F43597B}"/>
              </a:ext>
            </a:extLst>
          </p:cNvPr>
          <p:cNvGraphicFramePr>
            <a:graphicFrameLocks noGrp="1"/>
          </p:cNvGraphicFramePr>
          <p:nvPr>
            <p:extLst>
              <p:ext uri="{D42A27DB-BD31-4B8C-83A1-F6EECF244321}">
                <p14:modId xmlns:p14="http://schemas.microsoft.com/office/powerpoint/2010/main" val="3837923113"/>
              </p:ext>
            </p:extLst>
          </p:nvPr>
        </p:nvGraphicFramePr>
        <p:xfrm>
          <a:off x="356663" y="946798"/>
          <a:ext cx="11521279" cy="4475807"/>
        </p:xfrm>
        <a:graphic>
          <a:graphicData uri="http://schemas.openxmlformats.org/drawingml/2006/table">
            <a:tbl>
              <a:tblPr firstRow="1" bandRow="1">
                <a:tableStyleId>{5C22544A-7EE6-4342-B048-85BDC9FD1C3A}</a:tableStyleId>
              </a:tblPr>
              <a:tblGrid>
                <a:gridCol w="5438545">
                  <a:extLst>
                    <a:ext uri="{9D8B030D-6E8A-4147-A177-3AD203B41FA5}">
                      <a16:colId xmlns:a16="http://schemas.microsoft.com/office/drawing/2014/main" val="2500286265"/>
                    </a:ext>
                  </a:extLst>
                </a:gridCol>
                <a:gridCol w="6082734">
                  <a:extLst>
                    <a:ext uri="{9D8B030D-6E8A-4147-A177-3AD203B41FA5}">
                      <a16:colId xmlns:a16="http://schemas.microsoft.com/office/drawing/2014/main" val="477721536"/>
                    </a:ext>
                  </a:extLst>
                </a:gridCol>
              </a:tblGrid>
              <a:tr h="710962">
                <a:tc>
                  <a:txBody>
                    <a:bodyPr/>
                    <a:lstStyle/>
                    <a:p>
                      <a:r>
                        <a:rPr lang="en-GB" baseline="0" dirty="0">
                          <a:latin typeface="Arial" panose="020B0604020202020204" pitchFamily="34" charset="0"/>
                          <a:cs typeface="Arial" panose="020B0604020202020204" pitchFamily="34" charset="0"/>
                        </a:rPr>
                        <a:t>Code Administrator comments</a:t>
                      </a:r>
                      <a:endParaRPr lang="en-US" dirty="0">
                        <a:latin typeface="Arial" panose="020B0604020202020204" pitchFamily="34" charset="0"/>
                        <a:cs typeface="Arial" panose="020B0604020202020204" pitchFamily="34" charset="0"/>
                      </a:endParaRPr>
                    </a:p>
                  </a:txBody>
                  <a:tcPr/>
                </a:tc>
                <a:tc>
                  <a:txBody>
                    <a:bodyPr/>
                    <a:lstStyle/>
                    <a:p>
                      <a:r>
                        <a:rPr lang="en-GB" dirty="0">
                          <a:latin typeface="Arial" panose="020B0604020202020204" pitchFamily="34" charset="0"/>
                          <a:cs typeface="Arial" panose="020B0604020202020204" pitchFamily="34" charset="0"/>
                        </a:rPr>
                        <a:t>Amendments made by the Proposer</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78333255"/>
                  </a:ext>
                </a:extLst>
              </a:tr>
              <a:tr h="3764845">
                <a:tc>
                  <a:txBody>
                    <a:bodyPr/>
                    <a:lstStyle/>
                    <a:p>
                      <a:pPr marL="0" indent="0">
                        <a:buFont typeface="Wingdings" panose="05000000000000000000" pitchFamily="2" charset="2"/>
                        <a:buNone/>
                      </a:pPr>
                      <a:r>
                        <a:rPr lang="en-GB" sz="1800" baseline="0" dirty="0">
                          <a:latin typeface="Arial" panose="020B0604020202020204" pitchFamily="34" charset="0"/>
                          <a:cs typeface="Arial" panose="020B0604020202020204" pitchFamily="34" charset="0"/>
                        </a:rPr>
                        <a:t>Additional commentary on which of Ofgem’s Urgency Criteria this meets </a:t>
                      </a:r>
                    </a:p>
                    <a:p>
                      <a:pPr marL="0" indent="0">
                        <a:buFont typeface="Wingdings" panose="05000000000000000000" pitchFamily="2" charset="2"/>
                        <a:buNone/>
                      </a:pPr>
                      <a:endParaRPr lang="en-GB" sz="1800" baseline="0" dirty="0">
                        <a:latin typeface="Arial" panose="020B0604020202020204" pitchFamily="34" charset="0"/>
                        <a:cs typeface="Arial" panose="020B0604020202020204" pitchFamily="34" charset="0"/>
                      </a:endParaRPr>
                    </a:p>
                    <a:p>
                      <a:pPr marL="0" indent="0">
                        <a:buFont typeface="Wingdings" panose="05000000000000000000" pitchFamily="2" charset="2"/>
                        <a:buNone/>
                      </a:pPr>
                      <a:r>
                        <a:rPr lang="en-GB" sz="1800" baseline="0" dirty="0">
                          <a:latin typeface="Arial" panose="020B0604020202020204" pitchFamily="34" charset="0"/>
                          <a:cs typeface="Arial" panose="020B0604020202020204" pitchFamily="34" charset="0"/>
                        </a:rPr>
                        <a:t>Definition on acronyms and cosmetic changes</a:t>
                      </a:r>
                    </a:p>
                  </a:txBody>
                  <a:tcPr/>
                </a:tc>
                <a:tc>
                  <a:txBody>
                    <a:body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aseline="0" dirty="0">
                          <a:latin typeface="Arial" panose="020B0604020202020204" pitchFamily="34" charset="0"/>
                          <a:cs typeface="Arial" panose="020B0604020202020204" pitchFamily="34" charset="0"/>
                        </a:rPr>
                        <a:t>Proposer accepted all amendments made by the Code Administrator </a:t>
                      </a:r>
                    </a:p>
                  </a:txBody>
                  <a:tcPr/>
                </a:tc>
                <a:extLst>
                  <a:ext uri="{0D108BD9-81ED-4DB2-BD59-A6C34878D82A}">
                    <a16:rowId xmlns:a16="http://schemas.microsoft.com/office/drawing/2014/main" val="3453892812"/>
                  </a:ext>
                </a:extLst>
              </a:tr>
            </a:tbl>
          </a:graphicData>
        </a:graphic>
      </p:graphicFrame>
    </p:spTree>
    <p:extLst>
      <p:ext uri="{BB962C8B-B14F-4D97-AF65-F5344CB8AC3E}">
        <p14:creationId xmlns:p14="http://schemas.microsoft.com/office/powerpoint/2010/main" val="29324407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723060" cy="657605"/>
          </a:xfrm>
        </p:spPr>
        <p:txBody>
          <a:bodyPr/>
          <a:lstStyle/>
          <a:p>
            <a:r>
              <a:rPr lang="en-GB" sz="3200" b="1" dirty="0"/>
              <a:t>Proposer Recommended Governance Route </a:t>
            </a:r>
            <a:endParaRPr lang="en-GB" altLang="en-US" sz="3200" b="1" dirty="0"/>
          </a:p>
        </p:txBody>
      </p:sp>
      <p:sp>
        <p:nvSpPr>
          <p:cNvPr id="3" name="Rectangle 2"/>
          <p:cNvSpPr/>
          <p:nvPr/>
        </p:nvSpPr>
        <p:spPr>
          <a:xfrm>
            <a:off x="217303" y="977735"/>
            <a:ext cx="11521280" cy="379656"/>
          </a:xfrm>
          <a:prstGeom prst="rect">
            <a:avLst/>
          </a:prstGeom>
        </p:spPr>
        <p:txBody>
          <a:bodyPr wrap="square" anchor="t">
            <a:spAutoFit/>
          </a:bodyPr>
          <a:lstStyle/>
          <a:p>
            <a:pPr indent="-249265" algn="just"/>
            <a:endParaRPr lang="en-GB" sz="1600" dirty="0">
              <a:latin typeface="Arial" panose="020B0604020202020204" pitchFamily="34" charset="0"/>
              <a:ea typeface="+mn-lt"/>
              <a:cs typeface="Arial" panose="020B0604020202020204" pitchFamily="34" charset="0"/>
            </a:endParaRPr>
          </a:p>
          <a:p>
            <a:pPr defTabSz="554478">
              <a:defRPr/>
            </a:pPr>
            <a:endParaRPr lang="en-GB" altLang="en-US" sz="267" dirty="0">
              <a:solidFill>
                <a:srgbClr val="454545"/>
              </a:solidFill>
              <a:latin typeface="Arial" panose="020B0604020202020204"/>
            </a:endParaRPr>
          </a:p>
        </p:txBody>
      </p:sp>
      <p:sp>
        <p:nvSpPr>
          <p:cNvPr id="5" name="TextBox 4">
            <a:extLst>
              <a:ext uri="{FF2B5EF4-FFF2-40B4-BE49-F238E27FC236}">
                <a16:creationId xmlns:a16="http://schemas.microsoft.com/office/drawing/2014/main" id="{04682738-B6A1-4A15-9C54-CD1BF3E0C05C}"/>
              </a:ext>
            </a:extLst>
          </p:cNvPr>
          <p:cNvSpPr txBox="1"/>
          <p:nvPr/>
        </p:nvSpPr>
        <p:spPr>
          <a:xfrm>
            <a:off x="261731" y="946798"/>
            <a:ext cx="11476852" cy="553998"/>
          </a:xfrm>
          <a:prstGeom prst="rect">
            <a:avLst/>
          </a:prstGeom>
          <a:noFill/>
        </p:spPr>
        <p:txBody>
          <a:bodyPr wrap="square" lIns="0" tIns="0" rIns="0" bIns="0" rtlCol="0">
            <a:spAutoFit/>
          </a:bodyPr>
          <a:lstStyle/>
          <a:p>
            <a:pPr marL="0" marR="0" lvl="0" indent="0" algn="just" defTabSz="415869"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454545"/>
                </a:solidFill>
                <a:effectLst/>
                <a:uLnTx/>
                <a:uFillTx/>
                <a:latin typeface="Arial" panose="020B0604020202020204"/>
                <a:ea typeface="+mn-ea"/>
                <a:cs typeface="+mn-cs"/>
              </a:rPr>
              <a:t>The Proposer recommends that this modification should be treated as an Urgent Modification </a:t>
            </a:r>
            <a:r>
              <a:rPr lang="en-GB" dirty="0">
                <a:solidFill>
                  <a:srgbClr val="454545"/>
                </a:solidFill>
                <a:latin typeface="Arial" panose="020B0604020202020204"/>
              </a:rPr>
              <a:t>p</a:t>
            </a:r>
            <a:r>
              <a:rPr kumimoji="0" lang="en-GB" b="0" i="0" u="none" strike="noStrike" kern="1200" cap="none" spc="0" normalizeH="0" baseline="0" noProof="0" dirty="0" err="1">
                <a:ln>
                  <a:noFill/>
                </a:ln>
                <a:solidFill>
                  <a:srgbClr val="454545"/>
                </a:solidFill>
                <a:effectLst/>
                <a:uLnTx/>
                <a:uFillTx/>
                <a:latin typeface="Arial" panose="020B0604020202020204"/>
                <a:ea typeface="+mn-ea"/>
                <a:cs typeface="+mn-cs"/>
              </a:rPr>
              <a:t>roposal</a:t>
            </a:r>
            <a:r>
              <a:rPr kumimoji="0" lang="en-GB" b="0" i="0" u="none" strike="noStrike" kern="1200" cap="none" spc="0" normalizeH="0" baseline="0" noProof="0" dirty="0">
                <a:ln>
                  <a:noFill/>
                </a:ln>
                <a:solidFill>
                  <a:srgbClr val="454545"/>
                </a:solidFill>
                <a:effectLst/>
                <a:uLnTx/>
                <a:uFillTx/>
                <a:latin typeface="Arial" panose="020B0604020202020204"/>
                <a:ea typeface="+mn-ea"/>
                <a:cs typeface="+mn-cs"/>
              </a:rPr>
              <a:t> and proceed directly to Code Administrator Consultation.</a:t>
            </a:r>
          </a:p>
        </p:txBody>
      </p:sp>
    </p:spTree>
    <p:extLst>
      <p:ext uri="{BB962C8B-B14F-4D97-AF65-F5344CB8AC3E}">
        <p14:creationId xmlns:p14="http://schemas.microsoft.com/office/powerpoint/2010/main" val="504968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8145032" cy="657605"/>
          </a:xfrm>
        </p:spPr>
        <p:txBody>
          <a:bodyPr/>
          <a:lstStyle/>
          <a:p>
            <a:r>
              <a:rPr lang="en-GB" altLang="en-US" sz="3600" b="1" dirty="0"/>
              <a:t>Ofgem’s Urgency Criteria</a:t>
            </a:r>
            <a:endParaRPr lang="en-GB" altLang="en-US" sz="1800" b="1" dirty="0"/>
          </a:p>
        </p:txBody>
      </p:sp>
      <p:sp>
        <p:nvSpPr>
          <p:cNvPr id="3" name="Rectangle 2"/>
          <p:cNvSpPr/>
          <p:nvPr/>
        </p:nvSpPr>
        <p:spPr>
          <a:xfrm>
            <a:off x="217303" y="977735"/>
            <a:ext cx="11521280" cy="379656"/>
          </a:xfrm>
          <a:prstGeom prst="rect">
            <a:avLst/>
          </a:prstGeom>
        </p:spPr>
        <p:txBody>
          <a:bodyPr wrap="square" anchor="t">
            <a:spAutoFit/>
          </a:bodyPr>
          <a:lstStyle/>
          <a:p>
            <a:pPr indent="-249265" algn="just"/>
            <a:endParaRPr lang="en-GB" sz="1600" dirty="0">
              <a:latin typeface="Arial" panose="020B0604020202020204" pitchFamily="34" charset="0"/>
              <a:ea typeface="+mn-lt"/>
              <a:cs typeface="Arial" panose="020B0604020202020204" pitchFamily="34" charset="0"/>
            </a:endParaRPr>
          </a:p>
          <a:p>
            <a:pPr defTabSz="554478">
              <a:defRPr/>
            </a:pPr>
            <a:endParaRPr lang="en-GB" altLang="en-US" sz="267" dirty="0">
              <a:solidFill>
                <a:srgbClr val="454545"/>
              </a:solidFill>
              <a:latin typeface="Arial" panose="020B0604020202020204"/>
            </a:endParaRPr>
          </a:p>
        </p:txBody>
      </p:sp>
      <p:sp>
        <p:nvSpPr>
          <p:cNvPr id="2" name="Rectangle 1">
            <a:extLst>
              <a:ext uri="{FF2B5EF4-FFF2-40B4-BE49-F238E27FC236}">
                <a16:creationId xmlns:a16="http://schemas.microsoft.com/office/drawing/2014/main" id="{4C81A48D-61B0-4436-A9CF-EBE200558CB4}"/>
              </a:ext>
            </a:extLst>
          </p:cNvPr>
          <p:cNvSpPr/>
          <p:nvPr/>
        </p:nvSpPr>
        <p:spPr>
          <a:xfrm>
            <a:off x="217303" y="861847"/>
            <a:ext cx="11616734" cy="2308324"/>
          </a:xfrm>
          <a:prstGeom prst="rect">
            <a:avLst/>
          </a:prstGeom>
        </p:spPr>
        <p:txBody>
          <a:bodyPr wrap="square">
            <a:spAutoFit/>
          </a:bodyPr>
          <a:lstStyle/>
          <a:p>
            <a:pPr>
              <a:defRPr/>
            </a:pPr>
            <a:r>
              <a:rPr lang="en-US" dirty="0">
                <a:latin typeface="Arial" panose="020B0604020202020204" pitchFamily="34" charset="0"/>
                <a:cs typeface="Arial" panose="020B0604020202020204" pitchFamily="34" charset="0"/>
              </a:rPr>
              <a:t>Ofgem’s current view is that an urgent modification should be linked to an imminent issue or a current issue that if not urgently addressed may cause:</a:t>
            </a:r>
          </a:p>
          <a:p>
            <a:pPr marL="685800" lvl="1" indent="-342900">
              <a:buFont typeface="+mj-lt"/>
              <a:buAutoNum type="alphaLcParenR"/>
              <a:defRPr/>
            </a:pPr>
            <a:r>
              <a:rPr lang="en-US" dirty="0">
                <a:latin typeface="Arial" panose="020B0604020202020204" pitchFamily="34" charset="0"/>
                <a:cs typeface="Arial" panose="020B0604020202020204" pitchFamily="34" charset="0"/>
              </a:rPr>
              <a:t>A significant commercial impact on parties, consumers or other stakeholder(s); or</a:t>
            </a:r>
          </a:p>
          <a:p>
            <a:pPr marL="685800" lvl="1" indent="-342900">
              <a:buFont typeface="+mj-lt"/>
              <a:buAutoNum type="alphaLcParenR"/>
              <a:defRPr/>
            </a:pPr>
            <a:r>
              <a:rPr lang="en-US" dirty="0">
                <a:latin typeface="Arial" panose="020B0604020202020204" pitchFamily="34" charset="0"/>
                <a:cs typeface="Arial" panose="020B0604020202020204" pitchFamily="34" charset="0"/>
              </a:rPr>
              <a:t>A significant impact on the safety and security of the electricity and/or gas systems; or </a:t>
            </a:r>
          </a:p>
          <a:p>
            <a:pPr marL="685800" lvl="1" indent="-342900">
              <a:buFont typeface="+mj-lt"/>
              <a:buAutoNum type="alphaLcParenR"/>
              <a:defRPr/>
            </a:pPr>
            <a:r>
              <a:rPr lang="en-US" dirty="0">
                <a:latin typeface="Arial" panose="020B0604020202020204" pitchFamily="34" charset="0"/>
                <a:cs typeface="Arial" panose="020B0604020202020204" pitchFamily="34" charset="0"/>
              </a:rPr>
              <a:t> A party to be in breach of any relevant legal requirements. </a:t>
            </a:r>
            <a:endParaRPr lang="en-US" b="1" dirty="0">
              <a:latin typeface="Arial" panose="020B0604020202020204" pitchFamily="34" charset="0"/>
              <a:cs typeface="Arial" panose="020B0604020202020204" pitchFamily="34" charset="0"/>
            </a:endParaRPr>
          </a:p>
          <a:p>
            <a:pPr>
              <a:defRPr/>
            </a:pPr>
            <a:endParaRPr lang="en-US" dirty="0">
              <a:latin typeface="Arial" panose="020B0604020202020204" pitchFamily="34" charset="0"/>
              <a:cs typeface="Arial" panose="020B0604020202020204" pitchFamily="34" charset="0"/>
            </a:endParaRPr>
          </a:p>
          <a:p>
            <a:pPr>
              <a:defRPr/>
            </a:pPr>
            <a:r>
              <a:rPr lang="en-US" dirty="0">
                <a:latin typeface="Arial" panose="020B0604020202020204" pitchFamily="34" charset="0"/>
                <a:cs typeface="Arial" panose="020B0604020202020204" pitchFamily="34" charset="0"/>
              </a:rPr>
              <a:t>More information can be found at:</a:t>
            </a:r>
          </a:p>
          <a:p>
            <a:pPr>
              <a:defRPr/>
            </a:pPr>
            <a:r>
              <a:rPr lang="en-US" dirty="0">
                <a:latin typeface="Arial" panose="020B0604020202020204" pitchFamily="34" charset="0"/>
                <a:cs typeface="Arial" panose="020B0604020202020204" pitchFamily="34" charset="0"/>
                <a:hlinkClick r:id="rId2"/>
              </a:rPr>
              <a:t>https://www.ofgem.gov.uk/system/files/docs/2016/02/urgency_criteria.pdf</a:t>
            </a:r>
            <a:r>
              <a:rPr lang="en-US"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010726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AA3D482-1954-7249-8E0B-75852F45ECAB}"/>
              </a:ext>
            </a:extLst>
          </p:cNvPr>
          <p:cNvSpPr>
            <a:spLocks noGrp="1"/>
          </p:cNvSpPr>
          <p:nvPr>
            <p:ph type="body" sz="quarter" idx="10"/>
          </p:nvPr>
        </p:nvSpPr>
        <p:spPr>
          <a:xfrm>
            <a:off x="394676" y="562048"/>
            <a:ext cx="4187483" cy="1014376"/>
          </a:xfrm>
        </p:spPr>
        <p:txBody>
          <a:bodyPr/>
          <a:lstStyle/>
          <a:p>
            <a:r>
              <a:rPr lang="en-US" sz="6600" dirty="0">
                <a:effectLst>
                  <a:outerShdw blurRad="50800" dist="50800" dir="5400000" algn="ctr" rotWithShape="0">
                    <a:schemeClr val="tx1"/>
                  </a:outerShdw>
                </a:effectLst>
                <a:latin typeface="+mn-lt"/>
              </a:rPr>
              <a:t>WELCOME</a:t>
            </a:r>
          </a:p>
        </p:txBody>
      </p:sp>
    </p:spTree>
    <p:extLst>
      <p:ext uri="{BB962C8B-B14F-4D97-AF65-F5344CB8AC3E}">
        <p14:creationId xmlns:p14="http://schemas.microsoft.com/office/powerpoint/2010/main" val="27046669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66020"/>
            <a:ext cx="11645088" cy="657605"/>
          </a:xfrm>
        </p:spPr>
        <p:txBody>
          <a:bodyPr/>
          <a:lstStyle/>
          <a:p>
            <a:r>
              <a:rPr lang="en-GB" altLang="en-US" sz="3200" b="1" dirty="0"/>
              <a:t>Proposer’s Justification vs Ofgem’s Urgency Criteria</a:t>
            </a:r>
          </a:p>
        </p:txBody>
      </p:sp>
      <p:graphicFrame>
        <p:nvGraphicFramePr>
          <p:cNvPr id="5" name="Table 4">
            <a:extLst>
              <a:ext uri="{FF2B5EF4-FFF2-40B4-BE49-F238E27FC236}">
                <a16:creationId xmlns:a16="http://schemas.microsoft.com/office/drawing/2014/main" id="{EB3E0D36-08D3-4482-9696-A7549EFFAEC6}"/>
              </a:ext>
            </a:extLst>
          </p:cNvPr>
          <p:cNvGraphicFramePr>
            <a:graphicFrameLocks noGrp="1"/>
          </p:cNvGraphicFramePr>
          <p:nvPr>
            <p:extLst>
              <p:ext uri="{D42A27DB-BD31-4B8C-83A1-F6EECF244321}">
                <p14:modId xmlns:p14="http://schemas.microsoft.com/office/powerpoint/2010/main" val="1924542366"/>
              </p:ext>
            </p:extLst>
          </p:nvPr>
        </p:nvGraphicFramePr>
        <p:xfrm>
          <a:off x="279207" y="723625"/>
          <a:ext cx="11788746" cy="4522610"/>
        </p:xfrm>
        <a:graphic>
          <a:graphicData uri="http://schemas.openxmlformats.org/drawingml/2006/table">
            <a:tbl>
              <a:tblPr firstRow="1" bandRow="1">
                <a:tableStyleId>{5C22544A-7EE6-4342-B048-85BDC9FD1C3A}</a:tableStyleId>
              </a:tblPr>
              <a:tblGrid>
                <a:gridCol w="3652651">
                  <a:extLst>
                    <a:ext uri="{9D8B030D-6E8A-4147-A177-3AD203B41FA5}">
                      <a16:colId xmlns:a16="http://schemas.microsoft.com/office/drawing/2014/main" val="3085215915"/>
                    </a:ext>
                  </a:extLst>
                </a:gridCol>
                <a:gridCol w="8136095">
                  <a:extLst>
                    <a:ext uri="{9D8B030D-6E8A-4147-A177-3AD203B41FA5}">
                      <a16:colId xmlns:a16="http://schemas.microsoft.com/office/drawing/2014/main" val="2353058680"/>
                    </a:ext>
                  </a:extLst>
                </a:gridCol>
              </a:tblGrid>
              <a:tr h="356256">
                <a:tc>
                  <a:txBody>
                    <a:bodyPr/>
                    <a:lstStyle/>
                    <a:p>
                      <a:r>
                        <a:rPr lang="en-GB" sz="1800" dirty="0">
                          <a:latin typeface="Arial" panose="020B0604020202020204" pitchFamily="34" charset="0"/>
                          <a:cs typeface="Arial" panose="020B0604020202020204" pitchFamily="34" charset="0"/>
                        </a:rPr>
                        <a:t>Ofgem’s Urgency Criteria</a:t>
                      </a:r>
                    </a:p>
                  </a:txBody>
                  <a:tcPr/>
                </a:tc>
                <a:tc>
                  <a:txBody>
                    <a:bodyPr/>
                    <a:lstStyle/>
                    <a:p>
                      <a:r>
                        <a:rPr lang="en-GB" sz="1800" dirty="0">
                          <a:latin typeface="Arial" panose="020B0604020202020204" pitchFamily="34" charset="0"/>
                          <a:cs typeface="Arial" panose="020B0604020202020204" pitchFamily="34" charset="0"/>
                        </a:rPr>
                        <a:t>Proposer’s Justification</a:t>
                      </a:r>
                    </a:p>
                  </a:txBody>
                  <a:tcPr/>
                </a:tc>
                <a:extLst>
                  <a:ext uri="{0D108BD9-81ED-4DB2-BD59-A6C34878D82A}">
                    <a16:rowId xmlns:a16="http://schemas.microsoft.com/office/drawing/2014/main" val="577926798"/>
                  </a:ext>
                </a:extLst>
              </a:tr>
              <a:tr h="2226599">
                <a:tc>
                  <a:txBody>
                    <a:bodyPr/>
                    <a:lstStyle/>
                    <a:p>
                      <a:pPr algn="just"/>
                      <a:r>
                        <a:rPr lang="en-US" sz="1600" u="none" dirty="0">
                          <a:latin typeface="Arial" panose="020B0604020202020204" pitchFamily="34" charset="0"/>
                          <a:cs typeface="Arial" panose="020B0604020202020204" pitchFamily="34" charset="0"/>
                        </a:rPr>
                        <a:t>a) A significant commercial impact on parties, consumers or other stakeholder(s).</a:t>
                      </a:r>
                      <a:endParaRPr lang="en-GB" sz="1600" u="none" dirty="0">
                        <a:latin typeface="Arial" panose="020B0604020202020204" pitchFamily="34" charset="0"/>
                        <a:cs typeface="Arial" panose="020B0604020202020204" pitchFamily="34" charset="0"/>
                      </a:endParaRPr>
                    </a:p>
                  </a:txBody>
                  <a:tcPr/>
                </a:tc>
                <a:tc>
                  <a:txBody>
                    <a:bodyPr/>
                    <a:lstStyle/>
                    <a:p>
                      <a:pPr algn="just"/>
                      <a:r>
                        <a:rPr lang="en-GB" sz="1600" dirty="0">
                          <a:latin typeface="Arial" panose="020B0604020202020204" pitchFamily="34" charset="0"/>
                          <a:cs typeface="Arial" panose="020B0604020202020204" pitchFamily="34" charset="0"/>
                        </a:rPr>
                        <a:t>The Proposer considers that this is an imminent issue or a current issue that if not urgently addressed may cause a significant commercial impact on parties, consumers or other stakeholder(s) and therefore meets Ofgem’s Urgency Criteria (a). </a:t>
                      </a:r>
                    </a:p>
                    <a:p>
                      <a:pPr algn="just"/>
                      <a:endParaRPr lang="en-GB" sz="1600" dirty="0">
                        <a:latin typeface="Arial" panose="020B0604020202020204" pitchFamily="34" charset="0"/>
                        <a:cs typeface="Arial" panose="020B0604020202020204" pitchFamily="34" charset="0"/>
                      </a:endParaRPr>
                    </a:p>
                    <a:p>
                      <a:pPr algn="just"/>
                      <a:r>
                        <a:rPr lang="en-GB" sz="1600" dirty="0">
                          <a:latin typeface="Arial" panose="020B0604020202020204" pitchFamily="34" charset="0"/>
                          <a:cs typeface="Arial" panose="020B0604020202020204" pitchFamily="34" charset="0"/>
                        </a:rPr>
                        <a:t>The Proposer considers that without Urgent change there would be a significant commercial impact on market participants due to the large changes in locational tariffs that would otherwise take effect on the 1 April 2021 and so without sufficient notice for them to understand and prepare for the effects. If the proposal was not treated as Urgent it would not have time to complete and be approved prior to the tariff setting process in December and January. </a:t>
                      </a:r>
                      <a:endParaRPr lang="en-GB" sz="1600" u="none"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88130396"/>
                  </a:ext>
                </a:extLst>
              </a:tr>
              <a:tr h="801576">
                <a:tc>
                  <a:txBody>
                    <a:bodyPr/>
                    <a:lstStyle/>
                    <a:p>
                      <a:pPr algn="just"/>
                      <a:r>
                        <a:rPr lang="en-GB" sz="1600" u="none" dirty="0">
                          <a:latin typeface="Arial" panose="020B0604020202020204" pitchFamily="34" charset="0"/>
                          <a:cs typeface="Arial" panose="020B0604020202020204" pitchFamily="34" charset="0"/>
                        </a:rPr>
                        <a:t>b) </a:t>
                      </a:r>
                      <a:r>
                        <a:rPr lang="en-US" sz="1600" u="none" dirty="0">
                          <a:latin typeface="Arial" panose="020B0604020202020204" pitchFamily="34" charset="0"/>
                          <a:cs typeface="Arial" panose="020B0604020202020204" pitchFamily="34" charset="0"/>
                        </a:rPr>
                        <a:t>A significant impact on the safety and security of the electricity and/or gas systems.</a:t>
                      </a:r>
                      <a:endParaRPr lang="en-GB" sz="1600" u="none" dirty="0">
                        <a:latin typeface="Arial" panose="020B0604020202020204" pitchFamily="34" charset="0"/>
                        <a:cs typeface="Arial" panose="020B0604020202020204" pitchFamily="34" charset="0"/>
                      </a:endParaRPr>
                    </a:p>
                  </a:txBody>
                  <a:tcPr/>
                </a:tc>
                <a:tc>
                  <a:txBody>
                    <a:bodyPr/>
                    <a:lstStyle/>
                    <a:p>
                      <a:pPr algn="just"/>
                      <a:r>
                        <a:rPr lang="en-GB" sz="1600" u="none" dirty="0">
                          <a:latin typeface="Arial" panose="020B0604020202020204" pitchFamily="34" charset="0"/>
                          <a:cs typeface="Arial" panose="020B0604020202020204" pitchFamily="34" charset="0"/>
                        </a:rPr>
                        <a:t>n/a</a:t>
                      </a:r>
                    </a:p>
                  </a:txBody>
                  <a:tcPr/>
                </a:tc>
                <a:extLst>
                  <a:ext uri="{0D108BD9-81ED-4DB2-BD59-A6C34878D82A}">
                    <a16:rowId xmlns:a16="http://schemas.microsoft.com/office/drawing/2014/main" val="984152188"/>
                  </a:ext>
                </a:extLst>
              </a:tr>
              <a:tr h="804050">
                <a:tc>
                  <a:txBody>
                    <a:bodyPr/>
                    <a:lstStyle/>
                    <a:p>
                      <a:pPr algn="just"/>
                      <a:r>
                        <a:rPr lang="en-GB" sz="1600" u="none" dirty="0">
                          <a:latin typeface="Arial" panose="020B0604020202020204" pitchFamily="34" charset="0"/>
                          <a:cs typeface="Arial" panose="020B0604020202020204" pitchFamily="34" charset="0"/>
                        </a:rPr>
                        <a:t>c) </a:t>
                      </a:r>
                      <a:r>
                        <a:rPr lang="en-US" sz="1600" u="none" dirty="0">
                          <a:latin typeface="Arial" panose="020B0604020202020204" pitchFamily="34" charset="0"/>
                          <a:cs typeface="Arial" panose="020B0604020202020204" pitchFamily="34" charset="0"/>
                        </a:rPr>
                        <a:t>A party to be in breach of any relevant legal requirements</a:t>
                      </a:r>
                      <a:endParaRPr lang="en-GB" sz="1600" u="none" dirty="0">
                        <a:latin typeface="Arial" panose="020B0604020202020204" pitchFamily="34" charset="0"/>
                        <a:cs typeface="Arial" panose="020B0604020202020204" pitchFamily="34" charset="0"/>
                      </a:endParaRPr>
                    </a:p>
                  </a:txBody>
                  <a:tcPr/>
                </a:tc>
                <a:tc>
                  <a:txBody>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en-GB" sz="1600" u="none" dirty="0">
                          <a:solidFill>
                            <a:schemeClr val="dk1"/>
                          </a:solidFill>
                          <a:effectLst/>
                          <a:latin typeface="Arial" panose="020B0604020202020204" pitchFamily="34" charset="0"/>
                          <a:ea typeface="+mn-ea"/>
                          <a:cs typeface="Arial" panose="020B0604020202020204" pitchFamily="34" charset="0"/>
                        </a:rPr>
                        <a:t>n/a</a:t>
                      </a:r>
                    </a:p>
                    <a:p>
                      <a:pPr algn="just"/>
                      <a:endParaRPr lang="en-GB" sz="1600" u="none"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290147811"/>
                  </a:ext>
                </a:extLst>
              </a:tr>
            </a:tbl>
          </a:graphicData>
        </a:graphic>
      </p:graphicFrame>
    </p:spTree>
    <p:extLst>
      <p:ext uri="{BB962C8B-B14F-4D97-AF65-F5344CB8AC3E}">
        <p14:creationId xmlns:p14="http://schemas.microsoft.com/office/powerpoint/2010/main" val="41248648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350920" cy="657605"/>
          </a:xfrm>
        </p:spPr>
        <p:txBody>
          <a:bodyPr/>
          <a:lstStyle/>
          <a:p>
            <a:r>
              <a:rPr lang="en-GB" sz="2400" b="1" dirty="0"/>
              <a:t>Timeline for CMP353 – Proposed Urgent Timeline </a:t>
            </a:r>
            <a:r>
              <a:rPr lang="en-GB" sz="2400" b="1" i="1" dirty="0"/>
              <a:t>(Code Administrator Consultation)</a:t>
            </a:r>
            <a:endParaRPr lang="en-GB" altLang="en-US" sz="2400" b="1" dirty="0"/>
          </a:p>
        </p:txBody>
      </p:sp>
      <p:sp>
        <p:nvSpPr>
          <p:cNvPr id="3" name="Rectangle 2"/>
          <p:cNvSpPr/>
          <p:nvPr/>
        </p:nvSpPr>
        <p:spPr>
          <a:xfrm>
            <a:off x="217303" y="977735"/>
            <a:ext cx="11521280" cy="379656"/>
          </a:xfrm>
          <a:prstGeom prst="rect">
            <a:avLst/>
          </a:prstGeom>
        </p:spPr>
        <p:txBody>
          <a:bodyPr wrap="square" anchor="t">
            <a:spAutoFit/>
          </a:bodyPr>
          <a:lstStyle/>
          <a:p>
            <a:pPr indent="-249265" algn="just"/>
            <a:endParaRPr lang="en-GB" sz="1600" dirty="0">
              <a:latin typeface="Arial" panose="020B0604020202020204" pitchFamily="34" charset="0"/>
              <a:ea typeface="+mn-lt"/>
              <a:cs typeface="Arial" panose="020B0604020202020204" pitchFamily="34" charset="0"/>
            </a:endParaRPr>
          </a:p>
          <a:p>
            <a:pPr defTabSz="554478">
              <a:defRPr/>
            </a:pPr>
            <a:endParaRPr lang="en-GB" altLang="en-US" sz="267" dirty="0">
              <a:solidFill>
                <a:srgbClr val="454545"/>
              </a:solidFill>
              <a:latin typeface="Arial" panose="020B0604020202020204"/>
            </a:endParaRPr>
          </a:p>
        </p:txBody>
      </p:sp>
      <p:graphicFrame>
        <p:nvGraphicFramePr>
          <p:cNvPr id="5" name="Table 4">
            <a:extLst>
              <a:ext uri="{FF2B5EF4-FFF2-40B4-BE49-F238E27FC236}">
                <a16:creationId xmlns:a16="http://schemas.microsoft.com/office/drawing/2014/main" id="{4CB550AD-0E0B-467B-A24E-263CEEC8C372}"/>
              </a:ext>
            </a:extLst>
          </p:cNvPr>
          <p:cNvGraphicFramePr>
            <a:graphicFrameLocks noGrp="1"/>
          </p:cNvGraphicFramePr>
          <p:nvPr>
            <p:extLst/>
          </p:nvPr>
        </p:nvGraphicFramePr>
        <p:xfrm>
          <a:off x="312681" y="987574"/>
          <a:ext cx="11662015" cy="4615782"/>
        </p:xfrm>
        <a:graphic>
          <a:graphicData uri="http://schemas.openxmlformats.org/drawingml/2006/table">
            <a:tbl>
              <a:tblPr firstRow="1" bandRow="1">
                <a:tableStyleId>{5C22544A-7EE6-4342-B048-85BDC9FD1C3A}</a:tableStyleId>
              </a:tblPr>
              <a:tblGrid>
                <a:gridCol w="3417419">
                  <a:extLst>
                    <a:ext uri="{9D8B030D-6E8A-4147-A177-3AD203B41FA5}">
                      <a16:colId xmlns:a16="http://schemas.microsoft.com/office/drawing/2014/main" val="2043401118"/>
                    </a:ext>
                  </a:extLst>
                </a:gridCol>
                <a:gridCol w="2546734">
                  <a:extLst>
                    <a:ext uri="{9D8B030D-6E8A-4147-A177-3AD203B41FA5}">
                      <a16:colId xmlns:a16="http://schemas.microsoft.com/office/drawing/2014/main" val="149780315"/>
                    </a:ext>
                  </a:extLst>
                </a:gridCol>
                <a:gridCol w="3624993">
                  <a:extLst>
                    <a:ext uri="{9D8B030D-6E8A-4147-A177-3AD203B41FA5}">
                      <a16:colId xmlns:a16="http://schemas.microsoft.com/office/drawing/2014/main" val="4112587689"/>
                    </a:ext>
                  </a:extLst>
                </a:gridCol>
                <a:gridCol w="2072869">
                  <a:extLst>
                    <a:ext uri="{9D8B030D-6E8A-4147-A177-3AD203B41FA5}">
                      <a16:colId xmlns:a16="http://schemas.microsoft.com/office/drawing/2014/main" val="722626711"/>
                    </a:ext>
                  </a:extLst>
                </a:gridCol>
              </a:tblGrid>
              <a:tr h="485872">
                <a:tc>
                  <a:txBody>
                    <a:bodyPr/>
                    <a:lstStyle/>
                    <a:p>
                      <a:r>
                        <a:rPr lang="en-GB" sz="1400" dirty="0">
                          <a:latin typeface="Arial" panose="020B0604020202020204" pitchFamily="34" charset="0"/>
                          <a:cs typeface="Arial" panose="020B0604020202020204" pitchFamily="34" charset="0"/>
                        </a:rPr>
                        <a:t>Milestone</a:t>
                      </a:r>
                    </a:p>
                  </a:txBody>
                  <a:tcPr/>
                </a:tc>
                <a:tc>
                  <a:txBody>
                    <a:bodyPr/>
                    <a:lstStyle/>
                    <a:p>
                      <a:r>
                        <a:rPr lang="en-GB" sz="1400" dirty="0">
                          <a:latin typeface="Arial" panose="020B0604020202020204" pitchFamily="34" charset="0"/>
                          <a:cs typeface="Arial" panose="020B0604020202020204" pitchFamily="34" charset="0"/>
                        </a:rPr>
                        <a:t>Date</a:t>
                      </a:r>
                    </a:p>
                  </a:txBody>
                  <a:tcPr/>
                </a:tc>
                <a:tc>
                  <a:txBody>
                    <a:bodyPr/>
                    <a:lstStyle/>
                    <a:p>
                      <a:r>
                        <a:rPr lang="en-GB" sz="1400" dirty="0">
                          <a:latin typeface="Arial" panose="020B0604020202020204" pitchFamily="34" charset="0"/>
                          <a:cs typeface="Arial" panose="020B0604020202020204" pitchFamily="34" charset="0"/>
                        </a:rPr>
                        <a:t>Milestone</a:t>
                      </a:r>
                    </a:p>
                  </a:txBody>
                  <a:tcPr/>
                </a:tc>
                <a:tc>
                  <a:txBody>
                    <a:bodyPr/>
                    <a:lstStyle/>
                    <a:p>
                      <a:r>
                        <a:rPr lang="en-GB" sz="1400" dirty="0">
                          <a:latin typeface="Arial" panose="020B0604020202020204" pitchFamily="34" charset="0"/>
                          <a:cs typeface="Arial" panose="020B0604020202020204" pitchFamily="34" charset="0"/>
                        </a:rPr>
                        <a:t>Date</a:t>
                      </a:r>
                    </a:p>
                  </a:txBody>
                  <a:tcPr/>
                </a:tc>
                <a:extLst>
                  <a:ext uri="{0D108BD9-81ED-4DB2-BD59-A6C34878D82A}">
                    <a16:rowId xmlns:a16="http://schemas.microsoft.com/office/drawing/2014/main" val="383155423"/>
                  </a:ext>
                </a:extLst>
              </a:tr>
              <a:tr h="825982">
                <a:tc>
                  <a:txBody>
                    <a:bodyPr/>
                    <a:lstStyle/>
                    <a:p>
                      <a:r>
                        <a:rPr lang="en-GB" sz="1400" dirty="0">
                          <a:latin typeface="Arial" panose="020B0604020202020204" pitchFamily="34" charset="0"/>
                          <a:cs typeface="Arial" panose="020B0604020202020204" pitchFamily="34" charset="0"/>
                        </a:rPr>
                        <a:t>Modification presented to Panel</a:t>
                      </a:r>
                    </a:p>
                  </a:txBody>
                  <a:tcPr/>
                </a:tc>
                <a:tc>
                  <a:txBody>
                    <a:bodyPr/>
                    <a:lstStyle/>
                    <a:p>
                      <a:r>
                        <a:rPr lang="en-GB" sz="1400" dirty="0">
                          <a:latin typeface="Arial" panose="020B0604020202020204" pitchFamily="34" charset="0"/>
                          <a:cs typeface="Arial" panose="020B0604020202020204" pitchFamily="34" charset="0"/>
                        </a:rPr>
                        <a:t>30 October 2020</a:t>
                      </a:r>
                    </a:p>
                  </a:txBody>
                  <a:tcPr/>
                </a:tc>
                <a:tc>
                  <a:txBody>
                    <a:bodyPr/>
                    <a:lstStyle/>
                    <a:p>
                      <a:r>
                        <a:rPr lang="en-US" sz="1400" dirty="0">
                          <a:latin typeface="Arial" panose="020B0604020202020204" pitchFamily="34" charset="0"/>
                          <a:cs typeface="Arial" panose="020B0604020202020204" pitchFamily="34" charset="0"/>
                        </a:rPr>
                        <a:t>Final Modification Report issued to Panel to check votes recorded correctly</a:t>
                      </a:r>
                      <a:endParaRPr lang="en-GB" sz="14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24 November 2020 (3pm)</a:t>
                      </a:r>
                    </a:p>
                  </a:txBody>
                  <a:tcPr/>
                </a:tc>
                <a:extLst>
                  <a:ext uri="{0D108BD9-81ED-4DB2-BD59-A6C34878D82A}">
                    <a16:rowId xmlns:a16="http://schemas.microsoft.com/office/drawing/2014/main" val="4083485395"/>
                  </a:ext>
                </a:extLst>
              </a:tr>
              <a:tr h="825982">
                <a:tc>
                  <a:txBody>
                    <a:bodyPr/>
                    <a:lstStyle/>
                    <a:p>
                      <a:r>
                        <a:rPr lang="en-GB" sz="1400" dirty="0">
                          <a:latin typeface="Arial" panose="020B0604020202020204" pitchFamily="34" charset="0"/>
                          <a:cs typeface="Arial" panose="020B0604020202020204" pitchFamily="34" charset="0"/>
                        </a:rPr>
                        <a:t>Ofgem grant Urgency</a:t>
                      </a:r>
                    </a:p>
                  </a:txBody>
                  <a:tcPr/>
                </a:tc>
                <a:tc>
                  <a:txBody>
                    <a:bodyPr/>
                    <a:lstStyle/>
                    <a:p>
                      <a:r>
                        <a:rPr lang="en-GB" sz="1400" dirty="0">
                          <a:latin typeface="Arial" panose="020B0604020202020204" pitchFamily="34" charset="0"/>
                          <a:cs typeface="Arial" panose="020B0604020202020204" pitchFamily="34" charset="0"/>
                        </a:rPr>
                        <a:t>By 3 November 2020 (5pm)</a:t>
                      </a:r>
                    </a:p>
                  </a:txBody>
                  <a:tcPr/>
                </a:tc>
                <a:tc>
                  <a:txBody>
                    <a:bodyPr/>
                    <a:lstStyle/>
                    <a:p>
                      <a:r>
                        <a:rPr lang="en-US" sz="1400" dirty="0">
                          <a:latin typeface="Arial" panose="020B0604020202020204" pitchFamily="34" charset="0"/>
                          <a:cs typeface="Arial" panose="020B0604020202020204" pitchFamily="34" charset="0"/>
                        </a:rPr>
                        <a:t>Final Modification Report issued to Ofgem</a:t>
                      </a:r>
                      <a:endParaRPr lang="en-GB" sz="1400" dirty="0">
                        <a:latin typeface="Arial" panose="020B0604020202020204" pitchFamily="34" charset="0"/>
                        <a:cs typeface="Arial" panose="020B0604020202020204" pitchFamily="34" charset="0"/>
                      </a:endParaRPr>
                    </a:p>
                  </a:txBody>
                  <a:tcPr/>
                </a:tc>
                <a:tc>
                  <a:txBody>
                    <a:bodyPr/>
                    <a:lstStyle/>
                    <a:p>
                      <a:r>
                        <a:rPr lang="en-GB" sz="1400" dirty="0">
                          <a:latin typeface="Arial" panose="020B0604020202020204" pitchFamily="34" charset="0"/>
                          <a:cs typeface="Arial" panose="020B0604020202020204" pitchFamily="34" charset="0"/>
                        </a:rPr>
                        <a:t>25 November 2020 (3pm)</a:t>
                      </a:r>
                    </a:p>
                  </a:txBody>
                  <a:tcPr/>
                </a:tc>
                <a:extLst>
                  <a:ext uri="{0D108BD9-81ED-4DB2-BD59-A6C34878D82A}">
                    <a16:rowId xmlns:a16="http://schemas.microsoft.com/office/drawing/2014/main" val="3713368864"/>
                  </a:ext>
                </a:extLst>
              </a:tr>
              <a:tr h="825982">
                <a:tc>
                  <a:txBody>
                    <a:bodyPr/>
                    <a:lstStyle/>
                    <a:p>
                      <a:r>
                        <a:rPr lang="en-GB" sz="1400" dirty="0">
                          <a:latin typeface="Arial" panose="020B0604020202020204" pitchFamily="34" charset="0"/>
                          <a:cs typeface="Arial" panose="020B0604020202020204" pitchFamily="34" charset="0"/>
                        </a:rPr>
                        <a:t>Code Administrator Consultation (10 working days)</a:t>
                      </a:r>
                    </a:p>
                  </a:txBody>
                  <a:tcPr/>
                </a:tc>
                <a:tc>
                  <a:txBody>
                    <a:bodyPr/>
                    <a:lstStyle/>
                    <a:p>
                      <a:r>
                        <a:rPr lang="en-GB" sz="1400" i="0" dirty="0">
                          <a:latin typeface="Arial" panose="020B0604020202020204" pitchFamily="34" charset="0"/>
                          <a:cs typeface="Arial" panose="020B0604020202020204" pitchFamily="34" charset="0"/>
                        </a:rPr>
                        <a:t>4 November 2020 (9am) to 18 November 2020 (5pm)</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Ofgem decision (5 working days)</a:t>
                      </a:r>
                    </a:p>
                  </a:txBody>
                  <a:tcPr/>
                </a:tc>
                <a:tc>
                  <a:txBody>
                    <a:bodyPr/>
                    <a:lstStyle/>
                    <a:p>
                      <a:r>
                        <a:rPr lang="en-GB" sz="1400" dirty="0">
                          <a:latin typeface="Arial" panose="020B0604020202020204" pitchFamily="34" charset="0"/>
                          <a:cs typeface="Arial" panose="020B0604020202020204" pitchFamily="34" charset="0"/>
                        </a:rPr>
                        <a:t>2 December 2020</a:t>
                      </a:r>
                    </a:p>
                  </a:txBody>
                  <a:tcPr/>
                </a:tc>
                <a:extLst>
                  <a:ext uri="{0D108BD9-81ED-4DB2-BD59-A6C34878D82A}">
                    <a16:rowId xmlns:a16="http://schemas.microsoft.com/office/drawing/2014/main" val="2790556424"/>
                  </a:ext>
                </a:extLst>
              </a:tr>
              <a:tr h="825982">
                <a:tc>
                  <a:txBody>
                    <a:bodyPr/>
                    <a:lstStyle/>
                    <a:p>
                      <a:r>
                        <a:rPr lang="en-GB" sz="1400" dirty="0">
                          <a:latin typeface="Arial" panose="020B0604020202020204" pitchFamily="34" charset="0"/>
                          <a:cs typeface="Arial" panose="020B0604020202020204" pitchFamily="34" charset="0"/>
                        </a:rPr>
                        <a:t>Draft Final Modification Report (DFMR) issued to Panel</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i="0" dirty="0">
                          <a:latin typeface="Arial" panose="020B0604020202020204" pitchFamily="34" charset="0"/>
                          <a:cs typeface="Arial" panose="020B0604020202020204" pitchFamily="34" charset="0"/>
                        </a:rPr>
                        <a:t>20 November 2020</a:t>
                      </a:r>
                    </a:p>
                  </a:txBody>
                  <a:tcPr/>
                </a:tc>
                <a:tc>
                  <a:txBody>
                    <a:bodyPr/>
                    <a:lstStyle/>
                    <a:p>
                      <a:r>
                        <a:rPr lang="en-GB" sz="1400" dirty="0">
                          <a:latin typeface="Arial" panose="020B0604020202020204" pitchFamily="34" charset="0"/>
                          <a:cs typeface="Arial" panose="020B0604020202020204" pitchFamily="34" charset="0"/>
                        </a:rPr>
                        <a:t>Implementation Date </a:t>
                      </a:r>
                    </a:p>
                  </a:txBody>
                  <a:tcPr/>
                </a:tc>
                <a:tc>
                  <a:txBody>
                    <a:bodyPr/>
                    <a:lstStyle/>
                    <a:p>
                      <a:r>
                        <a:rPr lang="en-GB" sz="1400" dirty="0">
                          <a:latin typeface="Arial" panose="020B0604020202020204" pitchFamily="34" charset="0"/>
                          <a:cs typeface="Arial" panose="020B0604020202020204" pitchFamily="34" charset="0"/>
                        </a:rPr>
                        <a:t>1 April 2021</a:t>
                      </a:r>
                    </a:p>
                  </a:txBody>
                  <a:tcPr/>
                </a:tc>
                <a:extLst>
                  <a:ext uri="{0D108BD9-81ED-4DB2-BD59-A6C34878D82A}">
                    <a16:rowId xmlns:a16="http://schemas.microsoft.com/office/drawing/2014/main" val="2726378177"/>
                  </a:ext>
                </a:extLst>
              </a:tr>
              <a:tr h="825982">
                <a:tc>
                  <a:txBody>
                    <a:bodyPr/>
                    <a:lstStyle/>
                    <a:p>
                      <a:r>
                        <a:rPr lang="en-GB" sz="1400" dirty="0">
                          <a:latin typeface="Arial" panose="020B0604020202020204" pitchFamily="34" charset="0"/>
                          <a:cs typeface="Arial" panose="020B0604020202020204" pitchFamily="34" charset="0"/>
                        </a:rPr>
                        <a:t>Panel</a:t>
                      </a:r>
                      <a:r>
                        <a:rPr lang="en-GB" sz="1400" baseline="0" dirty="0">
                          <a:latin typeface="Arial" panose="020B0604020202020204" pitchFamily="34" charset="0"/>
                          <a:cs typeface="Arial" panose="020B0604020202020204" pitchFamily="34" charset="0"/>
                        </a:rPr>
                        <a:t> undertake DFMR recommendation vote (2 working days)</a:t>
                      </a:r>
                      <a:endParaRPr lang="en-US" sz="14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24 November 2020</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2461474842"/>
                  </a:ext>
                </a:extLst>
              </a:tr>
            </a:tbl>
          </a:graphicData>
        </a:graphic>
      </p:graphicFrame>
    </p:spTree>
    <p:extLst>
      <p:ext uri="{BB962C8B-B14F-4D97-AF65-F5344CB8AC3E}">
        <p14:creationId xmlns:p14="http://schemas.microsoft.com/office/powerpoint/2010/main" val="34208605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11350920" cy="657605"/>
          </a:xfrm>
        </p:spPr>
        <p:txBody>
          <a:bodyPr/>
          <a:lstStyle/>
          <a:p>
            <a:r>
              <a:rPr lang="en-GB" sz="2400" b="1" dirty="0"/>
              <a:t>Timeline for CMP353 – Proposed Urgent Timeline </a:t>
            </a:r>
            <a:r>
              <a:rPr lang="en-GB" sz="2400" b="1" i="1" dirty="0"/>
              <a:t>(Workgroup)</a:t>
            </a:r>
            <a:endParaRPr lang="en-GB" altLang="en-US" sz="2400" b="1" dirty="0"/>
          </a:p>
        </p:txBody>
      </p:sp>
      <p:sp>
        <p:nvSpPr>
          <p:cNvPr id="3" name="Rectangle 2"/>
          <p:cNvSpPr/>
          <p:nvPr/>
        </p:nvSpPr>
        <p:spPr>
          <a:xfrm>
            <a:off x="217303" y="977735"/>
            <a:ext cx="11521280" cy="379656"/>
          </a:xfrm>
          <a:prstGeom prst="rect">
            <a:avLst/>
          </a:prstGeom>
        </p:spPr>
        <p:txBody>
          <a:bodyPr wrap="square" anchor="t">
            <a:spAutoFit/>
          </a:bodyPr>
          <a:lstStyle/>
          <a:p>
            <a:pPr indent="-249265" algn="just"/>
            <a:endParaRPr lang="en-GB" sz="1600" dirty="0">
              <a:latin typeface="Arial" panose="020B0604020202020204" pitchFamily="34" charset="0"/>
              <a:ea typeface="+mn-lt"/>
              <a:cs typeface="Arial" panose="020B0604020202020204" pitchFamily="34" charset="0"/>
            </a:endParaRPr>
          </a:p>
          <a:p>
            <a:pPr defTabSz="554478">
              <a:defRPr/>
            </a:pPr>
            <a:endParaRPr lang="en-GB" altLang="en-US" sz="267" dirty="0">
              <a:solidFill>
                <a:srgbClr val="454545"/>
              </a:solidFill>
              <a:latin typeface="Arial" panose="020B0604020202020204"/>
            </a:endParaRPr>
          </a:p>
        </p:txBody>
      </p:sp>
      <p:graphicFrame>
        <p:nvGraphicFramePr>
          <p:cNvPr id="5" name="Table 4">
            <a:extLst>
              <a:ext uri="{FF2B5EF4-FFF2-40B4-BE49-F238E27FC236}">
                <a16:creationId xmlns:a16="http://schemas.microsoft.com/office/drawing/2014/main" id="{4CB550AD-0E0B-467B-A24E-263CEEC8C372}"/>
              </a:ext>
            </a:extLst>
          </p:cNvPr>
          <p:cNvGraphicFramePr>
            <a:graphicFrameLocks noGrp="1"/>
          </p:cNvGraphicFramePr>
          <p:nvPr>
            <p:extLst/>
          </p:nvPr>
        </p:nvGraphicFramePr>
        <p:xfrm>
          <a:off x="312681" y="987574"/>
          <a:ext cx="11662015" cy="5081579"/>
        </p:xfrm>
        <a:graphic>
          <a:graphicData uri="http://schemas.openxmlformats.org/drawingml/2006/table">
            <a:tbl>
              <a:tblPr firstRow="1" bandRow="1">
                <a:tableStyleId>{5C22544A-7EE6-4342-B048-85BDC9FD1C3A}</a:tableStyleId>
              </a:tblPr>
              <a:tblGrid>
                <a:gridCol w="3417419">
                  <a:extLst>
                    <a:ext uri="{9D8B030D-6E8A-4147-A177-3AD203B41FA5}">
                      <a16:colId xmlns:a16="http://schemas.microsoft.com/office/drawing/2014/main" val="2043401118"/>
                    </a:ext>
                  </a:extLst>
                </a:gridCol>
                <a:gridCol w="2546734">
                  <a:extLst>
                    <a:ext uri="{9D8B030D-6E8A-4147-A177-3AD203B41FA5}">
                      <a16:colId xmlns:a16="http://schemas.microsoft.com/office/drawing/2014/main" val="149780315"/>
                    </a:ext>
                  </a:extLst>
                </a:gridCol>
                <a:gridCol w="3624993">
                  <a:extLst>
                    <a:ext uri="{9D8B030D-6E8A-4147-A177-3AD203B41FA5}">
                      <a16:colId xmlns:a16="http://schemas.microsoft.com/office/drawing/2014/main" val="4112587689"/>
                    </a:ext>
                  </a:extLst>
                </a:gridCol>
                <a:gridCol w="2072869">
                  <a:extLst>
                    <a:ext uri="{9D8B030D-6E8A-4147-A177-3AD203B41FA5}">
                      <a16:colId xmlns:a16="http://schemas.microsoft.com/office/drawing/2014/main" val="722626711"/>
                    </a:ext>
                  </a:extLst>
                </a:gridCol>
              </a:tblGrid>
              <a:tr h="288051">
                <a:tc>
                  <a:txBody>
                    <a:bodyPr/>
                    <a:lstStyle/>
                    <a:p>
                      <a:r>
                        <a:rPr lang="en-GB" sz="1400" dirty="0">
                          <a:latin typeface="Arial" panose="020B0604020202020204" pitchFamily="34" charset="0"/>
                          <a:cs typeface="Arial" panose="020B0604020202020204" pitchFamily="34" charset="0"/>
                        </a:rPr>
                        <a:t>Milestone</a:t>
                      </a:r>
                    </a:p>
                  </a:txBody>
                  <a:tcPr/>
                </a:tc>
                <a:tc>
                  <a:txBody>
                    <a:bodyPr/>
                    <a:lstStyle/>
                    <a:p>
                      <a:r>
                        <a:rPr lang="en-GB" sz="1400" dirty="0">
                          <a:latin typeface="Arial" panose="020B0604020202020204" pitchFamily="34" charset="0"/>
                          <a:cs typeface="Arial" panose="020B0604020202020204" pitchFamily="34" charset="0"/>
                        </a:rPr>
                        <a:t>Date</a:t>
                      </a:r>
                    </a:p>
                  </a:txBody>
                  <a:tcPr/>
                </a:tc>
                <a:tc>
                  <a:txBody>
                    <a:bodyPr/>
                    <a:lstStyle/>
                    <a:p>
                      <a:r>
                        <a:rPr lang="en-GB" sz="1400" dirty="0">
                          <a:latin typeface="Arial" panose="020B0604020202020204" pitchFamily="34" charset="0"/>
                          <a:cs typeface="Arial" panose="020B0604020202020204" pitchFamily="34" charset="0"/>
                        </a:rPr>
                        <a:t>Milestone</a:t>
                      </a:r>
                    </a:p>
                  </a:txBody>
                  <a:tcPr/>
                </a:tc>
                <a:tc>
                  <a:txBody>
                    <a:bodyPr/>
                    <a:lstStyle/>
                    <a:p>
                      <a:r>
                        <a:rPr lang="en-GB" sz="1400" dirty="0">
                          <a:latin typeface="Arial" panose="020B0604020202020204" pitchFamily="34" charset="0"/>
                          <a:cs typeface="Arial" panose="020B0604020202020204" pitchFamily="34" charset="0"/>
                        </a:rPr>
                        <a:t>Date</a:t>
                      </a:r>
                    </a:p>
                  </a:txBody>
                  <a:tcPr/>
                </a:tc>
                <a:extLst>
                  <a:ext uri="{0D108BD9-81ED-4DB2-BD59-A6C34878D82A}">
                    <a16:rowId xmlns:a16="http://schemas.microsoft.com/office/drawing/2014/main" val="383155423"/>
                  </a:ext>
                </a:extLst>
              </a:tr>
              <a:tr h="489687">
                <a:tc>
                  <a:txBody>
                    <a:bodyPr/>
                    <a:lstStyle/>
                    <a:p>
                      <a:r>
                        <a:rPr lang="en-GB" sz="1400" dirty="0">
                          <a:latin typeface="Arial" panose="020B0604020202020204" pitchFamily="34" charset="0"/>
                          <a:cs typeface="Arial" panose="020B0604020202020204" pitchFamily="34" charset="0"/>
                        </a:rPr>
                        <a:t>Modification presented to Panel</a:t>
                      </a:r>
                    </a:p>
                  </a:txBody>
                  <a:tcPr/>
                </a:tc>
                <a:tc>
                  <a:txBody>
                    <a:bodyPr/>
                    <a:lstStyle/>
                    <a:p>
                      <a:r>
                        <a:rPr lang="en-GB" sz="1400" dirty="0">
                          <a:latin typeface="Arial" panose="020B0604020202020204" pitchFamily="34" charset="0"/>
                          <a:cs typeface="Arial" panose="020B0604020202020204" pitchFamily="34" charset="0"/>
                        </a:rPr>
                        <a:t>30 October 2020</a:t>
                      </a:r>
                    </a:p>
                  </a:txBody>
                  <a:tcPr/>
                </a:tc>
                <a:tc>
                  <a:txBody>
                    <a:bodyPr/>
                    <a:lstStyle/>
                    <a:p>
                      <a:r>
                        <a:rPr lang="en-GB" sz="1400" dirty="0">
                          <a:latin typeface="Arial" panose="020B0604020202020204" pitchFamily="34" charset="0"/>
                          <a:cs typeface="Arial" panose="020B0604020202020204" pitchFamily="34" charset="0"/>
                        </a:rPr>
                        <a:t>Code Administrator Consultation (2 working days)</a:t>
                      </a:r>
                    </a:p>
                  </a:txBody>
                  <a:tcPr/>
                </a:tc>
                <a:tc>
                  <a:txBody>
                    <a:bodyPr/>
                    <a:lstStyle/>
                    <a:p>
                      <a:r>
                        <a:rPr lang="en-GB" sz="1400" i="0" dirty="0">
                          <a:latin typeface="Arial" panose="020B0604020202020204" pitchFamily="34" charset="0"/>
                          <a:cs typeface="Arial" panose="020B0604020202020204" pitchFamily="34" charset="0"/>
                        </a:rPr>
                        <a:t>18 November 2020 (9am) to 19 November 2020 (5pm)</a:t>
                      </a:r>
                    </a:p>
                  </a:txBody>
                  <a:tcPr/>
                </a:tc>
                <a:extLst>
                  <a:ext uri="{0D108BD9-81ED-4DB2-BD59-A6C34878D82A}">
                    <a16:rowId xmlns:a16="http://schemas.microsoft.com/office/drawing/2014/main" val="4083485395"/>
                  </a:ext>
                </a:extLst>
              </a:tr>
              <a:tr h="489687">
                <a:tc>
                  <a:txBody>
                    <a:bodyPr/>
                    <a:lstStyle/>
                    <a:p>
                      <a:r>
                        <a:rPr lang="en-GB" sz="1400" dirty="0">
                          <a:latin typeface="Arial" panose="020B0604020202020204" pitchFamily="34" charset="0"/>
                          <a:cs typeface="Arial" panose="020B0604020202020204" pitchFamily="34" charset="0"/>
                        </a:rPr>
                        <a:t>Workgroup Nominations (2 Working Days)</a:t>
                      </a:r>
                    </a:p>
                  </a:txBody>
                  <a:tcPr/>
                </a:tc>
                <a:tc>
                  <a:txBody>
                    <a:bodyPr/>
                    <a:lstStyle/>
                    <a:p>
                      <a:r>
                        <a:rPr lang="en-GB" sz="1400" dirty="0">
                          <a:latin typeface="Arial" panose="020B0604020202020204" pitchFamily="34" charset="0"/>
                          <a:cs typeface="Arial" panose="020B0604020202020204" pitchFamily="34" charset="0"/>
                        </a:rPr>
                        <a:t>30 October 2020 (3pm) to 3 November 2020 (5pm)</a:t>
                      </a:r>
                    </a:p>
                  </a:txBody>
                  <a:tcPr/>
                </a:tc>
                <a:tc>
                  <a:txBody>
                    <a:bodyPr/>
                    <a:lstStyle/>
                    <a:p>
                      <a:r>
                        <a:rPr lang="en-GB" sz="1400" dirty="0">
                          <a:latin typeface="Arial" panose="020B0604020202020204" pitchFamily="34" charset="0"/>
                          <a:cs typeface="Arial" panose="020B0604020202020204" pitchFamily="34" charset="0"/>
                        </a:rPr>
                        <a:t>Draft Final Modification Report (DFMR) issued to Panel</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i="0" dirty="0">
                          <a:latin typeface="Arial" panose="020B0604020202020204" pitchFamily="34" charset="0"/>
                          <a:cs typeface="Arial" panose="020B0604020202020204" pitchFamily="34" charset="0"/>
                        </a:rPr>
                        <a:t>20 November 2020</a:t>
                      </a:r>
                    </a:p>
                    <a:p>
                      <a:endParaRPr lang="en-GB"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13368864"/>
                  </a:ext>
                </a:extLst>
              </a:tr>
              <a:tr h="486298">
                <a:tc>
                  <a:txBody>
                    <a:bodyPr/>
                    <a:lstStyle/>
                    <a:p>
                      <a:r>
                        <a:rPr lang="en-GB" sz="1400" dirty="0">
                          <a:latin typeface="Arial" panose="020B0604020202020204" pitchFamily="34" charset="0"/>
                          <a:cs typeface="Arial" panose="020B0604020202020204" pitchFamily="34" charset="0"/>
                        </a:rPr>
                        <a:t>Ofgem grant Urgency</a:t>
                      </a:r>
                    </a:p>
                  </a:txBody>
                  <a:tcPr/>
                </a:tc>
                <a:tc>
                  <a:txBody>
                    <a:bodyPr/>
                    <a:lstStyle/>
                    <a:p>
                      <a:r>
                        <a:rPr lang="en-GB" sz="1400" dirty="0">
                          <a:latin typeface="Arial" panose="020B0604020202020204" pitchFamily="34" charset="0"/>
                          <a:cs typeface="Arial" panose="020B0604020202020204" pitchFamily="34" charset="0"/>
                        </a:rPr>
                        <a:t>By 3 November 2020 (5pm)</a:t>
                      </a:r>
                    </a:p>
                  </a:txBody>
                  <a:tcPr/>
                </a:tc>
                <a:tc>
                  <a:txBody>
                    <a:bodyPr/>
                    <a:lstStyle/>
                    <a:p>
                      <a:r>
                        <a:rPr lang="en-GB" sz="1400" dirty="0">
                          <a:latin typeface="Arial" panose="020B0604020202020204" pitchFamily="34" charset="0"/>
                          <a:cs typeface="Arial" panose="020B0604020202020204" pitchFamily="34" charset="0"/>
                        </a:rPr>
                        <a:t>Panel</a:t>
                      </a:r>
                      <a:r>
                        <a:rPr lang="en-GB" sz="1400" baseline="0" dirty="0">
                          <a:latin typeface="Arial" panose="020B0604020202020204" pitchFamily="34" charset="0"/>
                          <a:cs typeface="Arial" panose="020B0604020202020204" pitchFamily="34" charset="0"/>
                        </a:rPr>
                        <a:t> undertake DFMR recommendation vote (2 working days)</a:t>
                      </a:r>
                      <a:endParaRPr lang="en-US" sz="14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24 November 2020</a:t>
                      </a:r>
                    </a:p>
                  </a:txBody>
                  <a:tcPr/>
                </a:tc>
                <a:extLst>
                  <a:ext uri="{0D108BD9-81ED-4DB2-BD59-A6C34878D82A}">
                    <a16:rowId xmlns:a16="http://schemas.microsoft.com/office/drawing/2014/main" val="2790556424"/>
                  </a:ext>
                </a:extLst>
              </a:tr>
              <a:tr h="489687">
                <a:tc>
                  <a:txBody>
                    <a:bodyPr/>
                    <a:lstStyle/>
                    <a:p>
                      <a:r>
                        <a:rPr lang="en-GB" sz="1400" dirty="0">
                          <a:latin typeface="Arial" panose="020B0604020202020204" pitchFamily="34" charset="0"/>
                          <a:cs typeface="Arial" panose="020B0604020202020204" pitchFamily="34" charset="0"/>
                        </a:rPr>
                        <a:t>Workgroups 1 and 2 (assuming Ofgem have granted Urgency)</a:t>
                      </a:r>
                    </a:p>
                  </a:txBody>
                  <a:tcPr/>
                </a:tc>
                <a:tc>
                  <a:txBody>
                    <a:bodyPr/>
                    <a:lstStyle/>
                    <a:p>
                      <a:r>
                        <a:rPr lang="en-GB" sz="1400" dirty="0">
                          <a:latin typeface="Arial" panose="020B0604020202020204" pitchFamily="34" charset="0"/>
                          <a:cs typeface="Arial" panose="020B0604020202020204" pitchFamily="34" charset="0"/>
                        </a:rPr>
                        <a:t>4 November 2020 and 6 November 2020</a:t>
                      </a:r>
                    </a:p>
                  </a:txBody>
                  <a:tcPr/>
                </a:tc>
                <a:tc>
                  <a:txBody>
                    <a:bodyPr/>
                    <a:lstStyle/>
                    <a:p>
                      <a:r>
                        <a:rPr lang="en-US" sz="1400" dirty="0">
                          <a:latin typeface="Arial" panose="020B0604020202020204" pitchFamily="34" charset="0"/>
                          <a:cs typeface="Arial" panose="020B0604020202020204" pitchFamily="34" charset="0"/>
                        </a:rPr>
                        <a:t>Final Modification Report issued to Panel to check votes recorded correctly</a:t>
                      </a:r>
                      <a:endParaRPr lang="en-GB" sz="14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dirty="0">
                          <a:latin typeface="Arial" panose="020B0604020202020204" pitchFamily="34" charset="0"/>
                          <a:cs typeface="Arial" panose="020B0604020202020204" pitchFamily="34" charset="0"/>
                        </a:rPr>
                        <a:t>24 November 2020 (3pm)</a:t>
                      </a:r>
                    </a:p>
                  </a:txBody>
                  <a:tcPr/>
                </a:tc>
                <a:extLst>
                  <a:ext uri="{0D108BD9-81ED-4DB2-BD59-A6C34878D82A}">
                    <a16:rowId xmlns:a16="http://schemas.microsoft.com/office/drawing/2014/main" val="2726378177"/>
                  </a:ext>
                </a:extLst>
              </a:tr>
              <a:tr h="489687">
                <a:tc>
                  <a:txBody>
                    <a:bodyPr/>
                    <a:lstStyle/>
                    <a:p>
                      <a:r>
                        <a:rPr lang="en-GB" sz="1400" dirty="0">
                          <a:latin typeface="Arial" panose="020B0604020202020204" pitchFamily="34" charset="0"/>
                          <a:cs typeface="Arial" panose="020B0604020202020204" pitchFamily="34" charset="0"/>
                        </a:rPr>
                        <a:t>Workgroup Consultation (2 working days)</a:t>
                      </a:r>
                    </a:p>
                  </a:txBody>
                  <a:tcPr/>
                </a:tc>
                <a:tc>
                  <a:txBody>
                    <a:bodyPr/>
                    <a:lstStyle/>
                    <a:p>
                      <a:r>
                        <a:rPr lang="en-GB" sz="1400" dirty="0">
                          <a:latin typeface="Arial" panose="020B0604020202020204" pitchFamily="34" charset="0"/>
                          <a:cs typeface="Arial" panose="020B0604020202020204" pitchFamily="34" charset="0"/>
                        </a:rPr>
                        <a:t>9 November 2020 (9am) to 5pm 10 November 2020</a:t>
                      </a:r>
                    </a:p>
                  </a:txBody>
                  <a:tcPr/>
                </a:tc>
                <a:tc>
                  <a:txBody>
                    <a:bodyPr/>
                    <a:lstStyle/>
                    <a:p>
                      <a:r>
                        <a:rPr lang="en-US" sz="1400" dirty="0">
                          <a:latin typeface="Arial" panose="020B0604020202020204" pitchFamily="34" charset="0"/>
                          <a:cs typeface="Arial" panose="020B0604020202020204" pitchFamily="34" charset="0"/>
                        </a:rPr>
                        <a:t>Final Modification Report issued to Ofgem</a:t>
                      </a:r>
                      <a:endParaRPr lang="en-GB" sz="1400" dirty="0">
                        <a:latin typeface="Arial" panose="020B0604020202020204" pitchFamily="34" charset="0"/>
                        <a:cs typeface="Arial" panose="020B0604020202020204" pitchFamily="34" charset="0"/>
                      </a:endParaRPr>
                    </a:p>
                  </a:txBody>
                  <a:tcPr/>
                </a:tc>
                <a:tc>
                  <a:txBody>
                    <a:bodyPr/>
                    <a:lstStyle/>
                    <a:p>
                      <a:r>
                        <a:rPr lang="en-GB" sz="1400" dirty="0">
                          <a:latin typeface="Arial" panose="020B0604020202020204" pitchFamily="34" charset="0"/>
                          <a:cs typeface="Arial" panose="020B0604020202020204" pitchFamily="34" charset="0"/>
                        </a:rPr>
                        <a:t>25 November 2020 (3pm)</a:t>
                      </a:r>
                    </a:p>
                  </a:txBody>
                  <a:tcPr/>
                </a:tc>
                <a:extLst>
                  <a:ext uri="{0D108BD9-81ED-4DB2-BD59-A6C34878D82A}">
                    <a16:rowId xmlns:a16="http://schemas.microsoft.com/office/drawing/2014/main" val="2461474842"/>
                  </a:ext>
                </a:extLst>
              </a:tr>
              <a:tr h="691323">
                <a:tc>
                  <a:txBody>
                    <a:bodyPr/>
                    <a:lstStyle/>
                    <a:p>
                      <a:r>
                        <a:rPr lang="en-GB" sz="1400" dirty="0">
                          <a:latin typeface="Arial" panose="020B0604020202020204" pitchFamily="34" charset="0"/>
                          <a:cs typeface="Arial" panose="020B0604020202020204" pitchFamily="34" charset="0"/>
                        </a:rPr>
                        <a:t>Workgroups 3 and 4 </a:t>
                      </a:r>
                      <a:r>
                        <a:rPr lang="en-GB" sz="1400" strike="noStrike" baseline="0" dirty="0">
                          <a:latin typeface="Arial" panose="020B0604020202020204" pitchFamily="34" charset="0"/>
                          <a:cs typeface="Arial" panose="020B0604020202020204" pitchFamily="34" charset="0"/>
                        </a:rPr>
                        <a:t>- Assess Workgroup Consultation Responses and </a:t>
                      </a:r>
                      <a:r>
                        <a:rPr lang="en-GB" sz="1400" dirty="0">
                          <a:latin typeface="Arial" panose="020B0604020202020204" pitchFamily="34" charset="0"/>
                          <a:cs typeface="Arial" panose="020B0604020202020204" pitchFamily="34" charset="0"/>
                        </a:rPr>
                        <a:t>Workgroup Vote</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12 and 13 November 2020</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Ofgem decision (5 working days)</a:t>
                      </a:r>
                    </a:p>
                  </a:txBody>
                  <a:tcPr/>
                </a:tc>
                <a:tc>
                  <a:txBody>
                    <a:bodyPr/>
                    <a:lstStyle/>
                    <a:p>
                      <a:r>
                        <a:rPr lang="en-GB" sz="1400" dirty="0">
                          <a:latin typeface="Arial" panose="020B0604020202020204" pitchFamily="34" charset="0"/>
                          <a:cs typeface="Arial" panose="020B0604020202020204" pitchFamily="34" charset="0"/>
                        </a:rPr>
                        <a:t>2 December 2020</a:t>
                      </a:r>
                    </a:p>
                  </a:txBody>
                  <a:tcPr/>
                </a:tc>
                <a:extLst>
                  <a:ext uri="{0D108BD9-81ED-4DB2-BD59-A6C34878D82A}">
                    <a16:rowId xmlns:a16="http://schemas.microsoft.com/office/drawing/2014/main" val="1338958629"/>
                  </a:ext>
                </a:extLst>
              </a:tr>
              <a:tr h="489687">
                <a:tc>
                  <a:txBody>
                    <a:bodyPr/>
                    <a:lstStyle/>
                    <a:p>
                      <a:r>
                        <a:rPr lang="en-US" sz="1400" dirty="0">
                          <a:latin typeface="Arial" panose="020B0604020202020204" pitchFamily="34" charset="0"/>
                          <a:cs typeface="Arial" panose="020B0604020202020204" pitchFamily="34" charset="0"/>
                        </a:rPr>
                        <a:t>Workgroup report issued to Panel (1 working day)</a:t>
                      </a:r>
                      <a:endParaRPr lang="en-GB" sz="1400" dirty="0">
                        <a:latin typeface="Arial" panose="020B0604020202020204" pitchFamily="34" charset="0"/>
                        <a:cs typeface="Arial" panose="020B0604020202020204" pitchFamily="34" charset="0"/>
                      </a:endParaRPr>
                    </a:p>
                  </a:txBody>
                  <a:tcPr/>
                </a:tc>
                <a:tc>
                  <a:txBody>
                    <a:bodyPr/>
                    <a:lstStyle/>
                    <a:p>
                      <a:r>
                        <a:rPr lang="en-GB" sz="1400" dirty="0">
                          <a:latin typeface="Arial" panose="020B0604020202020204" pitchFamily="34" charset="0"/>
                          <a:cs typeface="Arial" panose="020B0604020202020204" pitchFamily="34" charset="0"/>
                        </a:rPr>
                        <a:t>16 November 2020</a:t>
                      </a:r>
                    </a:p>
                  </a:txBody>
                  <a:tcPr/>
                </a:tc>
                <a:tc>
                  <a:txBody>
                    <a:bodyPr/>
                    <a:lstStyle/>
                    <a:p>
                      <a:r>
                        <a:rPr lang="en-GB" sz="1400" dirty="0">
                          <a:latin typeface="Arial" panose="020B0604020202020204" pitchFamily="34" charset="0"/>
                          <a:cs typeface="Arial" panose="020B0604020202020204" pitchFamily="34" charset="0"/>
                        </a:rPr>
                        <a:t>Implementation Date </a:t>
                      </a:r>
                    </a:p>
                  </a:txBody>
                  <a:tcPr/>
                </a:tc>
                <a:tc>
                  <a:txBody>
                    <a:bodyPr/>
                    <a:lstStyle/>
                    <a:p>
                      <a:r>
                        <a:rPr lang="en-GB" sz="1400" dirty="0">
                          <a:latin typeface="Arial" panose="020B0604020202020204" pitchFamily="34" charset="0"/>
                          <a:cs typeface="Arial" panose="020B0604020202020204" pitchFamily="34" charset="0"/>
                        </a:rPr>
                        <a:t>1 April 2021</a:t>
                      </a:r>
                    </a:p>
                  </a:txBody>
                  <a:tcPr/>
                </a:tc>
                <a:extLst>
                  <a:ext uri="{0D108BD9-81ED-4DB2-BD59-A6C34878D82A}">
                    <a16:rowId xmlns:a16="http://schemas.microsoft.com/office/drawing/2014/main" val="3799481148"/>
                  </a:ext>
                </a:extLst>
              </a:tr>
              <a:tr h="72293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Panel</a:t>
                      </a:r>
                      <a:r>
                        <a:rPr lang="en-GB" sz="1400" baseline="0" dirty="0">
                          <a:latin typeface="Arial" panose="020B0604020202020204" pitchFamily="34" charset="0"/>
                          <a:cs typeface="Arial" panose="020B0604020202020204" pitchFamily="34" charset="0"/>
                        </a:rPr>
                        <a:t> sign off that Workgroup Report has met its Terms of Reference</a:t>
                      </a:r>
                      <a:endParaRPr lang="en-GB" sz="14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400" dirty="0">
                          <a:latin typeface="Arial" panose="020B0604020202020204" pitchFamily="34" charset="0"/>
                          <a:cs typeface="Arial" panose="020B0604020202020204" pitchFamily="34" charset="0"/>
                        </a:rPr>
                        <a:t>17 November 2020</a:t>
                      </a:r>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4293277181"/>
                  </a:ext>
                </a:extLst>
              </a:tr>
            </a:tbl>
          </a:graphicData>
        </a:graphic>
      </p:graphicFrame>
    </p:spTree>
    <p:extLst>
      <p:ext uri="{BB962C8B-B14F-4D97-AF65-F5344CB8AC3E}">
        <p14:creationId xmlns:p14="http://schemas.microsoft.com/office/powerpoint/2010/main" val="35639962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372" y="287806"/>
            <a:ext cx="11394912" cy="637747"/>
          </a:xfrm>
        </p:spPr>
        <p:txBody>
          <a:bodyPr/>
          <a:lstStyle/>
          <a:p>
            <a:pPr lvl="0" defTabSz="914400">
              <a:lnSpc>
                <a:spcPct val="80000"/>
              </a:lnSpc>
              <a:spcBef>
                <a:spcPts val="0"/>
              </a:spcBef>
              <a:defRPr/>
            </a:pPr>
            <a:r>
              <a:rPr lang="en-GB" sz="3600" b="1" kern="0" dirty="0">
                <a:latin typeface="Helvetica Neue Condensed" panose="02000503000000020004"/>
                <a:cs typeface="Helvetica" panose="020B0604020202020204" pitchFamily="34" charset="0"/>
              </a:rPr>
              <a:t>Panel Decision and Next Steps</a:t>
            </a:r>
          </a:p>
        </p:txBody>
      </p:sp>
      <p:sp>
        <p:nvSpPr>
          <p:cNvPr id="3" name="Rectangle 2">
            <a:extLst>
              <a:ext uri="{FF2B5EF4-FFF2-40B4-BE49-F238E27FC236}">
                <a16:creationId xmlns:a16="http://schemas.microsoft.com/office/drawing/2014/main" id="{99958B4C-611D-4232-8E5C-AA2003AE1D79}"/>
              </a:ext>
            </a:extLst>
          </p:cNvPr>
          <p:cNvSpPr/>
          <p:nvPr/>
        </p:nvSpPr>
        <p:spPr>
          <a:xfrm>
            <a:off x="258372" y="925553"/>
            <a:ext cx="11554400" cy="5016758"/>
          </a:xfrm>
          <a:prstGeom prst="rect">
            <a:avLst/>
          </a:prstGeom>
        </p:spPr>
        <p:txBody>
          <a:bodyPr wrap="square">
            <a:spAutoFit/>
          </a:bodyPr>
          <a:lstStyle/>
          <a:p>
            <a:pPr lvl="0" defTabSz="415869">
              <a:defRPr/>
            </a:pPr>
            <a:r>
              <a:rPr lang="en-GB" sz="2000" u="sng" dirty="0">
                <a:solidFill>
                  <a:srgbClr val="454545"/>
                </a:solidFill>
                <a:latin typeface="Arial" panose="020B0604020202020204"/>
              </a:rPr>
              <a:t>Does the Panel agree that:</a:t>
            </a:r>
          </a:p>
          <a:p>
            <a:pPr lvl="0" defTabSz="415869">
              <a:defRPr/>
            </a:pPr>
            <a:endParaRPr lang="en-GB" sz="2000" dirty="0">
              <a:solidFill>
                <a:srgbClr val="454545"/>
              </a:solidFill>
              <a:latin typeface="Arial" panose="020B0604020202020204"/>
            </a:endParaRPr>
          </a:p>
          <a:p>
            <a:pPr marL="285750" lvl="0" indent="-285750" defTabSz="415869">
              <a:buFont typeface="Arial" panose="020B0604020202020204" pitchFamily="34" charset="0"/>
              <a:buChar char="•"/>
              <a:defRPr/>
            </a:pPr>
            <a:r>
              <a:rPr lang="en-GB" sz="2000" dirty="0">
                <a:solidFill>
                  <a:srgbClr val="454545"/>
                </a:solidFill>
                <a:latin typeface="Arial" panose="020B0604020202020204"/>
              </a:rPr>
              <a:t>This modification should proceed directly to Code Administrator Consultation</a:t>
            </a:r>
          </a:p>
          <a:p>
            <a:pPr marL="285750" lvl="0" indent="-285750" defTabSz="415869">
              <a:buFont typeface="Arial" panose="020B0604020202020204" pitchFamily="34" charset="0"/>
              <a:buChar char="•"/>
              <a:defRPr/>
            </a:pPr>
            <a:endParaRPr lang="en-GB" sz="2000" dirty="0">
              <a:solidFill>
                <a:srgbClr val="454545"/>
              </a:solidFill>
              <a:latin typeface="Arial" panose="020B0604020202020204"/>
            </a:endParaRPr>
          </a:p>
          <a:p>
            <a:pPr lvl="0" defTabSz="415869">
              <a:defRPr/>
            </a:pPr>
            <a:r>
              <a:rPr lang="en-GB" sz="2000" u="sng" dirty="0">
                <a:solidFill>
                  <a:srgbClr val="454545"/>
                </a:solidFill>
                <a:latin typeface="Arial" panose="020B0604020202020204"/>
              </a:rPr>
              <a:t>Panel will now be asked to:</a:t>
            </a:r>
          </a:p>
          <a:p>
            <a:pPr lvl="0" defTabSz="415869">
              <a:defRPr/>
            </a:pPr>
            <a:endParaRPr lang="en-GB" sz="2000" dirty="0">
              <a:solidFill>
                <a:srgbClr val="454545"/>
              </a:solidFill>
              <a:latin typeface="Arial" panose="020B0604020202020204"/>
            </a:endParaRPr>
          </a:p>
          <a:p>
            <a:pPr marL="285750" lvl="0" indent="-285750" defTabSz="415869">
              <a:buFont typeface="Arial" panose="020B0604020202020204" pitchFamily="34" charset="0"/>
              <a:buChar char="•"/>
              <a:defRPr/>
            </a:pPr>
            <a:r>
              <a:rPr lang="en-GB" sz="2000" dirty="0">
                <a:solidFill>
                  <a:srgbClr val="454545"/>
                </a:solidFill>
                <a:latin typeface="Arial" panose="020B0604020202020204"/>
              </a:rPr>
              <a:t>Carry out recommendation vote on the request for Urgency</a:t>
            </a:r>
          </a:p>
          <a:p>
            <a:pPr marL="285750" lvl="0" indent="-285750" defTabSz="415869">
              <a:buFont typeface="Arial" panose="020B0604020202020204" pitchFamily="34" charset="0"/>
              <a:buChar char="•"/>
              <a:defRPr/>
            </a:pPr>
            <a:endParaRPr lang="en-GB" sz="2000" dirty="0">
              <a:solidFill>
                <a:srgbClr val="454545"/>
              </a:solidFill>
              <a:latin typeface="Arial" panose="020B0604020202020204"/>
            </a:endParaRPr>
          </a:p>
          <a:p>
            <a:pPr marL="285750" lvl="0" indent="-285750" defTabSz="415869">
              <a:buFont typeface="Arial" panose="020B0604020202020204" pitchFamily="34" charset="0"/>
              <a:buChar char="•"/>
              <a:defRPr/>
            </a:pPr>
            <a:r>
              <a:rPr lang="en-GB" sz="2000" dirty="0">
                <a:solidFill>
                  <a:srgbClr val="454545"/>
                </a:solidFill>
                <a:latin typeface="Arial" panose="020B0604020202020204"/>
              </a:rPr>
              <a:t>Agree timetable</a:t>
            </a:r>
          </a:p>
          <a:p>
            <a:pPr lvl="0" defTabSz="415869">
              <a:defRPr/>
            </a:pPr>
            <a:endParaRPr lang="en-GB" sz="2000" dirty="0">
              <a:solidFill>
                <a:srgbClr val="454545"/>
              </a:solidFill>
              <a:latin typeface="Arial" panose="020B0604020202020204"/>
            </a:endParaRPr>
          </a:p>
          <a:p>
            <a:pPr lvl="0" defTabSz="415869">
              <a:defRPr/>
            </a:pPr>
            <a:r>
              <a:rPr lang="en-GB" sz="2000" u="sng" dirty="0">
                <a:solidFill>
                  <a:srgbClr val="454545"/>
                </a:solidFill>
                <a:latin typeface="Arial" panose="020B0604020202020204"/>
              </a:rPr>
              <a:t>Next Steps</a:t>
            </a:r>
          </a:p>
          <a:p>
            <a:pPr lvl="0" defTabSz="415869">
              <a:defRPr/>
            </a:pPr>
            <a:endParaRPr lang="en-GB" sz="2000" dirty="0">
              <a:solidFill>
                <a:srgbClr val="454545"/>
              </a:solidFill>
              <a:latin typeface="Arial" panose="020B0604020202020204"/>
            </a:endParaRPr>
          </a:p>
          <a:p>
            <a:pPr marL="285750" lvl="0" indent="-285750" defTabSz="415869">
              <a:buFont typeface="Arial" panose="020B0604020202020204" pitchFamily="34" charset="0"/>
              <a:buChar char="•"/>
              <a:defRPr/>
            </a:pPr>
            <a:r>
              <a:rPr lang="en-GB" sz="2000" dirty="0">
                <a:solidFill>
                  <a:srgbClr val="454545"/>
                </a:solidFill>
                <a:latin typeface="Arial" panose="020B0604020202020204"/>
              </a:rPr>
              <a:t>Under CUSC Section 8.24.4, we will  now consult the Authority as to whether this Modification is an Urgent CUSC Modification Proposal</a:t>
            </a:r>
          </a:p>
          <a:p>
            <a:pPr marL="742950" lvl="1" indent="-285750" defTabSz="415869">
              <a:buFont typeface="Arial" panose="020B0604020202020204" pitchFamily="34" charset="0"/>
              <a:buChar char="•"/>
              <a:defRPr/>
            </a:pPr>
            <a:r>
              <a:rPr lang="en-GB" sz="2000" dirty="0">
                <a:solidFill>
                  <a:srgbClr val="454545"/>
                </a:solidFill>
                <a:latin typeface="Arial" panose="020B0604020202020204"/>
              </a:rPr>
              <a:t>Letter to be sent to Ofgem 1</a:t>
            </a:r>
            <a:r>
              <a:rPr lang="en-GB" sz="2000" baseline="30000" dirty="0">
                <a:solidFill>
                  <a:srgbClr val="454545"/>
                </a:solidFill>
                <a:latin typeface="Arial" panose="020B0604020202020204"/>
              </a:rPr>
              <a:t>st</a:t>
            </a:r>
            <a:r>
              <a:rPr lang="en-GB" sz="2000" dirty="0">
                <a:solidFill>
                  <a:srgbClr val="454545"/>
                </a:solidFill>
                <a:latin typeface="Arial" panose="020B0604020202020204"/>
              </a:rPr>
              <a:t> thing 2 November 2020</a:t>
            </a:r>
          </a:p>
          <a:p>
            <a:pPr marL="742950" lvl="1" indent="-285750" defTabSz="415869">
              <a:buFont typeface="Arial" panose="020B0604020202020204" pitchFamily="34" charset="0"/>
              <a:buChar char="•"/>
              <a:defRPr/>
            </a:pPr>
            <a:r>
              <a:rPr lang="en-GB" sz="2000" dirty="0">
                <a:solidFill>
                  <a:srgbClr val="454545"/>
                </a:solidFill>
                <a:latin typeface="Arial" panose="020B0604020202020204"/>
              </a:rPr>
              <a:t>Ofgem approval of Urgent treatment sought by 5pm on 3 </a:t>
            </a:r>
            <a:r>
              <a:rPr lang="en-GB" sz="2000">
                <a:solidFill>
                  <a:srgbClr val="454545"/>
                </a:solidFill>
                <a:latin typeface="Arial" panose="020B0604020202020204"/>
              </a:rPr>
              <a:t>November 2020</a:t>
            </a:r>
            <a:endParaRPr lang="en-GB" sz="2000" dirty="0">
              <a:solidFill>
                <a:srgbClr val="454545"/>
              </a:solidFill>
              <a:latin typeface="Arial" panose="020B0604020202020204"/>
            </a:endParaRPr>
          </a:p>
        </p:txBody>
      </p:sp>
    </p:spTree>
    <p:extLst>
      <p:ext uri="{BB962C8B-B14F-4D97-AF65-F5344CB8AC3E}">
        <p14:creationId xmlns:p14="http://schemas.microsoft.com/office/powerpoint/2010/main" val="19716188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id="{F479FA83-5432-45CB-9A82-2408CEF38AD4}"/>
              </a:ext>
            </a:extLst>
          </p:cNvPr>
          <p:cNvSpPr>
            <a:spLocks noGrp="1"/>
          </p:cNvSpPr>
          <p:nvPr>
            <p:ph type="body" sz="quarter" idx="10"/>
          </p:nvPr>
        </p:nvSpPr>
        <p:spPr>
          <a:solidFill>
            <a:schemeClr val="bg1"/>
          </a:solidFill>
        </p:spPr>
        <p:txBody>
          <a:bodyPr/>
          <a:lstStyle/>
          <a:p>
            <a:r>
              <a:rPr lang="en-GB" sz="2800" b="1" dirty="0">
                <a:solidFill>
                  <a:srgbClr val="454545"/>
                </a:solidFill>
                <a:latin typeface="Arial" panose="020B0604020202020204" pitchFamily="34" charset="0"/>
                <a:ea typeface="Arial" panose="020B0604020202020204" pitchFamily="34" charset="0"/>
                <a:cs typeface="Times New Roman" panose="02020603050405020304" pitchFamily="18" charset="0"/>
              </a:rPr>
              <a:t>Review of all CUSC Modifications with current status, next steps and any Panel recommendations</a:t>
            </a:r>
            <a:endParaRPr lang="en-GB" sz="2800" b="1" dirty="0"/>
          </a:p>
          <a:p>
            <a:pPr>
              <a:spcAft>
                <a:spcPts val="0"/>
              </a:spcAft>
            </a:pPr>
            <a:endParaRPr lang="en-GB" sz="2800" b="1" dirty="0">
              <a:solidFill>
                <a:srgbClr val="454545"/>
              </a:solidFill>
              <a:latin typeface="Arial" panose="020B0604020202020204" pitchFamily="34" charset="0"/>
              <a:ea typeface="+mj-ea"/>
              <a:cs typeface="Times New Roman" panose="02020603050405020304" pitchFamily="18" charset="0"/>
            </a:endParaRPr>
          </a:p>
        </p:txBody>
      </p:sp>
      <p:sp>
        <p:nvSpPr>
          <p:cNvPr id="4" name="Title 1">
            <a:extLst>
              <a:ext uri="{FF2B5EF4-FFF2-40B4-BE49-F238E27FC236}">
                <a16:creationId xmlns:a16="http://schemas.microsoft.com/office/drawing/2014/main" id="{8163128C-6CBB-4BFE-858B-5EED77D92C6B}"/>
              </a:ext>
            </a:extLst>
          </p:cNvPr>
          <p:cNvSpPr>
            <a:spLocks noGrp="1"/>
          </p:cNvSpPr>
          <p:nvPr>
            <p:ph type="body" sz="quarter" idx="11"/>
          </p:nvPr>
        </p:nvSpPr>
        <p:spPr>
          <a:prstGeom prst="rect">
            <a:avLst/>
          </a:prstGeom>
          <a:solidFill>
            <a:schemeClr val="bg1"/>
          </a:solidFill>
        </p:spPr>
        <p:txBody>
          <a:bodyPr/>
          <a:lstStyle/>
          <a:p>
            <a:r>
              <a:rPr lang="en-GB" sz="4000" b="1" dirty="0"/>
              <a:t>In Flight Modification Updates </a:t>
            </a:r>
          </a:p>
        </p:txBody>
      </p:sp>
    </p:spTree>
    <p:extLst>
      <p:ext uri="{BB962C8B-B14F-4D97-AF65-F5344CB8AC3E}">
        <p14:creationId xmlns:p14="http://schemas.microsoft.com/office/powerpoint/2010/main" val="2723972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9233" y="237425"/>
            <a:ext cx="10790767" cy="461665"/>
          </a:xfrm>
          <a:prstGeom prst="rect">
            <a:avLst/>
          </a:prstGeom>
        </p:spPr>
        <p:txBody>
          <a:bodyPr vert="horz" wrap="square" lIns="0" tIns="0" rIns="0" bIns="0" rtlCol="0" anchor="t">
            <a:noAutofit/>
          </a:bodyPr>
          <a:lstStyle>
            <a:lvl1pPr eaLnBrk="1" hangingPunct="1">
              <a:lnSpc>
                <a:spcPct val="80000"/>
              </a:lnSpc>
              <a:defRPr sz="1800" b="1">
                <a:solidFill>
                  <a:schemeClr val="accent1"/>
                </a:solidFill>
                <a:latin typeface="+mj-lt"/>
                <a:ea typeface="+mj-ea"/>
                <a:cs typeface="+mj-cs"/>
              </a:defRPr>
            </a:lvl1pPr>
          </a:lstStyle>
          <a:p>
            <a:pPr defTabSz="1219170">
              <a:defRPr/>
            </a:pPr>
            <a:r>
              <a:rPr lang="en-GB" sz="3200" dirty="0">
                <a:solidFill>
                  <a:srgbClr val="FFBF22"/>
                </a:solidFill>
                <a:latin typeface="Helvetica Neue LT Std 65 Medium" panose="020B0604020202020204" pitchFamily="34" charset="0"/>
                <a:ea typeface="+mn-ea"/>
                <a:cs typeface="+mn-cs"/>
              </a:rPr>
              <a:t>Dashboard – CUSC (as at 27 October 2020)</a:t>
            </a:r>
          </a:p>
        </p:txBody>
      </p:sp>
      <p:graphicFrame>
        <p:nvGraphicFramePr>
          <p:cNvPr id="3" name="Table 2">
            <a:extLst>
              <a:ext uri="{FF2B5EF4-FFF2-40B4-BE49-F238E27FC236}">
                <a16:creationId xmlns:a16="http://schemas.microsoft.com/office/drawing/2014/main" id="{46055E2C-026B-4547-AD80-522F870CD14D}"/>
              </a:ext>
            </a:extLst>
          </p:cNvPr>
          <p:cNvGraphicFramePr>
            <a:graphicFrameLocks noGrp="1"/>
          </p:cNvGraphicFramePr>
          <p:nvPr>
            <p:extLst>
              <p:ext uri="{D42A27DB-BD31-4B8C-83A1-F6EECF244321}">
                <p14:modId xmlns:p14="http://schemas.microsoft.com/office/powerpoint/2010/main" val="2292595322"/>
              </p:ext>
            </p:extLst>
          </p:nvPr>
        </p:nvGraphicFramePr>
        <p:xfrm>
          <a:off x="251519" y="758646"/>
          <a:ext cx="11681248" cy="5273360"/>
        </p:xfrm>
        <a:graphic>
          <a:graphicData uri="http://schemas.openxmlformats.org/drawingml/2006/table">
            <a:tbl>
              <a:tblPr firstRow="1" bandRow="1">
                <a:tableStyleId>{5C22544A-7EE6-4342-B048-85BDC9FD1C3A}</a:tableStyleId>
              </a:tblPr>
              <a:tblGrid>
                <a:gridCol w="2666310">
                  <a:extLst>
                    <a:ext uri="{9D8B030D-6E8A-4147-A177-3AD203B41FA5}">
                      <a16:colId xmlns:a16="http://schemas.microsoft.com/office/drawing/2014/main" val="1042888888"/>
                    </a:ext>
                  </a:extLst>
                </a:gridCol>
                <a:gridCol w="1147339">
                  <a:extLst>
                    <a:ext uri="{9D8B030D-6E8A-4147-A177-3AD203B41FA5}">
                      <a16:colId xmlns:a16="http://schemas.microsoft.com/office/drawing/2014/main" val="52600907"/>
                    </a:ext>
                  </a:extLst>
                </a:gridCol>
                <a:gridCol w="958309">
                  <a:extLst>
                    <a:ext uri="{9D8B030D-6E8A-4147-A177-3AD203B41FA5}">
                      <a16:colId xmlns:a16="http://schemas.microsoft.com/office/drawing/2014/main" val="2287581551"/>
                    </a:ext>
                  </a:extLst>
                </a:gridCol>
                <a:gridCol w="1041126">
                  <a:extLst>
                    <a:ext uri="{9D8B030D-6E8A-4147-A177-3AD203B41FA5}">
                      <a16:colId xmlns:a16="http://schemas.microsoft.com/office/drawing/2014/main" val="3133976679"/>
                    </a:ext>
                  </a:extLst>
                </a:gridCol>
                <a:gridCol w="1289576">
                  <a:extLst>
                    <a:ext uri="{9D8B030D-6E8A-4147-A177-3AD203B41FA5}">
                      <a16:colId xmlns:a16="http://schemas.microsoft.com/office/drawing/2014/main" val="482854907"/>
                    </a:ext>
                  </a:extLst>
                </a:gridCol>
                <a:gridCol w="1443563">
                  <a:extLst>
                    <a:ext uri="{9D8B030D-6E8A-4147-A177-3AD203B41FA5}">
                      <a16:colId xmlns:a16="http://schemas.microsoft.com/office/drawing/2014/main" val="2221775587"/>
                    </a:ext>
                  </a:extLst>
                </a:gridCol>
                <a:gridCol w="3135025">
                  <a:extLst>
                    <a:ext uri="{9D8B030D-6E8A-4147-A177-3AD203B41FA5}">
                      <a16:colId xmlns:a16="http://schemas.microsoft.com/office/drawing/2014/main" val="2423532118"/>
                    </a:ext>
                  </a:extLst>
                </a:gridCol>
              </a:tblGrid>
              <a:tr h="266124">
                <a:tc>
                  <a:txBody>
                    <a:bodyPr/>
                    <a:lstStyle/>
                    <a:p>
                      <a:r>
                        <a:rPr lang="en-GB" sz="1200" dirty="0">
                          <a:latin typeface="Arial" panose="020B0604020202020204" pitchFamily="34" charset="0"/>
                          <a:cs typeface="Arial" panose="020B0604020202020204" pitchFamily="34" charset="0"/>
                        </a:rPr>
                        <a:t>Category</a:t>
                      </a:r>
                      <a:endParaRPr lang="en-US" sz="1200" dirty="0">
                        <a:latin typeface="Arial" panose="020B0604020202020204" pitchFamily="34" charset="0"/>
                        <a:cs typeface="Arial" panose="020B0604020202020204" pitchFamily="34" charset="0"/>
                      </a:endParaRPr>
                    </a:p>
                  </a:txBody>
                  <a:tcPr/>
                </a:tc>
                <a:tc>
                  <a:txBody>
                    <a:bodyPr/>
                    <a:lstStyle/>
                    <a:p>
                      <a:r>
                        <a:rPr lang="en-US" sz="1200" dirty="0">
                          <a:latin typeface="Arial" panose="020B0604020202020204" pitchFamily="34" charset="0"/>
                          <a:cs typeface="Arial" panose="020B0604020202020204" pitchFamily="34" charset="0"/>
                        </a:rPr>
                        <a:t>May</a:t>
                      </a:r>
                    </a:p>
                  </a:txBody>
                  <a:tcPr/>
                </a:tc>
                <a:tc>
                  <a:txBody>
                    <a:bodyPr/>
                    <a:lstStyle/>
                    <a:p>
                      <a:r>
                        <a:rPr lang="en-US" sz="1200" dirty="0">
                          <a:latin typeface="Arial" panose="020B0604020202020204" pitchFamily="34" charset="0"/>
                          <a:cs typeface="Arial" panose="020B0604020202020204" pitchFamily="34" charset="0"/>
                        </a:rPr>
                        <a:t>Jun</a:t>
                      </a:r>
                    </a:p>
                  </a:txBody>
                  <a:tcPr/>
                </a:tc>
                <a:tc>
                  <a:txBody>
                    <a:bodyPr/>
                    <a:lstStyle/>
                    <a:p>
                      <a:r>
                        <a:rPr lang="en-US" sz="1200" dirty="0">
                          <a:latin typeface="Arial" panose="020B0604020202020204" pitchFamily="34" charset="0"/>
                          <a:cs typeface="Arial" panose="020B0604020202020204" pitchFamily="34" charset="0"/>
                        </a:rPr>
                        <a:t>Jul</a:t>
                      </a:r>
                    </a:p>
                  </a:txBody>
                  <a:tcPr/>
                </a:tc>
                <a:tc>
                  <a:txBody>
                    <a:bodyPr/>
                    <a:lstStyle/>
                    <a:p>
                      <a:r>
                        <a:rPr lang="en-US" sz="1200" dirty="0">
                          <a:latin typeface="Arial" panose="020B0604020202020204" pitchFamily="34" charset="0"/>
                          <a:cs typeface="Arial" panose="020B0604020202020204" pitchFamily="34" charset="0"/>
                        </a:rPr>
                        <a:t>Aug</a:t>
                      </a:r>
                    </a:p>
                  </a:txBody>
                  <a:tcPr/>
                </a:tc>
                <a:tc>
                  <a:txBody>
                    <a:bodyPr/>
                    <a:lstStyle/>
                    <a:p>
                      <a:r>
                        <a:rPr lang="en-US" sz="1200" dirty="0">
                          <a:latin typeface="Arial" panose="020B0604020202020204" pitchFamily="34" charset="0"/>
                          <a:cs typeface="Arial" panose="020B0604020202020204" pitchFamily="34" charset="0"/>
                        </a:rPr>
                        <a:t>Sep</a:t>
                      </a:r>
                    </a:p>
                  </a:txBody>
                  <a:tcPr/>
                </a:tc>
                <a:tc>
                  <a:txBody>
                    <a:bodyPr/>
                    <a:lstStyle/>
                    <a:p>
                      <a:r>
                        <a:rPr lang="en-US" sz="1200" dirty="0">
                          <a:latin typeface="Arial" panose="020B0604020202020204" pitchFamily="34" charset="0"/>
                          <a:cs typeface="Arial" panose="020B0604020202020204" pitchFamily="34" charset="0"/>
                        </a:rPr>
                        <a:t>Oct</a:t>
                      </a:r>
                    </a:p>
                  </a:txBody>
                  <a:tcPr/>
                </a:tc>
                <a:extLst>
                  <a:ext uri="{0D108BD9-81ED-4DB2-BD59-A6C34878D82A}">
                    <a16:rowId xmlns:a16="http://schemas.microsoft.com/office/drawing/2014/main" val="4138300220"/>
                  </a:ext>
                </a:extLst>
              </a:tr>
              <a:tr h="266124">
                <a:tc>
                  <a:txBody>
                    <a:bodyPr/>
                    <a:lstStyle/>
                    <a:p>
                      <a:r>
                        <a:rPr lang="en-GB" sz="1200" dirty="0">
                          <a:latin typeface="Arial" panose="020B0604020202020204" pitchFamily="34" charset="0"/>
                          <a:cs typeface="Arial" panose="020B0604020202020204" pitchFamily="34" charset="0"/>
                        </a:rPr>
                        <a:t>New Modifications</a:t>
                      </a:r>
                      <a:endParaRPr lang="en-US" sz="1200" dirty="0">
                        <a:latin typeface="Arial" panose="020B0604020202020204" pitchFamily="34" charset="0"/>
                        <a:cs typeface="Arial" panose="020B0604020202020204" pitchFamily="34" charset="0"/>
                      </a:endParaRPr>
                    </a:p>
                  </a:txBody>
                  <a:tcPr/>
                </a:tc>
                <a:tc>
                  <a:txBody>
                    <a:bodyPr/>
                    <a:lstStyle/>
                    <a:p>
                      <a:r>
                        <a:rPr lang="en-US" sz="1200" dirty="0">
                          <a:latin typeface="Arial" panose="020B0604020202020204" pitchFamily="34" charset="0"/>
                          <a:cs typeface="Arial" panose="020B0604020202020204" pitchFamily="34" charset="0"/>
                        </a:rPr>
                        <a:t>4</a:t>
                      </a:r>
                    </a:p>
                  </a:txBody>
                  <a:tcPr/>
                </a:tc>
                <a:tc>
                  <a:txBody>
                    <a:bodyPr/>
                    <a:lstStyle/>
                    <a:p>
                      <a:r>
                        <a:rPr lang="en-US" sz="1200" dirty="0">
                          <a:latin typeface="Arial" panose="020B0604020202020204" pitchFamily="34" charset="0"/>
                          <a:cs typeface="Arial" panose="020B0604020202020204" pitchFamily="34" charset="0"/>
                        </a:rPr>
                        <a:t>2</a:t>
                      </a:r>
                    </a:p>
                  </a:txBody>
                  <a:tcPr/>
                </a:tc>
                <a:tc>
                  <a:txBody>
                    <a:bodyPr/>
                    <a:lstStyle/>
                    <a:p>
                      <a:r>
                        <a:rPr lang="en-US" sz="1200" dirty="0">
                          <a:latin typeface="Arial" panose="020B0604020202020204" pitchFamily="34" charset="0"/>
                          <a:cs typeface="Arial" panose="020B0604020202020204" pitchFamily="34" charset="0"/>
                        </a:rPr>
                        <a:t>3</a:t>
                      </a:r>
                    </a:p>
                  </a:txBody>
                  <a:tcPr/>
                </a:tc>
                <a:tc>
                  <a:txBody>
                    <a:bodyPr/>
                    <a:lstStyle/>
                    <a:p>
                      <a:r>
                        <a:rPr lang="en-US" sz="1200" dirty="0">
                          <a:latin typeface="Arial" panose="020B0604020202020204" pitchFamily="34" charset="0"/>
                          <a:cs typeface="Arial" panose="020B0604020202020204" pitchFamily="34" charset="0"/>
                        </a:rPr>
                        <a:t>0</a:t>
                      </a:r>
                    </a:p>
                  </a:txBody>
                  <a:tcPr/>
                </a:tc>
                <a:tc>
                  <a:txBody>
                    <a:bodyPr/>
                    <a:lstStyle/>
                    <a:p>
                      <a:r>
                        <a:rPr lang="en-US" sz="1200" dirty="0">
                          <a:latin typeface="Arial" panose="020B0604020202020204" pitchFamily="34" charset="0"/>
                          <a:cs typeface="Arial" panose="020B0604020202020204" pitchFamily="34" charset="0"/>
                        </a:rPr>
                        <a:t>1</a:t>
                      </a:r>
                    </a:p>
                  </a:txBody>
                  <a:tcPr/>
                </a:tc>
                <a:tc>
                  <a:txBody>
                    <a:bodyPr/>
                    <a:lstStyle/>
                    <a:p>
                      <a:r>
                        <a:rPr lang="en-US" sz="1200" dirty="0">
                          <a:latin typeface="Arial" panose="020B0604020202020204" pitchFamily="34" charset="0"/>
                          <a:cs typeface="Arial" panose="020B0604020202020204" pitchFamily="34" charset="0"/>
                        </a:rPr>
                        <a:t>1</a:t>
                      </a:r>
                    </a:p>
                  </a:txBody>
                  <a:tcPr/>
                </a:tc>
                <a:extLst>
                  <a:ext uri="{0D108BD9-81ED-4DB2-BD59-A6C34878D82A}">
                    <a16:rowId xmlns:a16="http://schemas.microsoft.com/office/drawing/2014/main" val="58477330"/>
                  </a:ext>
                </a:extLst>
              </a:tr>
              <a:tr h="620956">
                <a:tc>
                  <a:txBody>
                    <a:bodyPr/>
                    <a:lstStyle/>
                    <a:p>
                      <a:r>
                        <a:rPr lang="en-GB" sz="1200" dirty="0">
                          <a:solidFill>
                            <a:schemeClr val="tx1"/>
                          </a:solidFill>
                          <a:latin typeface="Arial" panose="020B0604020202020204" pitchFamily="34" charset="0"/>
                          <a:cs typeface="Arial" panose="020B0604020202020204" pitchFamily="34" charset="0"/>
                        </a:rPr>
                        <a:t>In-flight</a:t>
                      </a:r>
                      <a:r>
                        <a:rPr lang="en-GB" sz="1200" baseline="0" dirty="0">
                          <a:solidFill>
                            <a:schemeClr val="tx1"/>
                          </a:solidFill>
                          <a:latin typeface="Arial" panose="020B0604020202020204" pitchFamily="34" charset="0"/>
                          <a:cs typeface="Arial" panose="020B0604020202020204" pitchFamily="34" charset="0"/>
                        </a:rPr>
                        <a:t> Modifications (includes those on hold but not New Modification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46</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46</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45</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47</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47</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dirty="0">
                          <a:latin typeface="Arial" panose="020B0604020202020204" pitchFamily="34" charset="0"/>
                          <a:cs typeface="Arial" panose="020B0604020202020204" pitchFamily="34" charset="0"/>
                        </a:rPr>
                        <a:t>48</a:t>
                      </a:r>
                    </a:p>
                    <a:p>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63962922"/>
                  </a:ext>
                </a:extLst>
              </a:tr>
              <a:tr h="557007">
                <a:tc>
                  <a:txBody>
                    <a:bodyPr/>
                    <a:lstStyle/>
                    <a:p>
                      <a:r>
                        <a:rPr lang="en-GB" sz="1200" dirty="0">
                          <a:solidFill>
                            <a:schemeClr val="tx1"/>
                          </a:solidFill>
                          <a:latin typeface="Arial" panose="020B0604020202020204" pitchFamily="34" charset="0"/>
                          <a:cs typeface="Arial" panose="020B0604020202020204" pitchFamily="34" charset="0"/>
                        </a:rPr>
                        <a:t>Modifications issued</a:t>
                      </a:r>
                      <a:r>
                        <a:rPr lang="en-GB" sz="1200" baseline="0" dirty="0">
                          <a:solidFill>
                            <a:schemeClr val="tx1"/>
                          </a:solidFill>
                          <a:latin typeface="Arial" panose="020B0604020202020204" pitchFamily="34" charset="0"/>
                          <a:cs typeface="Arial" panose="020B0604020202020204" pitchFamily="34" charset="0"/>
                        </a:rPr>
                        <a:t> for Workgroup consultation</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dirty="0">
                          <a:latin typeface="Arial" panose="020B0604020202020204" pitchFamily="34" charset="0"/>
                          <a:cs typeface="Arial" panose="020B0604020202020204" pitchFamily="34" charset="0"/>
                        </a:rPr>
                        <a:t>2 </a:t>
                      </a:r>
                      <a:r>
                        <a:rPr lang="en-GB" sz="800" i="1" dirty="0">
                          <a:latin typeface="Arial" panose="020B0604020202020204" pitchFamily="34" charset="0"/>
                          <a:cs typeface="Arial" panose="020B0604020202020204" pitchFamily="34" charset="0"/>
                        </a:rPr>
                        <a:t>(CMP335/336CMP339)</a:t>
                      </a:r>
                      <a:endParaRPr lang="en-US" sz="8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1 </a:t>
                      </a:r>
                      <a:r>
                        <a:rPr lang="en-GB" sz="800" i="1" dirty="0">
                          <a:latin typeface="Arial" panose="020B0604020202020204" pitchFamily="34" charset="0"/>
                          <a:cs typeface="Arial" panose="020B0604020202020204" pitchFamily="34" charset="0"/>
                        </a:rPr>
                        <a:t>(CMP345)</a:t>
                      </a:r>
                      <a:endParaRPr lang="en-US" sz="8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2 </a:t>
                      </a:r>
                      <a:r>
                        <a:rPr lang="en-GB" sz="800" i="1" dirty="0">
                          <a:latin typeface="Arial" panose="020B0604020202020204" pitchFamily="34" charset="0"/>
                          <a:cs typeface="Arial" panose="020B0604020202020204" pitchFamily="34" charset="0"/>
                        </a:rPr>
                        <a:t>(CMP343/340 and CMP350)</a:t>
                      </a:r>
                      <a:endParaRPr lang="en-US" sz="8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0 </a:t>
                      </a:r>
                      <a:endParaRPr lang="en-US" sz="12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0 </a:t>
                      </a:r>
                      <a:endParaRPr lang="en-US" sz="12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0 </a:t>
                      </a:r>
                      <a:endParaRPr lang="en-US" sz="1200" dirty="0">
                        <a:highlight>
                          <a:srgbClr val="FFFF00"/>
                        </a:highligh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55480604"/>
                  </a:ext>
                </a:extLst>
              </a:tr>
              <a:tr h="897083">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200" dirty="0">
                          <a:solidFill>
                            <a:schemeClr val="tx1"/>
                          </a:solidFill>
                          <a:latin typeface="Arial" panose="020B0604020202020204" pitchFamily="34" charset="0"/>
                          <a:cs typeface="Arial" panose="020B0604020202020204" pitchFamily="34" charset="0"/>
                        </a:rPr>
                        <a:t>Modifications issued</a:t>
                      </a:r>
                      <a:r>
                        <a:rPr lang="en-GB" sz="1200" baseline="0" dirty="0">
                          <a:solidFill>
                            <a:schemeClr val="tx1"/>
                          </a:solidFill>
                          <a:latin typeface="Arial" panose="020B0604020202020204" pitchFamily="34" charset="0"/>
                          <a:cs typeface="Arial" panose="020B0604020202020204" pitchFamily="34" charset="0"/>
                        </a:rPr>
                        <a:t> for Code Administrator Consultation</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dirty="0">
                          <a:latin typeface="Arial" panose="020B0604020202020204" pitchFamily="34" charset="0"/>
                          <a:cs typeface="Arial" panose="020B0604020202020204" pitchFamily="34" charset="0"/>
                        </a:rPr>
                        <a:t>1 </a:t>
                      </a:r>
                      <a:r>
                        <a:rPr lang="en-GB" sz="800" i="1" dirty="0">
                          <a:latin typeface="Arial" panose="020B0604020202020204" pitchFamily="34" charset="0"/>
                          <a:cs typeface="Arial" panose="020B0604020202020204" pitchFamily="34" charset="0"/>
                        </a:rPr>
                        <a:t>(CMP337/338)</a:t>
                      </a:r>
                      <a:endParaRPr lang="en-US" sz="800" dirty="0">
                        <a:latin typeface="Arial" panose="020B0604020202020204" pitchFamily="34" charset="0"/>
                        <a:cs typeface="Arial" panose="020B0604020202020204" pitchFamily="34" charset="0"/>
                      </a:endParaRPr>
                    </a:p>
                  </a:txBody>
                  <a:tcPr/>
                </a:tc>
                <a:tc>
                  <a:txBody>
                    <a:bodyPr/>
                    <a:lstStyle/>
                    <a:p>
                      <a:r>
                        <a:rPr lang="en-US" sz="1200" i="0" dirty="0">
                          <a:latin typeface="Arial" panose="020B0604020202020204" pitchFamily="34" charset="0"/>
                          <a:cs typeface="Arial" panose="020B0604020202020204" pitchFamily="34" charset="0"/>
                        </a:rPr>
                        <a:t>7</a:t>
                      </a:r>
                      <a:r>
                        <a:rPr lang="en-US" sz="1200" i="1" dirty="0">
                          <a:latin typeface="Arial" panose="020B0604020202020204" pitchFamily="34" charset="0"/>
                          <a:cs typeface="Arial" panose="020B0604020202020204" pitchFamily="34" charset="0"/>
                        </a:rPr>
                        <a:t> </a:t>
                      </a:r>
                      <a:r>
                        <a:rPr lang="en-US" sz="800" i="1" dirty="0">
                          <a:latin typeface="Arial" panose="020B0604020202020204" pitchFamily="34" charset="0"/>
                          <a:cs typeface="Arial" panose="020B0604020202020204" pitchFamily="34" charset="0"/>
                        </a:rPr>
                        <a:t>(CMP324/325, CMP345, CMP334, CMP333, CMP342, </a:t>
                      </a:r>
                    </a:p>
                    <a:p>
                      <a:r>
                        <a:rPr lang="en-US" sz="800" i="1" dirty="0">
                          <a:latin typeface="Arial" panose="020B0604020202020204" pitchFamily="34" charset="0"/>
                          <a:cs typeface="Arial" panose="020B0604020202020204" pitchFamily="34" charset="0"/>
                        </a:rPr>
                        <a:t>CMP317/327 and CMP339)</a:t>
                      </a:r>
                    </a:p>
                  </a:txBody>
                  <a:tcPr/>
                </a:tc>
                <a:tc>
                  <a:txBody>
                    <a:bodyPr/>
                    <a:lstStyle/>
                    <a:p>
                      <a:r>
                        <a:rPr lang="en-US" sz="1200" i="0" dirty="0">
                          <a:latin typeface="Arial" panose="020B0604020202020204" pitchFamily="34" charset="0"/>
                          <a:cs typeface="Arial" panose="020B0604020202020204" pitchFamily="34" charset="0"/>
                        </a:rPr>
                        <a:t>1 </a:t>
                      </a:r>
                      <a:r>
                        <a:rPr lang="en-US" sz="800" i="1" dirty="0">
                          <a:latin typeface="Arial" panose="020B0604020202020204" pitchFamily="34" charset="0"/>
                          <a:cs typeface="Arial" panose="020B0604020202020204" pitchFamily="34" charset="0"/>
                        </a:rPr>
                        <a:t>(CMP350)</a:t>
                      </a:r>
                    </a:p>
                  </a:txBody>
                  <a:tcPr/>
                </a:tc>
                <a:tc>
                  <a:txBody>
                    <a:bodyPr/>
                    <a:lstStyle/>
                    <a:p>
                      <a:r>
                        <a:rPr lang="en-US" sz="1200" i="0" dirty="0">
                          <a:latin typeface="Arial" panose="020B0604020202020204" pitchFamily="34" charset="0"/>
                          <a:cs typeface="Arial" panose="020B0604020202020204" pitchFamily="34" charset="0"/>
                        </a:rPr>
                        <a:t>3 </a:t>
                      </a:r>
                      <a:r>
                        <a:rPr lang="en-US" sz="800" i="1" dirty="0">
                          <a:latin typeface="Arial" panose="020B0604020202020204" pitchFamily="34" charset="0"/>
                          <a:cs typeface="Arial" panose="020B0604020202020204" pitchFamily="34" charset="0"/>
                        </a:rPr>
                        <a:t>(CMP346, CMP347, CMP333 )</a:t>
                      </a:r>
                    </a:p>
                  </a:txBody>
                  <a:tcPr/>
                </a:tc>
                <a:tc>
                  <a:txBody>
                    <a:bodyPr/>
                    <a:lstStyle/>
                    <a:p>
                      <a:r>
                        <a:rPr lang="en-US" sz="1200" i="0" dirty="0">
                          <a:latin typeface="Arial" panose="020B0604020202020204" pitchFamily="34" charset="0"/>
                          <a:cs typeface="Arial" panose="020B0604020202020204" pitchFamily="34" charset="0"/>
                        </a:rPr>
                        <a:t>2 </a:t>
                      </a:r>
                      <a:r>
                        <a:rPr lang="en-US" sz="800" i="1" dirty="0">
                          <a:latin typeface="Arial" panose="020B0604020202020204" pitchFamily="34" charset="0"/>
                          <a:cs typeface="Arial" panose="020B0604020202020204" pitchFamily="34" charset="0"/>
                        </a:rPr>
                        <a:t>(CMP343/340, CMP335/336 )</a:t>
                      </a:r>
                    </a:p>
                  </a:txBody>
                  <a:tcPr/>
                </a:tc>
                <a:tc>
                  <a:txBody>
                    <a:bodyPr/>
                    <a:lstStyle/>
                    <a:p>
                      <a:r>
                        <a:rPr lang="en-US" sz="1200" i="0" dirty="0">
                          <a:latin typeface="Arial" panose="020B0604020202020204" pitchFamily="34" charset="0"/>
                          <a:cs typeface="Arial" panose="020B0604020202020204" pitchFamily="34" charset="0"/>
                        </a:rPr>
                        <a:t>1 </a:t>
                      </a:r>
                      <a:r>
                        <a:rPr lang="en-US" sz="800" i="1" dirty="0">
                          <a:latin typeface="Arial" panose="020B0604020202020204" pitchFamily="34" charset="0"/>
                          <a:cs typeface="Arial" panose="020B0604020202020204" pitchFamily="34" charset="0"/>
                        </a:rPr>
                        <a:t>(CMP351)</a:t>
                      </a:r>
                    </a:p>
                  </a:txBody>
                  <a:tcPr/>
                </a:tc>
                <a:extLst>
                  <a:ext uri="{0D108BD9-81ED-4DB2-BD59-A6C34878D82A}">
                    <a16:rowId xmlns:a16="http://schemas.microsoft.com/office/drawing/2014/main" val="25570332"/>
                  </a:ext>
                </a:extLst>
              </a:tr>
              <a:tr h="278521">
                <a:tc>
                  <a:txBody>
                    <a:bodyPr/>
                    <a:lstStyle/>
                    <a:p>
                      <a:r>
                        <a:rPr lang="en-GB" sz="1200" dirty="0">
                          <a:solidFill>
                            <a:schemeClr val="tx1"/>
                          </a:solidFill>
                          <a:latin typeface="Arial" panose="020B0604020202020204" pitchFamily="34" charset="0"/>
                          <a:cs typeface="Arial" panose="020B0604020202020204" pitchFamily="34" charset="0"/>
                        </a:rPr>
                        <a:t>Workgroups</a:t>
                      </a:r>
                      <a:r>
                        <a:rPr lang="en-GB" sz="1200" baseline="0" dirty="0">
                          <a:solidFill>
                            <a:schemeClr val="tx1"/>
                          </a:solidFill>
                          <a:latin typeface="Arial" panose="020B0604020202020204" pitchFamily="34" charset="0"/>
                          <a:cs typeface="Arial" panose="020B0604020202020204" pitchFamily="34" charset="0"/>
                        </a:rPr>
                        <a:t> held</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9</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8 </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6 </a:t>
                      </a:r>
                      <a:endParaRPr kumimoji="0" lang="en-US" sz="800" b="0" i="1"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a:t>
                      </a:r>
                      <a:endParaRPr kumimoji="0" lang="en-US" sz="800" b="0" i="1"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2</a:t>
                      </a:r>
                      <a:endParaRPr kumimoji="0" lang="en-US" sz="1200" b="0" i="1"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1"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127153991"/>
                  </a:ext>
                </a:extLst>
              </a:tr>
              <a:tr h="502679">
                <a:tc>
                  <a:txBody>
                    <a:bodyPr/>
                    <a:lstStyle/>
                    <a:p>
                      <a:r>
                        <a:rPr lang="en-GB" sz="1200" dirty="0">
                          <a:solidFill>
                            <a:schemeClr val="tx1"/>
                          </a:solidFill>
                          <a:latin typeface="Arial" panose="020B0604020202020204" pitchFamily="34" charset="0"/>
                          <a:cs typeface="Arial" panose="020B0604020202020204" pitchFamily="34" charset="0"/>
                        </a:rPr>
                        <a:t>Authority Decision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i="1" u="none" dirty="0">
                          <a:latin typeface="Arial" panose="020B0604020202020204" pitchFamily="34" charset="0"/>
                          <a:cs typeface="Arial" panose="020B0604020202020204" pitchFamily="34" charset="0"/>
                        </a:rPr>
                        <a:t>3 </a:t>
                      </a:r>
                      <a:r>
                        <a:rPr lang="en-US" sz="800" i="1" u="none" dirty="0">
                          <a:latin typeface="Arial" panose="020B0604020202020204" pitchFamily="34" charset="0"/>
                          <a:cs typeface="Arial" panose="020B0604020202020204" pitchFamily="34" charset="0"/>
                        </a:rPr>
                        <a:t>(CMP281, CMP319, CMP306)</a:t>
                      </a:r>
                    </a:p>
                  </a:txBody>
                  <a:tcPr/>
                </a:tc>
                <a:tc>
                  <a:txBody>
                    <a:bodyPr/>
                    <a:lstStyle/>
                    <a:p>
                      <a:r>
                        <a:rPr lang="en-US" sz="1200" i="0" dirty="0">
                          <a:latin typeface="Arial" panose="020B0604020202020204" pitchFamily="34" charset="0"/>
                          <a:cs typeface="Arial" panose="020B0604020202020204" pitchFamily="34" charset="0"/>
                        </a:rPr>
                        <a:t>2 </a:t>
                      </a:r>
                      <a:r>
                        <a:rPr lang="en-US" sz="800" i="1" u="none" dirty="0">
                          <a:latin typeface="Arial" panose="020B0604020202020204" pitchFamily="34" charset="0"/>
                          <a:cs typeface="Arial" panose="020B0604020202020204" pitchFamily="34" charset="0"/>
                        </a:rPr>
                        <a:t>(CMP345 and CMP323)</a:t>
                      </a:r>
                    </a:p>
                  </a:txBody>
                  <a:tcPr/>
                </a:tc>
                <a:tc>
                  <a:txBody>
                    <a:bodyPr/>
                    <a:lstStyle/>
                    <a:p>
                      <a:r>
                        <a:rPr lang="en-US" sz="1200" i="0" u="none" dirty="0">
                          <a:latin typeface="Arial" panose="020B0604020202020204" pitchFamily="34" charset="0"/>
                          <a:cs typeface="Arial" panose="020B0604020202020204" pitchFamily="34" charset="0"/>
                        </a:rPr>
                        <a:t>3 </a:t>
                      </a:r>
                      <a:r>
                        <a:rPr lang="en-US" sz="800" i="1" u="none" dirty="0">
                          <a:latin typeface="Arial" panose="020B0604020202020204" pitchFamily="34" charset="0"/>
                          <a:cs typeface="Arial" panose="020B0604020202020204" pitchFamily="34" charset="0"/>
                        </a:rPr>
                        <a:t>(CMP303, CMP337/338, CMP320</a:t>
                      </a:r>
                      <a:r>
                        <a:rPr lang="en-US" sz="1200" i="1" u="none" dirty="0">
                          <a:latin typeface="Arial" panose="020B0604020202020204" pitchFamily="34" charset="0"/>
                          <a:cs typeface="Arial" panose="020B0604020202020204" pitchFamily="34" charset="0"/>
                        </a:rPr>
                        <a:t>)</a:t>
                      </a:r>
                    </a:p>
                  </a:txBody>
                  <a:tcPr/>
                </a:tc>
                <a:tc>
                  <a:txBody>
                    <a:bodyPr/>
                    <a:lstStyle/>
                    <a:p>
                      <a:r>
                        <a:rPr lang="en-US" sz="1200" i="0" u="none" dirty="0">
                          <a:latin typeface="Arial" panose="020B0604020202020204" pitchFamily="34" charset="0"/>
                          <a:cs typeface="Arial" panose="020B0604020202020204" pitchFamily="34" charset="0"/>
                        </a:rPr>
                        <a:t>1 </a:t>
                      </a:r>
                      <a:r>
                        <a:rPr lang="en-US" sz="800" i="1" u="none" dirty="0">
                          <a:latin typeface="Arial" panose="020B0604020202020204" pitchFamily="34" charset="0"/>
                          <a:cs typeface="Arial" panose="020B0604020202020204" pitchFamily="34" charset="0"/>
                        </a:rPr>
                        <a:t>(CMP350)</a:t>
                      </a:r>
                      <a:endParaRPr lang="en-US" sz="1200" i="1" u="none" dirty="0">
                        <a:latin typeface="Arial" panose="020B0604020202020204" pitchFamily="34" charset="0"/>
                        <a:cs typeface="Arial" panose="020B0604020202020204" pitchFamily="34" charset="0"/>
                      </a:endParaRP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0</a:t>
                      </a:r>
                    </a:p>
                  </a:txBody>
                  <a:tcPr/>
                </a:tc>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0</a:t>
                      </a:r>
                    </a:p>
                    <a:p>
                      <a:endParaRPr lang="en-US" sz="1200" i="1" u="none" dirty="0">
                        <a:highlight>
                          <a:srgbClr val="FFFF00"/>
                        </a:highlight>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492768925"/>
                  </a:ext>
                </a:extLst>
              </a:tr>
              <a:tr h="571073">
                <a:tc>
                  <a:txBody>
                    <a:bodyPr/>
                    <a:lstStyle/>
                    <a:p>
                      <a:r>
                        <a:rPr lang="en-GB" sz="1200" dirty="0">
                          <a:solidFill>
                            <a:schemeClr val="tx1"/>
                          </a:solidFill>
                          <a:latin typeface="Arial" panose="020B0604020202020204" pitchFamily="34" charset="0"/>
                          <a:cs typeface="Arial" panose="020B0604020202020204" pitchFamily="34" charset="0"/>
                        </a:rPr>
                        <a:t>Implementations</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i="0" dirty="0">
                          <a:latin typeface="Arial" panose="020B0604020202020204" pitchFamily="34" charset="0"/>
                          <a:cs typeface="Arial" panose="020B0604020202020204" pitchFamily="34" charset="0"/>
                        </a:rPr>
                        <a:t>0</a:t>
                      </a:r>
                    </a:p>
                  </a:txBody>
                  <a:tcPr/>
                </a:tc>
                <a:tc>
                  <a:txBody>
                    <a:bodyPr/>
                    <a:lstStyle/>
                    <a:p>
                      <a:r>
                        <a:rPr lang="en-US" sz="1200" i="0" dirty="0">
                          <a:latin typeface="Arial" panose="020B0604020202020204" pitchFamily="34" charset="0"/>
                          <a:cs typeface="Arial" panose="020B0604020202020204" pitchFamily="34" charset="0"/>
                        </a:rPr>
                        <a:t>2 </a:t>
                      </a:r>
                      <a:r>
                        <a:rPr lang="en-US" sz="800" i="1" u="none" dirty="0">
                          <a:latin typeface="Arial" panose="020B0604020202020204" pitchFamily="34" charset="0"/>
                          <a:cs typeface="Arial" panose="020B0604020202020204" pitchFamily="34" charset="0"/>
                        </a:rPr>
                        <a:t>(CMP345 and CMP323)</a:t>
                      </a:r>
                      <a:endParaRPr lang="en-US" sz="800" i="0" dirty="0">
                        <a:latin typeface="Arial" panose="020B0604020202020204" pitchFamily="34" charset="0"/>
                        <a:cs typeface="Arial" panose="020B0604020202020204" pitchFamily="34" charset="0"/>
                      </a:endParaRPr>
                    </a:p>
                  </a:txBody>
                  <a:tcPr/>
                </a:tc>
                <a:tc>
                  <a:txBody>
                    <a:bodyPr/>
                    <a:lstStyle/>
                    <a:p>
                      <a:r>
                        <a:rPr lang="en-US" sz="1200" i="0" dirty="0">
                          <a:latin typeface="Arial" panose="020B0604020202020204" pitchFamily="34" charset="0"/>
                          <a:cs typeface="Arial" panose="020B0604020202020204" pitchFamily="34" charset="0"/>
                        </a:rPr>
                        <a:t>0</a:t>
                      </a:r>
                    </a:p>
                  </a:txBody>
                  <a:tcPr/>
                </a:tc>
                <a:tc>
                  <a:txBody>
                    <a:bodyPr/>
                    <a:lstStyle/>
                    <a:p>
                      <a:r>
                        <a:rPr lang="en-US" sz="1200" i="0" u="none" dirty="0">
                          <a:latin typeface="Arial" panose="020B0604020202020204" pitchFamily="34" charset="0"/>
                          <a:cs typeface="Arial" panose="020B0604020202020204" pitchFamily="34" charset="0"/>
                        </a:rPr>
                        <a:t>1 </a:t>
                      </a:r>
                      <a:r>
                        <a:rPr lang="en-US" sz="800" i="1" u="none" dirty="0">
                          <a:latin typeface="Arial" panose="020B0604020202020204" pitchFamily="34" charset="0"/>
                          <a:cs typeface="Arial" panose="020B0604020202020204" pitchFamily="34" charset="0"/>
                        </a:rPr>
                        <a:t>(CMP350)</a:t>
                      </a:r>
                    </a:p>
                  </a:txBody>
                  <a:tcPr/>
                </a:tc>
                <a:tc>
                  <a:txBody>
                    <a:bodyPr/>
                    <a:lstStyle/>
                    <a:p>
                      <a:r>
                        <a:rPr lang="en-US" sz="1200" i="0" u="none" dirty="0">
                          <a:latin typeface="Arial" panose="020B0604020202020204" pitchFamily="34" charset="0"/>
                          <a:cs typeface="Arial" panose="020B0604020202020204" pitchFamily="34" charset="0"/>
                        </a:rPr>
                        <a:t>1 </a:t>
                      </a:r>
                      <a:r>
                        <a:rPr lang="en-US" sz="800" i="0" u="none" dirty="0">
                          <a:latin typeface="Arial" panose="020B0604020202020204" pitchFamily="34" charset="0"/>
                          <a:cs typeface="Arial" panose="020B0604020202020204" pitchFamily="34" charset="0"/>
                        </a:rPr>
                        <a:t>(CMP348)</a:t>
                      </a:r>
                    </a:p>
                  </a:txBody>
                  <a:tcPr/>
                </a:tc>
                <a:tc>
                  <a:txBody>
                    <a:bodyPr/>
                    <a:lstStyle/>
                    <a:p>
                      <a:r>
                        <a:rPr lang="en-US" sz="1200" i="0" u="none" dirty="0">
                          <a:latin typeface="Arial" panose="020B0604020202020204" pitchFamily="34" charset="0"/>
                          <a:cs typeface="Arial" panose="020B0604020202020204" pitchFamily="34" charset="0"/>
                        </a:rPr>
                        <a:t>0</a:t>
                      </a:r>
                      <a:endParaRPr lang="en-US" sz="800" i="0" u="none"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66947188"/>
                  </a:ext>
                </a:extLst>
              </a:tr>
              <a:tr h="0">
                <a:tc>
                  <a:txBody>
                    <a:bodyPr/>
                    <a:lstStyle/>
                    <a:p>
                      <a:r>
                        <a:rPr lang="en-GB" sz="1200" dirty="0">
                          <a:solidFill>
                            <a:schemeClr val="tx1"/>
                          </a:solidFill>
                          <a:latin typeface="Arial" panose="020B0604020202020204" pitchFamily="34" charset="0"/>
                          <a:cs typeface="Arial" panose="020B0604020202020204" pitchFamily="34" charset="0"/>
                        </a:rPr>
                        <a:t>Modifications</a:t>
                      </a:r>
                      <a:r>
                        <a:rPr lang="en-GB" sz="1200" baseline="0" dirty="0">
                          <a:solidFill>
                            <a:schemeClr val="tx1"/>
                          </a:solidFill>
                          <a:latin typeface="Arial" panose="020B0604020202020204" pitchFamily="34" charset="0"/>
                          <a:cs typeface="Arial" panose="020B0604020202020204" pitchFamily="34" charset="0"/>
                        </a:rPr>
                        <a:t> on Hold</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r>
                        <a:rPr lang="en-US" sz="1200" i="0" dirty="0">
                          <a:latin typeface="Arial" panose="020B0604020202020204" pitchFamily="34" charset="0"/>
                          <a:cs typeface="Arial" panose="020B0604020202020204" pitchFamily="34" charset="0"/>
                        </a:rPr>
                        <a:t>5</a:t>
                      </a:r>
                    </a:p>
                  </a:txBody>
                  <a:tcPr/>
                </a:tc>
                <a:tc>
                  <a:txBody>
                    <a:bodyPr/>
                    <a:lstStyle/>
                    <a:p>
                      <a:r>
                        <a:rPr lang="en-US" sz="1200" i="0" dirty="0">
                          <a:latin typeface="Arial" panose="020B0604020202020204" pitchFamily="34" charset="0"/>
                          <a:cs typeface="Arial" panose="020B0604020202020204" pitchFamily="34" charset="0"/>
                        </a:rPr>
                        <a:t>4</a:t>
                      </a:r>
                    </a:p>
                  </a:txBody>
                  <a:tcPr/>
                </a:tc>
                <a:tc>
                  <a:txBody>
                    <a:bodyPr/>
                    <a:lstStyle/>
                    <a:p>
                      <a:r>
                        <a:rPr lang="en-US" sz="1200" i="0" dirty="0">
                          <a:latin typeface="Arial" panose="020B0604020202020204" pitchFamily="34" charset="0"/>
                          <a:cs typeface="Arial" panose="020B0604020202020204" pitchFamily="34" charset="0"/>
                        </a:rPr>
                        <a:t>4</a:t>
                      </a:r>
                    </a:p>
                  </a:txBody>
                  <a:tcPr/>
                </a:tc>
                <a:tc>
                  <a:txBody>
                    <a:bodyPr/>
                    <a:lstStyle/>
                    <a:p>
                      <a:r>
                        <a:rPr lang="en-US" sz="1200" i="0" dirty="0">
                          <a:latin typeface="Arial" panose="020B0604020202020204" pitchFamily="34" charset="0"/>
                          <a:cs typeface="Arial" panose="020B0604020202020204" pitchFamily="34" charset="0"/>
                        </a:rPr>
                        <a:t>4</a:t>
                      </a:r>
                    </a:p>
                  </a:txBody>
                  <a:tcPr/>
                </a:tc>
                <a:tc>
                  <a:txBody>
                    <a:bodyPr/>
                    <a:lstStyle/>
                    <a:p>
                      <a:r>
                        <a:rPr lang="en-US" sz="1200" i="0" dirty="0">
                          <a:latin typeface="Arial" panose="020B0604020202020204" pitchFamily="34" charset="0"/>
                          <a:cs typeface="Arial" panose="020B0604020202020204" pitchFamily="34" charset="0"/>
                        </a:rPr>
                        <a:t>4</a:t>
                      </a:r>
                    </a:p>
                  </a:txBody>
                  <a:tcPr/>
                </a:tc>
                <a:tc>
                  <a:txBody>
                    <a:bodyPr/>
                    <a:lstStyle/>
                    <a:p>
                      <a:r>
                        <a:rPr lang="en-US" sz="1200" i="0" dirty="0">
                          <a:latin typeface="Arial" panose="020B0604020202020204" pitchFamily="34" charset="0"/>
                          <a:cs typeface="Arial" panose="020B0604020202020204" pitchFamily="34" charset="0"/>
                        </a:rPr>
                        <a:t>4</a:t>
                      </a:r>
                    </a:p>
                  </a:txBody>
                  <a:tcPr/>
                </a:tc>
                <a:extLst>
                  <a:ext uri="{0D108BD9-81ED-4DB2-BD59-A6C34878D82A}">
                    <a16:rowId xmlns:a16="http://schemas.microsoft.com/office/drawing/2014/main" val="1943462039"/>
                  </a:ext>
                </a:extLst>
              </a:tr>
              <a:tr h="384401">
                <a:tc>
                  <a:txBody>
                    <a:bodyPr/>
                    <a:lstStyle/>
                    <a:p>
                      <a:r>
                        <a:rPr lang="en-GB" sz="1200" dirty="0">
                          <a:solidFill>
                            <a:schemeClr val="tx1"/>
                          </a:solidFill>
                          <a:latin typeface="Arial" panose="020B0604020202020204" pitchFamily="34" charset="0"/>
                          <a:cs typeface="Arial" panose="020B0604020202020204" pitchFamily="34" charset="0"/>
                        </a:rPr>
                        <a:t>Workgroups</a:t>
                      </a:r>
                      <a:r>
                        <a:rPr lang="en-GB" sz="1200" baseline="0" dirty="0">
                          <a:solidFill>
                            <a:schemeClr val="tx1"/>
                          </a:solidFill>
                          <a:latin typeface="Arial" panose="020B0604020202020204" pitchFamily="34" charset="0"/>
                          <a:cs typeface="Arial" panose="020B0604020202020204" pitchFamily="34" charset="0"/>
                        </a:rPr>
                        <a:t> postponed</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2 </a:t>
                      </a:r>
                      <a:r>
                        <a:rPr lang="en-US" sz="800" i="0" dirty="0">
                          <a:latin typeface="Arial" panose="020B0604020202020204" pitchFamily="34" charset="0"/>
                          <a:cs typeface="Arial" panose="020B0604020202020204" pitchFamily="34" charset="0"/>
                        </a:rPr>
                        <a:t>(</a:t>
                      </a:r>
                      <a:r>
                        <a:rPr lang="en-US" sz="800" i="1" u="none" dirty="0">
                          <a:latin typeface="Arial" panose="020B0604020202020204" pitchFamily="34" charset="0"/>
                          <a:cs typeface="Arial" panose="020B0604020202020204" pitchFamily="34" charset="0"/>
                        </a:rPr>
                        <a:t>CMP311, CMP326)</a:t>
                      </a:r>
                      <a:endParaRPr lang="en-US" sz="800" i="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2 </a:t>
                      </a:r>
                      <a:r>
                        <a:rPr lang="en-US" sz="800" i="0" dirty="0">
                          <a:latin typeface="Arial" panose="020B0604020202020204" pitchFamily="34" charset="0"/>
                          <a:cs typeface="Arial" panose="020B0604020202020204" pitchFamily="34" charset="0"/>
                        </a:rPr>
                        <a:t>(</a:t>
                      </a:r>
                      <a:r>
                        <a:rPr lang="en-US" sz="800" i="1" u="none" dirty="0">
                          <a:latin typeface="Arial" panose="020B0604020202020204" pitchFamily="34" charset="0"/>
                          <a:cs typeface="Arial" panose="020B0604020202020204" pitchFamily="34" charset="0"/>
                        </a:rPr>
                        <a:t>CMP343/340, CMP335/336)</a:t>
                      </a:r>
                      <a:endParaRPr lang="en-US" sz="800" i="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0</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0</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0</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i="0"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2908828252"/>
                  </a:ext>
                </a:extLst>
              </a:tr>
            </a:tbl>
          </a:graphicData>
        </a:graphic>
      </p:graphicFrame>
    </p:spTree>
    <p:extLst>
      <p:ext uri="{BB962C8B-B14F-4D97-AF65-F5344CB8AC3E}">
        <p14:creationId xmlns:p14="http://schemas.microsoft.com/office/powerpoint/2010/main" val="3437504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643" y="471403"/>
            <a:ext cx="10790767" cy="461665"/>
          </a:xfrm>
          <a:prstGeom prst="rect">
            <a:avLst/>
          </a:prstGeom>
        </p:spPr>
        <p:txBody>
          <a:bodyPr vert="horz" wrap="square" lIns="0" tIns="0" rIns="0" bIns="0" rtlCol="0" anchor="t">
            <a:noAutofit/>
          </a:bodyPr>
          <a:lstStyle>
            <a:lvl1pPr eaLnBrk="1" hangingPunct="1">
              <a:lnSpc>
                <a:spcPct val="80000"/>
              </a:lnSpc>
              <a:defRPr sz="1800" b="1">
                <a:solidFill>
                  <a:schemeClr val="accent1"/>
                </a:solidFill>
                <a:latin typeface="+mj-lt"/>
                <a:ea typeface="+mj-ea"/>
                <a:cs typeface="+mj-cs"/>
              </a:defRPr>
            </a:lvl1pPr>
          </a:lstStyle>
          <a:p>
            <a:pPr marL="0" marR="0" lvl="0" indent="0" algn="l" defTabSz="1219170" rtl="0" eaLnBrk="1" fontAlgn="auto" latinLnBrk="0" hangingPunct="1">
              <a:lnSpc>
                <a:spcPct val="80000"/>
              </a:lnSpc>
              <a:spcBef>
                <a:spcPts val="0"/>
              </a:spcBef>
              <a:spcAft>
                <a:spcPts val="0"/>
              </a:spcAft>
              <a:buClrTx/>
              <a:buSzTx/>
              <a:buFontTx/>
              <a:buNone/>
              <a:tabLst/>
              <a:defRPr/>
            </a:pPr>
            <a:r>
              <a:rPr kumimoji="0" lang="en-GB" sz="2400" b="1" i="0" u="none" strike="noStrike" kern="0" cap="none" spc="0" normalizeH="0" baseline="0" noProof="0" dirty="0">
                <a:ln>
                  <a:noFill/>
                </a:ln>
                <a:solidFill>
                  <a:srgbClr val="FFC000"/>
                </a:solidFill>
                <a:effectLst/>
                <a:uLnTx/>
                <a:uFillTx/>
                <a:latin typeface="Helvetica Neue LT Std 65 Medium" panose="020B0604020202020204"/>
                <a:ea typeface="+mj-ea"/>
                <a:cs typeface="+mj-cs"/>
              </a:rPr>
              <a:t>CUSC Workgroups for next 3 months (as at 27</a:t>
            </a:r>
            <a:r>
              <a:rPr lang="en-GB" sz="2400" kern="0" dirty="0">
                <a:solidFill>
                  <a:srgbClr val="FFC000"/>
                </a:solidFill>
                <a:latin typeface="Helvetica Neue LT Std 65 Medium" panose="020B0604020202020204"/>
              </a:rPr>
              <a:t> </a:t>
            </a:r>
            <a:r>
              <a:rPr kumimoji="0" lang="en-GB" sz="2400" b="1" i="0" u="none" strike="noStrike" kern="0" cap="none" spc="0" normalizeH="0" baseline="0" noProof="0" dirty="0">
                <a:ln>
                  <a:noFill/>
                </a:ln>
                <a:solidFill>
                  <a:srgbClr val="FFC000"/>
                </a:solidFill>
                <a:effectLst/>
                <a:uLnTx/>
                <a:uFillTx/>
                <a:latin typeface="Helvetica Neue LT Std 65 Medium" panose="020B0604020202020204"/>
                <a:ea typeface="+mj-ea"/>
                <a:cs typeface="+mj-cs"/>
              </a:rPr>
              <a:t>October 2020)</a:t>
            </a:r>
          </a:p>
        </p:txBody>
      </p:sp>
      <p:graphicFrame>
        <p:nvGraphicFramePr>
          <p:cNvPr id="7" name="Diagram 6">
            <a:extLst>
              <a:ext uri="{FF2B5EF4-FFF2-40B4-BE49-F238E27FC236}">
                <a16:creationId xmlns:a16="http://schemas.microsoft.com/office/drawing/2014/main" id="{7DFD89C7-9E45-49FB-BF80-4F609B538100}"/>
              </a:ext>
            </a:extLst>
          </p:cNvPr>
          <p:cNvGraphicFramePr/>
          <p:nvPr>
            <p:extLst/>
          </p:nvPr>
        </p:nvGraphicFramePr>
        <p:xfrm>
          <a:off x="453586" y="702236"/>
          <a:ext cx="11307044" cy="4320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a:extLst>
              <a:ext uri="{FF2B5EF4-FFF2-40B4-BE49-F238E27FC236}">
                <a16:creationId xmlns:a16="http://schemas.microsoft.com/office/drawing/2014/main" id="{29A6103F-2C05-4BF8-B61C-FCA0EBA8A387}"/>
              </a:ext>
            </a:extLst>
          </p:cNvPr>
          <p:cNvSpPr/>
          <p:nvPr/>
        </p:nvSpPr>
        <p:spPr>
          <a:xfrm>
            <a:off x="453585" y="4905896"/>
            <a:ext cx="11115023" cy="1115393"/>
          </a:xfrm>
          <a:prstGeom prst="rect">
            <a:avLst/>
          </a:prstGeom>
          <a:solidFill>
            <a:schemeClr val="bg1"/>
          </a:solidFill>
          <a:ln>
            <a:solidFill>
              <a:schemeClr val="accent1"/>
            </a:solidFill>
          </a:ln>
        </p:spPr>
        <p:txBody>
          <a:bodyPr wrap="square" lIns="0" tIns="0" rIns="0" bIns="0" rtlCol="0" anchor="ctr">
            <a:noAutofit/>
          </a:bodyPr>
          <a:lstStyle/>
          <a:p>
            <a:pPr marL="0" marR="0" lvl="0" indent="0" algn="l" defTabSz="55447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454545"/>
                </a:solidFill>
                <a:effectLst/>
                <a:uLnTx/>
                <a:uFillTx/>
                <a:latin typeface="Arial" panose="020B0604020202020204" pitchFamily="34" charset="0"/>
                <a:ea typeface="+mn-ea"/>
                <a:cs typeface="Arial" panose="020B0604020202020204" pitchFamily="34" charset="0"/>
              </a:rPr>
              <a:t>See Notes explaining what each Modification is seeking to achieve</a:t>
            </a: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sz="2133" b="0" i="0" u="none" strike="noStrike" kern="1200" cap="none" spc="0" normalizeH="0" baseline="0" noProof="0">
              <a:ln>
                <a:noFill/>
              </a:ln>
              <a:solidFill>
                <a:srgbClr val="454545"/>
              </a:solidFill>
              <a:effectLst/>
              <a:uLnTx/>
              <a:uFillTx/>
              <a:latin typeface="Arial" panose="020B0604020202020204"/>
              <a:ea typeface="+mn-ea"/>
              <a:cs typeface="Helvetica" charset="0"/>
            </a:endParaRPr>
          </a:p>
        </p:txBody>
      </p:sp>
    </p:spTree>
    <p:extLst>
      <p:ext uri="{BB962C8B-B14F-4D97-AF65-F5344CB8AC3E}">
        <p14:creationId xmlns:p14="http://schemas.microsoft.com/office/powerpoint/2010/main" val="13896665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643" y="458672"/>
            <a:ext cx="10790767" cy="461665"/>
          </a:xfrm>
          <a:prstGeom prst="rect">
            <a:avLst/>
          </a:prstGeom>
        </p:spPr>
        <p:txBody>
          <a:bodyPr vert="horz" wrap="square" lIns="0" tIns="0" rIns="0" bIns="0" rtlCol="0" anchor="t">
            <a:noAutofit/>
          </a:bodyPr>
          <a:lstStyle>
            <a:lvl1pPr eaLnBrk="1" hangingPunct="1">
              <a:lnSpc>
                <a:spcPct val="80000"/>
              </a:lnSpc>
              <a:defRPr sz="1800" b="1">
                <a:solidFill>
                  <a:schemeClr val="accent1"/>
                </a:solidFill>
                <a:latin typeface="+mj-lt"/>
                <a:ea typeface="+mj-ea"/>
                <a:cs typeface="+mj-cs"/>
              </a:defRPr>
            </a:lvl1pPr>
          </a:lstStyle>
          <a:p>
            <a:pPr defTabSz="1219170">
              <a:defRPr/>
            </a:pPr>
            <a:r>
              <a:rPr lang="en-GB" sz="2600" kern="0" dirty="0">
                <a:solidFill>
                  <a:srgbClr val="FFBF22"/>
                </a:solidFill>
                <a:latin typeface="Helvetica Neue LT Std 65 Medium" panose="020B0604020202020204"/>
              </a:rPr>
              <a:t>Grid Code Workgroups for next 3 months (as at 27 October 2020)</a:t>
            </a:r>
          </a:p>
        </p:txBody>
      </p:sp>
      <p:graphicFrame>
        <p:nvGraphicFramePr>
          <p:cNvPr id="7" name="Diagram 6">
            <a:extLst>
              <a:ext uri="{FF2B5EF4-FFF2-40B4-BE49-F238E27FC236}">
                <a16:creationId xmlns:a16="http://schemas.microsoft.com/office/drawing/2014/main" id="{7DFD89C7-9E45-49FB-BF80-4F609B538100}"/>
              </a:ext>
            </a:extLst>
          </p:cNvPr>
          <p:cNvGraphicFramePr/>
          <p:nvPr>
            <p:extLst/>
          </p:nvPr>
        </p:nvGraphicFramePr>
        <p:xfrm>
          <a:off x="409643" y="782513"/>
          <a:ext cx="11307044" cy="43204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9A404B41-3D70-4FD9-9555-8758856BB2D1}"/>
              </a:ext>
            </a:extLst>
          </p:cNvPr>
          <p:cNvSpPr/>
          <p:nvPr/>
        </p:nvSpPr>
        <p:spPr>
          <a:xfrm>
            <a:off x="409643" y="5309329"/>
            <a:ext cx="7720805" cy="683847"/>
          </a:xfrm>
          <a:prstGeom prst="rect">
            <a:avLst/>
          </a:prstGeom>
          <a:solidFill>
            <a:schemeClr val="bg1"/>
          </a:solidFill>
          <a:ln>
            <a:solidFill>
              <a:schemeClr val="accent1"/>
            </a:solidFill>
          </a:ln>
        </p:spPr>
        <p:txBody>
          <a:bodyPr wrap="square" lIns="0" tIns="0" rIns="0" bIns="0" rtlCol="0" anchor="ctr">
            <a:noAutofit/>
          </a:bodyPr>
          <a:lstStyle/>
          <a:p>
            <a:r>
              <a:rPr lang="en-GB" sz="1600">
                <a:latin typeface="Arial" panose="020B0604020202020204" pitchFamily="34" charset="0"/>
                <a:cs typeface="Arial" panose="020B0604020202020204" pitchFamily="34" charset="0"/>
              </a:rPr>
              <a:t> See Notes explaining what each Modification is seeking to achieve</a:t>
            </a:r>
          </a:p>
        </p:txBody>
      </p:sp>
    </p:spTree>
    <p:extLst>
      <p:ext uri="{BB962C8B-B14F-4D97-AF65-F5344CB8AC3E}">
        <p14:creationId xmlns:p14="http://schemas.microsoft.com/office/powerpoint/2010/main" val="37366417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09643" y="458672"/>
            <a:ext cx="10790767" cy="461665"/>
          </a:xfrm>
          <a:prstGeom prst="rect">
            <a:avLst/>
          </a:prstGeom>
        </p:spPr>
        <p:txBody>
          <a:bodyPr vert="horz" wrap="square" lIns="0" tIns="0" rIns="0" bIns="0" rtlCol="0" anchor="t">
            <a:noAutofit/>
          </a:bodyPr>
          <a:lstStyle>
            <a:lvl1pPr eaLnBrk="1" hangingPunct="1">
              <a:lnSpc>
                <a:spcPct val="80000"/>
              </a:lnSpc>
              <a:defRPr sz="1800" b="1">
                <a:solidFill>
                  <a:schemeClr val="accent1"/>
                </a:solidFill>
                <a:latin typeface="+mj-lt"/>
                <a:ea typeface="+mj-ea"/>
                <a:cs typeface="+mj-cs"/>
              </a:defRPr>
            </a:lvl1pPr>
          </a:lstStyle>
          <a:p>
            <a:pPr defTabSz="1219170">
              <a:defRPr/>
            </a:pPr>
            <a:r>
              <a:rPr lang="en-GB" sz="2400" kern="0" dirty="0">
                <a:solidFill>
                  <a:srgbClr val="FFBF22"/>
                </a:solidFill>
                <a:latin typeface="Helvetica Neue LT Std 65 Medium" panose="020B0604020202020204"/>
              </a:rPr>
              <a:t>STC and SQSS Workgroups for next 3 months (as at 27 October 2020)</a:t>
            </a:r>
          </a:p>
        </p:txBody>
      </p:sp>
      <p:graphicFrame>
        <p:nvGraphicFramePr>
          <p:cNvPr id="7" name="Diagram 6">
            <a:extLst>
              <a:ext uri="{FF2B5EF4-FFF2-40B4-BE49-F238E27FC236}">
                <a16:creationId xmlns:a16="http://schemas.microsoft.com/office/drawing/2014/main" id="{7DFD89C7-9E45-49FB-BF80-4F609B538100}"/>
              </a:ext>
            </a:extLst>
          </p:cNvPr>
          <p:cNvGraphicFramePr/>
          <p:nvPr>
            <p:extLst>
              <p:ext uri="{D42A27DB-BD31-4B8C-83A1-F6EECF244321}">
                <p14:modId xmlns:p14="http://schemas.microsoft.com/office/powerpoint/2010/main" val="3506481681"/>
              </p:ext>
            </p:extLst>
          </p:nvPr>
        </p:nvGraphicFramePr>
        <p:xfrm>
          <a:off x="577766" y="887914"/>
          <a:ext cx="11158965" cy="32131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9A404B41-3D70-4FD9-9555-8758856BB2D1}"/>
              </a:ext>
            </a:extLst>
          </p:cNvPr>
          <p:cNvSpPr/>
          <p:nvPr/>
        </p:nvSpPr>
        <p:spPr>
          <a:xfrm>
            <a:off x="409643" y="3909053"/>
            <a:ext cx="11327088" cy="2177659"/>
          </a:xfrm>
          <a:prstGeom prst="rect">
            <a:avLst/>
          </a:prstGeom>
          <a:solidFill>
            <a:schemeClr val="bg1"/>
          </a:solidFill>
          <a:ln>
            <a:solidFill>
              <a:schemeClr val="accent1"/>
            </a:solidFill>
          </a:ln>
        </p:spPr>
        <p:txBody>
          <a:bodyPr wrap="square" lIns="0" tIns="0" rIns="0" bIns="0" rtlCol="0" anchor="ctr">
            <a:noAutofit/>
          </a:bodyPr>
          <a:lstStyle/>
          <a:p>
            <a:r>
              <a:rPr lang="en-GB" sz="1400" b="1" dirty="0">
                <a:latin typeface="Arial" panose="020B0604020202020204" pitchFamily="34" charset="0"/>
                <a:cs typeface="Arial" panose="020B0604020202020204" pitchFamily="34" charset="0"/>
              </a:rPr>
              <a:t>GSR027</a:t>
            </a:r>
            <a:r>
              <a:rPr lang="en-GB" sz="1400" dirty="0">
                <a:latin typeface="Arial" panose="020B0604020202020204" pitchFamily="34" charset="0"/>
                <a:cs typeface="Arial" panose="020B0604020202020204" pitchFamily="34" charset="0"/>
              </a:rPr>
              <a:t> -  To address the specific actions from the Energy Emergency Executive Committee (E3C) and Ofgem final reports into the power outage of 9th August 2019 for the ESO to review, in consultation with industry, the NETS SQSS requirements that drive reserve, response and inertia holding on the GB electricity system.</a:t>
            </a:r>
          </a:p>
          <a:p>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57441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A9072-F464-487A-8933-2350A3A6AE34}"/>
              </a:ext>
            </a:extLst>
          </p:cNvPr>
          <p:cNvSpPr>
            <a:spLocks noGrp="1"/>
          </p:cNvSpPr>
          <p:nvPr>
            <p:ph type="title"/>
          </p:nvPr>
        </p:nvSpPr>
        <p:spPr/>
        <p:txBody>
          <a:bodyPr/>
          <a:lstStyle/>
          <a:p>
            <a:r>
              <a:rPr lang="en-GB" sz="3600" b="1" dirty="0">
                <a:solidFill>
                  <a:srgbClr val="FFBF22"/>
                </a:solidFill>
                <a:latin typeface="Helvetica Neue LT Std 65 Medium" panose="020B0604020202020204"/>
              </a:rPr>
              <a:t>Asks of Panel (as at 27 October 2020)</a:t>
            </a:r>
          </a:p>
        </p:txBody>
      </p:sp>
      <p:graphicFrame>
        <p:nvGraphicFramePr>
          <p:cNvPr id="4" name="Diagram 3">
            <a:extLst>
              <a:ext uri="{FF2B5EF4-FFF2-40B4-BE49-F238E27FC236}">
                <a16:creationId xmlns:a16="http://schemas.microsoft.com/office/drawing/2014/main" id="{6E873965-828C-40CF-AB4D-511763F6A415}"/>
              </a:ext>
            </a:extLst>
          </p:cNvPr>
          <p:cNvGraphicFramePr/>
          <p:nvPr>
            <p:extLst>
              <p:ext uri="{D42A27DB-BD31-4B8C-83A1-F6EECF244321}">
                <p14:modId xmlns:p14="http://schemas.microsoft.com/office/powerpoint/2010/main" val="1519655849"/>
              </p:ext>
            </p:extLst>
          </p:nvPr>
        </p:nvGraphicFramePr>
        <p:xfrm>
          <a:off x="81449" y="932722"/>
          <a:ext cx="11316653" cy="499255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4391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1">
            <a:extLst>
              <a:ext uri="{FF2B5EF4-FFF2-40B4-BE49-F238E27FC236}">
                <a16:creationId xmlns:a16="http://schemas.microsoft.com/office/drawing/2014/main" id="{F0088D49-F622-4CFA-A1E4-016BA304D22C}"/>
              </a:ext>
            </a:extLst>
          </p:cNvPr>
          <p:cNvSpPr txBox="1">
            <a:spLocks/>
          </p:cNvSpPr>
          <p:nvPr/>
        </p:nvSpPr>
        <p:spPr>
          <a:xfrm>
            <a:off x="323550" y="330855"/>
            <a:ext cx="8495999" cy="527136"/>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4000" b="1" dirty="0"/>
              <a:t>Approval of Panel Minutes </a:t>
            </a:r>
          </a:p>
        </p:txBody>
      </p:sp>
      <p:sp>
        <p:nvSpPr>
          <p:cNvPr id="4" name="TextBox 3">
            <a:extLst>
              <a:ext uri="{FF2B5EF4-FFF2-40B4-BE49-F238E27FC236}">
                <a16:creationId xmlns:a16="http://schemas.microsoft.com/office/drawing/2014/main" id="{E8B728F4-72B7-4C7C-80BE-E2F214E6E0E1}"/>
              </a:ext>
            </a:extLst>
          </p:cNvPr>
          <p:cNvSpPr txBox="1"/>
          <p:nvPr/>
        </p:nvSpPr>
        <p:spPr>
          <a:xfrm>
            <a:off x="323550" y="1192629"/>
            <a:ext cx="6077250" cy="1569660"/>
          </a:xfrm>
          <a:prstGeom prst="rect">
            <a:avLst/>
          </a:prstGeom>
        </p:spPr>
        <p:txBody>
          <a:bodyPr wrap="square" rtlCol="0">
            <a:spAutoFit/>
          </a:bodyPr>
          <a:lstStyle/>
          <a:p>
            <a:pPr algn="l"/>
            <a:r>
              <a:rPr lang="en-GB" sz="2400" b="1" dirty="0">
                <a:solidFill>
                  <a:srgbClr val="454545"/>
                </a:solidFill>
                <a:latin typeface="Arial" panose="020B0604020202020204" pitchFamily="34" charset="0"/>
                <a:cs typeface="Times New Roman" panose="02020603050405020304" pitchFamily="18" charset="0"/>
              </a:rPr>
              <a:t>Approval of Panel Minutes from the Meetings held 16 September 2020, 25 September 2020 and 1 October 2020</a:t>
            </a:r>
          </a:p>
          <a:p>
            <a:pPr algn="l"/>
            <a:endParaRPr lang="en-GB" sz="2400" b="1" dirty="0">
              <a:solidFill>
                <a:srgbClr val="454545"/>
              </a:solidFill>
              <a:latin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2388461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A9072-F464-487A-8933-2350A3A6AE34}"/>
              </a:ext>
            </a:extLst>
          </p:cNvPr>
          <p:cNvSpPr>
            <a:spLocks noGrp="1"/>
          </p:cNvSpPr>
          <p:nvPr>
            <p:ph type="title"/>
          </p:nvPr>
        </p:nvSpPr>
        <p:spPr/>
        <p:txBody>
          <a:bodyPr/>
          <a:lstStyle/>
          <a:p>
            <a:r>
              <a:rPr lang="en-GB" dirty="0">
                <a:solidFill>
                  <a:srgbClr val="FFC000"/>
                </a:solidFill>
              </a:rPr>
              <a:t>Timeline for CMP344 V2</a:t>
            </a:r>
          </a:p>
        </p:txBody>
      </p:sp>
      <p:graphicFrame>
        <p:nvGraphicFramePr>
          <p:cNvPr id="7" name="Table 6">
            <a:extLst>
              <a:ext uri="{FF2B5EF4-FFF2-40B4-BE49-F238E27FC236}">
                <a16:creationId xmlns:a16="http://schemas.microsoft.com/office/drawing/2014/main" id="{7BE44EE5-25E9-49FA-BAC5-ED9CA495B1DD}"/>
              </a:ext>
            </a:extLst>
          </p:cNvPr>
          <p:cNvGraphicFramePr>
            <a:graphicFrameLocks noGrp="1"/>
          </p:cNvGraphicFramePr>
          <p:nvPr>
            <p:extLst>
              <p:ext uri="{D42A27DB-BD31-4B8C-83A1-F6EECF244321}">
                <p14:modId xmlns:p14="http://schemas.microsoft.com/office/powerpoint/2010/main" val="3935400297"/>
              </p:ext>
            </p:extLst>
          </p:nvPr>
        </p:nvGraphicFramePr>
        <p:xfrm>
          <a:off x="431400" y="835095"/>
          <a:ext cx="11189987" cy="5694291"/>
        </p:xfrm>
        <a:graphic>
          <a:graphicData uri="http://schemas.openxmlformats.org/drawingml/2006/table">
            <a:tbl>
              <a:tblPr firstRow="1" bandRow="1">
                <a:tableStyleId>{93296810-A885-4BE3-A3E7-6D5BEEA58F35}</a:tableStyleId>
              </a:tblPr>
              <a:tblGrid>
                <a:gridCol w="3197119">
                  <a:extLst>
                    <a:ext uri="{9D8B030D-6E8A-4147-A177-3AD203B41FA5}">
                      <a16:colId xmlns:a16="http://schemas.microsoft.com/office/drawing/2014/main" val="2043401118"/>
                    </a:ext>
                  </a:extLst>
                </a:gridCol>
                <a:gridCol w="2382561">
                  <a:extLst>
                    <a:ext uri="{9D8B030D-6E8A-4147-A177-3AD203B41FA5}">
                      <a16:colId xmlns:a16="http://schemas.microsoft.com/office/drawing/2014/main" val="149780315"/>
                    </a:ext>
                  </a:extLst>
                </a:gridCol>
                <a:gridCol w="3391312">
                  <a:extLst>
                    <a:ext uri="{9D8B030D-6E8A-4147-A177-3AD203B41FA5}">
                      <a16:colId xmlns:a16="http://schemas.microsoft.com/office/drawing/2014/main" val="4112587689"/>
                    </a:ext>
                  </a:extLst>
                </a:gridCol>
                <a:gridCol w="2218995">
                  <a:extLst>
                    <a:ext uri="{9D8B030D-6E8A-4147-A177-3AD203B41FA5}">
                      <a16:colId xmlns:a16="http://schemas.microsoft.com/office/drawing/2014/main" val="722626711"/>
                    </a:ext>
                  </a:extLst>
                </a:gridCol>
              </a:tblGrid>
              <a:tr h="347655">
                <a:tc>
                  <a:txBody>
                    <a:bodyPr/>
                    <a:lstStyle/>
                    <a:p>
                      <a:r>
                        <a:rPr lang="en-GB" sz="1600" dirty="0"/>
                        <a:t>Milestone</a:t>
                      </a:r>
                    </a:p>
                  </a:txBody>
                  <a:tcPr marL="121920" marR="121920" marT="60960" marB="60960"/>
                </a:tc>
                <a:tc>
                  <a:txBody>
                    <a:bodyPr/>
                    <a:lstStyle/>
                    <a:p>
                      <a:r>
                        <a:rPr lang="en-GB" sz="1600" dirty="0"/>
                        <a:t>Date</a:t>
                      </a:r>
                    </a:p>
                  </a:txBody>
                  <a:tcPr marL="121920" marR="121920" marT="60960" marB="60960"/>
                </a:tc>
                <a:tc>
                  <a:txBody>
                    <a:bodyPr/>
                    <a:lstStyle/>
                    <a:p>
                      <a:r>
                        <a:rPr lang="en-GB" sz="1600" dirty="0"/>
                        <a:t>Milestone</a:t>
                      </a:r>
                    </a:p>
                  </a:txBody>
                  <a:tcPr marL="121920" marR="121920" marT="60960" marB="60960"/>
                </a:tc>
                <a:tc>
                  <a:txBody>
                    <a:bodyPr/>
                    <a:lstStyle/>
                    <a:p>
                      <a:r>
                        <a:rPr lang="en-GB" sz="1600" dirty="0"/>
                        <a:t>Date</a:t>
                      </a:r>
                    </a:p>
                  </a:txBody>
                  <a:tcPr marL="121920" marR="121920" marT="60960" marB="60960"/>
                </a:tc>
                <a:extLst>
                  <a:ext uri="{0D108BD9-81ED-4DB2-BD59-A6C34878D82A}">
                    <a16:rowId xmlns:a16="http://schemas.microsoft.com/office/drawing/2014/main" val="383155423"/>
                  </a:ext>
                </a:extLst>
              </a:tr>
              <a:tr h="1042966">
                <a:tc>
                  <a:txBody>
                    <a:bodyPr/>
                    <a:lstStyle/>
                    <a:p>
                      <a:r>
                        <a:rPr lang="en-GB" sz="1600" dirty="0"/>
                        <a:t>Workgroups 1 and 2</a:t>
                      </a:r>
                    </a:p>
                  </a:txBody>
                  <a:tcPr marL="121920" marR="121920" marT="60960" marB="60960"/>
                </a:tc>
                <a:tc>
                  <a:txBody>
                    <a:bodyPr/>
                    <a:lstStyle/>
                    <a:p>
                      <a:r>
                        <a:rPr lang="en-GB" sz="1600" dirty="0"/>
                        <a:t>3 September 2020 and 22 October 2020</a:t>
                      </a:r>
                    </a:p>
                  </a:txBody>
                  <a:tcPr marL="121920" marR="121920" marT="60960" marB="60960"/>
                </a:tc>
                <a:tc>
                  <a:txBody>
                    <a:bodyPr/>
                    <a:lstStyle/>
                    <a:p>
                      <a:r>
                        <a:rPr lang="en-GB" sz="1600" dirty="0"/>
                        <a:t>Draft Final Modification Report (DFMR) issued to Panel</a:t>
                      </a:r>
                    </a:p>
                  </a:txBody>
                  <a:tcPr marL="121920" marR="121920" marT="60960" marB="60960"/>
                </a:tc>
                <a:tc>
                  <a:txBody>
                    <a:bodyPr/>
                    <a:lstStyle/>
                    <a:p>
                      <a:r>
                        <a:rPr lang="en-GB" sz="1600" dirty="0"/>
                        <a:t>29 December 2020</a:t>
                      </a:r>
                    </a:p>
                  </a:txBody>
                  <a:tcPr marL="121920" marR="121920" marT="60960" marB="60960"/>
                </a:tc>
                <a:extLst>
                  <a:ext uri="{0D108BD9-81ED-4DB2-BD59-A6C34878D82A}">
                    <a16:rowId xmlns:a16="http://schemas.microsoft.com/office/drawing/2014/main" val="4083485395"/>
                  </a:ext>
                </a:extLst>
              </a:tr>
              <a:tr h="914049">
                <a:tc>
                  <a:txBody>
                    <a:bodyPr/>
                    <a:lstStyle/>
                    <a:p>
                      <a:r>
                        <a:rPr lang="en-GB" sz="1600" dirty="0"/>
                        <a:t>Workgroup Consultation (15 Working Days)</a:t>
                      </a:r>
                    </a:p>
                  </a:txBody>
                  <a:tcPr marL="121920" marR="121920" marT="60960" marB="60960"/>
                </a:tc>
                <a:tc>
                  <a:txBody>
                    <a:bodyPr/>
                    <a:lstStyle/>
                    <a:p>
                      <a:pPr algn="just"/>
                      <a:r>
                        <a:rPr lang="en-GB" sz="1600" dirty="0"/>
                        <a:t>2 November 2020 – 5pm on 23 November 2020</a:t>
                      </a:r>
                    </a:p>
                  </a:txBody>
                  <a:tcPr marL="121920" marR="121920" marT="60960" marB="60960"/>
                </a:tc>
                <a:tc>
                  <a:txBody>
                    <a:bodyPr/>
                    <a:lstStyle/>
                    <a:p>
                      <a:r>
                        <a:rPr lang="en-GB" sz="1600" dirty="0"/>
                        <a:t>Panel</a:t>
                      </a:r>
                      <a:r>
                        <a:rPr lang="en-GB" sz="1600" baseline="0" dirty="0"/>
                        <a:t> undertake DFMR recommendation vote</a:t>
                      </a:r>
                      <a:endParaRPr lang="en-US" sz="1600" dirty="0"/>
                    </a:p>
                  </a:txBody>
                  <a:tcPr marL="121920" marR="121920" marT="60960" marB="60960"/>
                </a:tc>
                <a:tc>
                  <a:txBody>
                    <a:bodyPr/>
                    <a:lstStyle/>
                    <a:p>
                      <a:r>
                        <a:rPr lang="en-GB" sz="1600" dirty="0"/>
                        <a:t>8  January 2021</a:t>
                      </a:r>
                    </a:p>
                  </a:txBody>
                  <a:tcPr marL="121920" marR="121920" marT="60960" marB="60960"/>
                </a:tc>
                <a:extLst>
                  <a:ext uri="{0D108BD9-81ED-4DB2-BD59-A6C34878D82A}">
                    <a16:rowId xmlns:a16="http://schemas.microsoft.com/office/drawing/2014/main" val="3713368864"/>
                  </a:ext>
                </a:extLst>
              </a:tr>
              <a:tr h="811196">
                <a:tc>
                  <a:txBody>
                    <a:bodyPr/>
                    <a:lstStyle/>
                    <a:p>
                      <a:r>
                        <a:rPr lang="en-GB" sz="1600" dirty="0"/>
                        <a:t>Workgroup 3 - Assess Workgroup Consultation Responses and Workgroup Vote</a:t>
                      </a:r>
                    </a:p>
                  </a:txBody>
                  <a:tcPr marL="121920" marR="121920" marT="60960" marB="60960"/>
                </a:tc>
                <a:tc>
                  <a:txBody>
                    <a:bodyPr/>
                    <a:lstStyle/>
                    <a:p>
                      <a:r>
                        <a:rPr lang="en-GB" sz="1600" dirty="0"/>
                        <a:t>24 November 2020</a:t>
                      </a:r>
                    </a:p>
                  </a:txBody>
                  <a:tcPr marL="121920" marR="121920" marT="60960" marB="60960"/>
                </a:tc>
                <a:tc>
                  <a:txBody>
                    <a:bodyPr/>
                    <a:lstStyle/>
                    <a:p>
                      <a:r>
                        <a:rPr lang="en-US" sz="1600" dirty="0"/>
                        <a:t>Final Modification Report issued to Panel to check votes recorded correctly (1 working day)</a:t>
                      </a:r>
                      <a:endParaRPr lang="en-GB" sz="1600" dirty="0"/>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600" dirty="0"/>
                        <a:t>8 January 2021</a:t>
                      </a:r>
                      <a:endParaRPr lang="en-US" sz="1600" dirty="0"/>
                    </a:p>
                  </a:txBody>
                  <a:tcPr marL="121920" marR="121920" marT="60960" marB="60960"/>
                </a:tc>
                <a:extLst>
                  <a:ext uri="{0D108BD9-81ED-4DB2-BD59-A6C34878D82A}">
                    <a16:rowId xmlns:a16="http://schemas.microsoft.com/office/drawing/2014/main" val="2726378177"/>
                  </a:ext>
                </a:extLst>
              </a:tr>
              <a:tr h="811196">
                <a:tc>
                  <a:txBody>
                    <a:bodyPr/>
                    <a:lstStyle/>
                    <a:p>
                      <a:r>
                        <a:rPr lang="en-US" sz="1600" dirty="0"/>
                        <a:t>Workgroup report issued to Panel (2 working days)</a:t>
                      </a:r>
                      <a:endParaRPr lang="en-GB" sz="1600" dirty="0"/>
                    </a:p>
                  </a:txBody>
                  <a:tcPr marL="121920" marR="121920" marT="60960" marB="60960"/>
                </a:tc>
                <a:tc>
                  <a:txBody>
                    <a:bodyPr/>
                    <a:lstStyle/>
                    <a:p>
                      <a:r>
                        <a:rPr lang="en-GB" sz="1600" dirty="0"/>
                        <a:t>25 November 2020</a:t>
                      </a:r>
                    </a:p>
                  </a:txBody>
                  <a:tcPr marL="121920" marR="121920" marT="60960" marB="60960"/>
                </a:tc>
                <a:tc>
                  <a:txBody>
                    <a:bodyPr/>
                    <a:lstStyle/>
                    <a:p>
                      <a:r>
                        <a:rPr lang="en-US" sz="1600" dirty="0"/>
                        <a:t>Final Modification Report issued to Ofgem</a:t>
                      </a:r>
                      <a:endParaRPr lang="en-GB" sz="1600" dirty="0"/>
                    </a:p>
                  </a:txBody>
                  <a:tcPr marL="121920" marR="121920" marT="60960" marB="60960"/>
                </a:tc>
                <a:tc>
                  <a:txBody>
                    <a:bodyPr/>
                    <a:lstStyle/>
                    <a:p>
                      <a:r>
                        <a:rPr lang="en-GB" sz="1600" dirty="0"/>
                        <a:t>12 January 2021</a:t>
                      </a:r>
                    </a:p>
                  </a:txBody>
                  <a:tcPr marL="121920" marR="121920" marT="60960" marB="60960"/>
                </a:tc>
                <a:extLst>
                  <a:ext uri="{0D108BD9-81ED-4DB2-BD59-A6C34878D82A}">
                    <a16:rowId xmlns:a16="http://schemas.microsoft.com/office/drawing/2014/main" val="2461474842"/>
                  </a:ext>
                </a:extLst>
              </a:tr>
              <a:tr h="81119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600" dirty="0"/>
                        <a:t>Panel</a:t>
                      </a:r>
                      <a:r>
                        <a:rPr lang="en-GB" sz="1600" baseline="0" dirty="0"/>
                        <a:t> sign off that Workgroup Report has met its Terms of Reference </a:t>
                      </a:r>
                      <a:endParaRPr lang="en-GB" sz="1600" dirty="0"/>
                    </a:p>
                  </a:txBody>
                  <a:tcPr marL="121920" marR="121920" marT="60960" marB="60960"/>
                </a:tc>
                <a:tc>
                  <a:txBody>
                    <a:bodyPr/>
                    <a:lstStyle/>
                    <a:p>
                      <a:r>
                        <a:rPr lang="en-GB" sz="1600" dirty="0"/>
                        <a:t>27 November 2020</a:t>
                      </a:r>
                    </a:p>
                  </a:txBody>
                  <a:tcPr marL="121920" marR="121920" marT="60960" marB="6096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600" dirty="0"/>
                        <a:t>Ofgem decision </a:t>
                      </a:r>
                    </a:p>
                  </a:txBody>
                  <a:tcPr marL="121920" marR="121920" marT="60960" marB="60960"/>
                </a:tc>
                <a:tc>
                  <a:txBody>
                    <a:bodyPr/>
                    <a:lstStyle/>
                    <a:p>
                      <a:r>
                        <a:rPr lang="en-GB" sz="1600" dirty="0"/>
                        <a:t>31 January 2021</a:t>
                      </a:r>
                    </a:p>
                  </a:txBody>
                  <a:tcPr marL="121920" marR="121920" marT="60960" marB="60960"/>
                </a:tc>
                <a:extLst>
                  <a:ext uri="{0D108BD9-81ED-4DB2-BD59-A6C34878D82A}">
                    <a16:rowId xmlns:a16="http://schemas.microsoft.com/office/drawing/2014/main" val="1338958629"/>
                  </a:ext>
                </a:extLst>
              </a:tr>
              <a:tr h="579426">
                <a:tc>
                  <a:txBody>
                    <a:bodyPr/>
                    <a:lstStyle/>
                    <a:p>
                      <a:r>
                        <a:rPr lang="en-GB" sz="1600" dirty="0"/>
                        <a:t>Code Administrator Consultation (15 Working Days)</a:t>
                      </a:r>
                    </a:p>
                  </a:txBody>
                  <a:tcPr marL="121920" marR="121920" marT="60960" marB="60960"/>
                </a:tc>
                <a:tc>
                  <a:txBody>
                    <a:bodyPr/>
                    <a:lstStyle/>
                    <a:p>
                      <a:r>
                        <a:rPr lang="en-GB" sz="1600" dirty="0"/>
                        <a:t>30 November 2020 to 5pm on 21 December 2020</a:t>
                      </a:r>
                    </a:p>
                  </a:txBody>
                  <a:tcPr marL="121920" marR="121920" marT="60960" marB="60960"/>
                </a:tc>
                <a:tc>
                  <a:txBody>
                    <a:bodyPr/>
                    <a:lstStyle/>
                    <a:p>
                      <a:r>
                        <a:rPr lang="en-GB" sz="1600" dirty="0"/>
                        <a:t>Implementation Date</a:t>
                      </a:r>
                    </a:p>
                  </a:txBody>
                  <a:tcPr marL="121920" marR="121920" marT="60960" marB="60960"/>
                </a:tc>
                <a:tc>
                  <a:txBody>
                    <a:bodyPr/>
                    <a:lstStyle/>
                    <a:p>
                      <a:r>
                        <a:rPr lang="en-GB" sz="1600" dirty="0"/>
                        <a:t>1 April 2021</a:t>
                      </a:r>
                    </a:p>
                  </a:txBody>
                  <a:tcPr marL="121920" marR="121920" marT="60960" marB="60960"/>
                </a:tc>
                <a:extLst>
                  <a:ext uri="{0D108BD9-81ED-4DB2-BD59-A6C34878D82A}">
                    <a16:rowId xmlns:a16="http://schemas.microsoft.com/office/drawing/2014/main" val="3799481148"/>
                  </a:ext>
                </a:extLst>
              </a:tr>
            </a:tbl>
          </a:graphicData>
        </a:graphic>
      </p:graphicFrame>
    </p:spTree>
    <p:extLst>
      <p:ext uri="{BB962C8B-B14F-4D97-AF65-F5344CB8AC3E}">
        <p14:creationId xmlns:p14="http://schemas.microsoft.com/office/powerpoint/2010/main" val="3789484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3">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descr="A picture containing indoor, shelf, sitting, book&#10;&#10;Description automatically generated">
            <a:extLst>
              <a:ext uri="{FF2B5EF4-FFF2-40B4-BE49-F238E27FC236}">
                <a16:creationId xmlns:a16="http://schemas.microsoft.com/office/drawing/2014/main" id="{ADDEAE9B-80A8-B942-9CE7-4EEBE97BAF37}"/>
              </a:ext>
            </a:extLst>
          </p:cNvPr>
          <p:cNvPicPr>
            <a:picLocks noChangeAspect="1"/>
          </p:cNvPicPr>
          <p:nvPr/>
        </p:nvPicPr>
        <p:blipFill rotWithShape="1">
          <a:blip r:embed="rId2"/>
          <a:srcRect l="8023" t="9091" r="27341"/>
          <a:stretch/>
        </p:blipFill>
        <p:spPr>
          <a:xfrm>
            <a:off x="3523488" y="10"/>
            <a:ext cx="8668512" cy="6857990"/>
          </a:xfrm>
          <a:prstGeom prst="rect">
            <a:avLst/>
          </a:prstGeom>
        </p:spPr>
      </p:pic>
      <p:sp>
        <p:nvSpPr>
          <p:cNvPr id="17" name="Rectangle 15">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01789D7-2924-A240-A8B3-1F46231EA839}"/>
              </a:ext>
            </a:extLst>
          </p:cNvPr>
          <p:cNvSpPr>
            <a:spLocks noGrp="1"/>
          </p:cNvSpPr>
          <p:nvPr>
            <p:ph type="title"/>
          </p:nvPr>
        </p:nvSpPr>
        <p:spPr>
          <a:xfrm>
            <a:off x="477981" y="1122363"/>
            <a:ext cx="8969171" cy="3204134"/>
          </a:xfrm>
          <a:prstGeom prst="rect">
            <a:avLst/>
          </a:prstGeom>
        </p:spPr>
        <p:txBody>
          <a:bodyPr vert="horz" lIns="91440" tIns="45720" rIns="91440" bIns="45720" rtlCol="0" anchor="b">
            <a:normAutofit/>
          </a:bodyPr>
          <a:lstStyle>
            <a:lvl1pPr>
              <a:defRPr sz="4400" b="0" i="0">
                <a:solidFill>
                  <a:srgbClr val="FFCE2C"/>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US" sz="2600" b="1" dirty="0">
                <a:solidFill>
                  <a:schemeClr val="tx1"/>
                </a:solidFill>
                <a:latin typeface="+mj-lt"/>
                <a:ea typeface="+mj-ea"/>
                <a:cs typeface="+mj-cs"/>
              </a:rPr>
              <a:t>Brexit CUSC Changes</a:t>
            </a:r>
            <a:br>
              <a:rPr lang="en-US" sz="2600" b="1" dirty="0">
                <a:solidFill>
                  <a:schemeClr val="tx1"/>
                </a:solidFill>
                <a:latin typeface="+mj-lt"/>
                <a:ea typeface="+mj-ea"/>
                <a:cs typeface="+mj-cs"/>
              </a:rPr>
            </a:br>
            <a:r>
              <a:rPr lang="en-US" sz="2000" b="1" dirty="0">
                <a:solidFill>
                  <a:schemeClr val="tx1"/>
                </a:solidFill>
                <a:latin typeface="+mj-lt"/>
                <a:ea typeface="+mj-ea"/>
                <a:cs typeface="+mj-cs"/>
              </a:rPr>
              <a:t>Katharina Birkner</a:t>
            </a:r>
            <a:endParaRPr lang="en-US" sz="2600" dirty="0">
              <a:solidFill>
                <a:schemeClr val="tx1"/>
              </a:solidFill>
              <a:latin typeface="+mj-lt"/>
              <a:ea typeface="+mj-ea"/>
              <a:cs typeface="+mj-cs"/>
            </a:endParaRPr>
          </a:p>
        </p:txBody>
      </p:sp>
      <p:sp>
        <p:nvSpPr>
          <p:cNvPr id="19" name="Rectangle 17">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AF2C63B2-4E98-9140-8CA9-C9FAAD9024E0}"/>
              </a:ext>
            </a:extLst>
          </p:cNvPr>
          <p:cNvPicPr>
            <a:picLocks noChangeAspect="1"/>
          </p:cNvPicPr>
          <p:nvPr/>
        </p:nvPicPr>
        <p:blipFill>
          <a:blip r:embed="rId3"/>
          <a:stretch>
            <a:fillRect/>
          </a:stretch>
        </p:blipFill>
        <p:spPr>
          <a:xfrm>
            <a:off x="0" y="5816600"/>
            <a:ext cx="12192000" cy="1041400"/>
          </a:xfrm>
          <a:prstGeom prst="rect">
            <a:avLst/>
          </a:prstGeom>
        </p:spPr>
      </p:pic>
      <p:sp>
        <p:nvSpPr>
          <p:cNvPr id="5" name="Rectangle 4">
            <a:extLst>
              <a:ext uri="{FF2B5EF4-FFF2-40B4-BE49-F238E27FC236}">
                <a16:creationId xmlns:a16="http://schemas.microsoft.com/office/drawing/2014/main" id="{697173E8-C311-4B22-ADB2-DA746880785D}"/>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C38FB7C-A733-45FB-80F5-CF34A327C8F7}"/>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4F2D3A54-773A-4EBA-B20D-490A3E112E78}"/>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2490F1B-56EF-49BD-AA3A-E67CF4A2C1E0}"/>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8044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E2F29F7-C0DF-4E22-A9B6-0D380905712D}"/>
              </a:ext>
            </a:extLst>
          </p:cNvPr>
          <p:cNvPicPr>
            <a:picLocks noChangeAspect="1"/>
          </p:cNvPicPr>
          <p:nvPr/>
        </p:nvPicPr>
        <p:blipFill rotWithShape="1">
          <a:blip r:embed="rId2"/>
          <a:srcRect t="27038" r="-1" b="16697"/>
          <a:stretch/>
        </p:blipFill>
        <p:spPr>
          <a:xfrm>
            <a:off x="0" y="6594"/>
            <a:ext cx="12188932" cy="6857990"/>
          </a:xfrm>
          <a:prstGeom prst="rect">
            <a:avLst/>
          </a:prstGeom>
        </p:spPr>
      </p:pic>
      <p:sp>
        <p:nvSpPr>
          <p:cNvPr id="14" name="Freeform: Shape 13">
            <a:extLst>
              <a:ext uri="{FF2B5EF4-FFF2-40B4-BE49-F238E27FC236}">
                <a16:creationId xmlns:a16="http://schemas.microsoft.com/office/drawing/2014/main" id="{5E8D2E83-FB3A-40E7-A9E5-7AB389D612B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023809"/>
            <a:ext cx="11016943" cy="2262375"/>
          </a:xfrm>
          <a:custGeom>
            <a:avLst/>
            <a:gdLst>
              <a:gd name="connsiteX0" fmla="*/ 0 w 11016943"/>
              <a:gd name="connsiteY0" fmla="*/ 0 h 2262375"/>
              <a:gd name="connsiteX1" fmla="*/ 9969166 w 11016943"/>
              <a:gd name="connsiteY1" fmla="*/ 0 h 2262375"/>
              <a:gd name="connsiteX2" fmla="*/ 11016943 w 11016943"/>
              <a:gd name="connsiteY2" fmla="*/ 2262375 h 2262375"/>
              <a:gd name="connsiteX3" fmla="*/ 4942050 w 11016943"/>
              <a:gd name="connsiteY3" fmla="*/ 2262375 h 2262375"/>
              <a:gd name="connsiteX4" fmla="*/ 4582160 w 11016943"/>
              <a:gd name="connsiteY4" fmla="*/ 2262375 h 2262375"/>
              <a:gd name="connsiteX5" fmla="*/ 0 w 11016943"/>
              <a:gd name="connsiteY5" fmla="*/ 2262375 h 226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16943" h="2262375">
                <a:moveTo>
                  <a:pt x="0" y="0"/>
                </a:moveTo>
                <a:lnTo>
                  <a:pt x="9969166" y="0"/>
                </a:lnTo>
                <a:lnTo>
                  <a:pt x="11016943" y="2262375"/>
                </a:lnTo>
                <a:lnTo>
                  <a:pt x="4942050" y="2262375"/>
                </a:lnTo>
                <a:lnTo>
                  <a:pt x="4582160" y="2262375"/>
                </a:lnTo>
                <a:lnTo>
                  <a:pt x="0" y="2262375"/>
                </a:lnTo>
                <a:close/>
              </a:path>
            </a:pathLst>
          </a:custGeom>
          <a:solidFill>
            <a:schemeClr val="bg1">
              <a:lumMod val="85000"/>
              <a:lumOff val="1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F00B107-AE59-E849-9637-3B6D6BDCB684}"/>
              </a:ext>
            </a:extLst>
          </p:cNvPr>
          <p:cNvSpPr>
            <a:spLocks noGrp="1"/>
          </p:cNvSpPr>
          <p:nvPr>
            <p:ph type="title"/>
          </p:nvPr>
        </p:nvSpPr>
        <p:spPr>
          <a:xfrm>
            <a:off x="2601607" y="268357"/>
            <a:ext cx="9265771" cy="622836"/>
          </a:xfrm>
          <a:prstGeom prst="rect">
            <a:avLst/>
          </a:prstGeom>
        </p:spPr>
        <p:txBody>
          <a:bodyPr vert="horz" lIns="91440" tIns="45720" rIns="91440" bIns="45720" rtlCol="0" anchor="ctr">
            <a:normAutofit/>
          </a:bodyPr>
          <a:lstStyle>
            <a:lvl1pPr>
              <a:defRPr sz="4400" b="0" i="0">
                <a:solidFill>
                  <a:srgbClr val="FFCE2C"/>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US" sz="3600" dirty="0">
                <a:solidFill>
                  <a:schemeClr val="tx1"/>
                </a:solidFill>
                <a:latin typeface="+mj-lt"/>
                <a:ea typeface="+mj-ea"/>
                <a:cs typeface="+mj-cs"/>
              </a:rPr>
              <a:t>Brexit situation and possible outcomes</a:t>
            </a:r>
          </a:p>
        </p:txBody>
      </p:sp>
      <p:sp>
        <p:nvSpPr>
          <p:cNvPr id="4" name="TextBox 3">
            <a:extLst>
              <a:ext uri="{FF2B5EF4-FFF2-40B4-BE49-F238E27FC236}">
                <a16:creationId xmlns:a16="http://schemas.microsoft.com/office/drawing/2014/main" id="{A029ABE0-7D78-FD4F-8793-948A7A1909A9}"/>
              </a:ext>
            </a:extLst>
          </p:cNvPr>
          <p:cNvSpPr txBox="1"/>
          <p:nvPr/>
        </p:nvSpPr>
        <p:spPr>
          <a:xfrm>
            <a:off x="1313486" y="1101471"/>
            <a:ext cx="9565028" cy="1249240"/>
          </a:xfrm>
          <a:prstGeom prst="rect">
            <a:avLst/>
          </a:prstGeom>
          <a:solidFill>
            <a:schemeClr val="accent1"/>
          </a:solidFill>
        </p:spPr>
        <p:txBody>
          <a:bodyPr vert="horz" lIns="91440" tIns="45720" rIns="91440" bIns="45720" rtlCol="0" anchor="t">
            <a:normAutofit lnSpcReduction="10000"/>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The European Union Withdrawal Act (2018) was approved by the house of Lords on the 22</a:t>
            </a:r>
            <a:r>
              <a:rPr kumimoji="0" lang="en-US" sz="1500" b="0" i="0" u="none" strike="noStrike" kern="1200" cap="none" spc="0" normalizeH="0" baseline="30000" noProof="0" dirty="0">
                <a:ln>
                  <a:noFill/>
                </a:ln>
                <a:solidFill>
                  <a:prstClr val="white"/>
                </a:solidFill>
                <a:effectLst/>
                <a:uLnTx/>
                <a:uFillTx/>
                <a:latin typeface="Calibri" panose="020F0502020204030204"/>
                <a:ea typeface="+mn-ea"/>
                <a:cs typeface="+mn-cs"/>
              </a:rPr>
              <a:t>nd</a:t>
            </a: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 January 2020. This initiated 11 months negotiation for a post Brexit EU relationship. </a:t>
            </a:r>
            <a:endPar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The withdrawal agreement states that all EU network codes in place or approved by ACER ahead of exit day will be copied into GB law except for elements that aren’t operable.</a:t>
            </a:r>
            <a:endPar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Calibri"/>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rPr>
              <a:t>As the negotiations are slowly drawing to and end there’s 2 possible options:</a:t>
            </a:r>
            <a:endPar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Calibri"/>
            </a:endParaRPr>
          </a:p>
        </p:txBody>
      </p:sp>
      <p:pic>
        <p:nvPicPr>
          <p:cNvPr id="3" name="Picture 2">
            <a:extLst>
              <a:ext uri="{FF2B5EF4-FFF2-40B4-BE49-F238E27FC236}">
                <a16:creationId xmlns:a16="http://schemas.microsoft.com/office/drawing/2014/main" id="{192D393E-08FE-844D-9299-289B13FBC445}"/>
              </a:ext>
            </a:extLst>
          </p:cNvPr>
          <p:cNvPicPr>
            <a:picLocks noChangeAspect="1"/>
          </p:cNvPicPr>
          <p:nvPr/>
        </p:nvPicPr>
        <p:blipFill>
          <a:blip r:embed="rId3"/>
          <a:stretch>
            <a:fillRect/>
          </a:stretch>
        </p:blipFill>
        <p:spPr>
          <a:xfrm>
            <a:off x="0" y="5816600"/>
            <a:ext cx="12192000" cy="1041400"/>
          </a:xfrm>
          <a:prstGeom prst="rect">
            <a:avLst/>
          </a:prstGeom>
        </p:spPr>
      </p:pic>
      <p:sp>
        <p:nvSpPr>
          <p:cNvPr id="5" name="Rectangle 4">
            <a:extLst>
              <a:ext uri="{FF2B5EF4-FFF2-40B4-BE49-F238E27FC236}">
                <a16:creationId xmlns:a16="http://schemas.microsoft.com/office/drawing/2014/main" id="{E7E73FC2-52A4-4DAC-8BDF-E3BC9C9EE455}"/>
              </a:ext>
            </a:extLst>
          </p:cNvPr>
          <p:cNvSpPr/>
          <p:nvPr/>
        </p:nvSpPr>
        <p:spPr>
          <a:xfrm>
            <a:off x="847573" y="3051441"/>
            <a:ext cx="2461847" cy="604911"/>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rPr>
              <a:t>Deal</a:t>
            </a: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F6FB0B18-2A90-4D2C-95D1-9F97D5D5E43C}"/>
              </a:ext>
            </a:extLst>
          </p:cNvPr>
          <p:cNvSpPr/>
          <p:nvPr/>
        </p:nvSpPr>
        <p:spPr>
          <a:xfrm>
            <a:off x="6585255" y="3051441"/>
            <a:ext cx="2461847" cy="604911"/>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rPr>
              <a:t>No Deal</a:t>
            </a: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F580F4A8-2EF6-4842-AEB6-6A99F273C799}"/>
              </a:ext>
            </a:extLst>
          </p:cNvPr>
          <p:cNvSpPr txBox="1"/>
          <p:nvPr/>
        </p:nvSpPr>
        <p:spPr>
          <a:xfrm>
            <a:off x="5508471" y="4110164"/>
            <a:ext cx="3909703" cy="196977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his option currently appears more likely due to the outstanding sticking point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BEIS have a series of SIs that have been laid in place to copy EU network codes into GB law.</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Code modifications have been raised previously to account for a “no deal” Brexit to ensure the CUSC remains accurate. These  mods have been reviewed to include relevant updates since last year</a:t>
            </a:r>
          </a:p>
        </p:txBody>
      </p:sp>
      <p:sp>
        <p:nvSpPr>
          <p:cNvPr id="8" name="TextBox 7">
            <a:extLst>
              <a:ext uri="{FF2B5EF4-FFF2-40B4-BE49-F238E27FC236}">
                <a16:creationId xmlns:a16="http://schemas.microsoft.com/office/drawing/2014/main" id="{28C5D348-8415-48C4-B23D-C2DF3B846C3C}"/>
              </a:ext>
            </a:extLst>
          </p:cNvPr>
          <p:cNvSpPr txBox="1"/>
          <p:nvPr/>
        </p:nvSpPr>
        <p:spPr>
          <a:xfrm>
            <a:off x="289613" y="4130699"/>
            <a:ext cx="4623987" cy="218521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his option currently looks less likely. Due to the UK negotiation team having expressed a preference to be outside of the internal energy market, there is a chance that an agreement, a “deal” situation could look similar to the “no deal” scenario initially. A “deal” scenario may require further negotiations to identify alternative options for the ongoing relationship on energy.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If an agreement is reached we will withdraw ou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CUSC Brexit mods and raise new ones.</a:t>
            </a:r>
          </a:p>
        </p:txBody>
      </p:sp>
    </p:spTree>
    <p:extLst>
      <p:ext uri="{BB962C8B-B14F-4D97-AF65-F5344CB8AC3E}">
        <p14:creationId xmlns:p14="http://schemas.microsoft.com/office/powerpoint/2010/main" val="3884343440"/>
      </p:ext>
    </p:extLst>
  </p:cSld>
  <p:clrMapOvr>
    <a:overrideClrMapping bg1="dk1" tx1="lt1" bg2="dk2" tx2="lt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0B107-AE59-E849-9637-3B6D6BDCB684}"/>
              </a:ext>
            </a:extLst>
          </p:cNvPr>
          <p:cNvSpPr>
            <a:spLocks noGrp="1"/>
          </p:cNvSpPr>
          <p:nvPr>
            <p:ph type="title"/>
          </p:nvPr>
        </p:nvSpPr>
        <p:spPr>
          <a:xfrm>
            <a:off x="401737" y="392764"/>
            <a:ext cx="10253011" cy="760175"/>
          </a:xfrm>
          <a:prstGeom prst="rect">
            <a:avLst/>
          </a:prstGeom>
        </p:spPr>
        <p:txBody>
          <a:bodyPr anchor="t">
            <a:normAutofit/>
          </a:bodyPr>
          <a:lstStyle>
            <a:lvl1pPr>
              <a:defRPr sz="4400" b="0" i="0">
                <a:solidFill>
                  <a:srgbClr val="FFCE2C"/>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4000" dirty="0">
                <a:latin typeface="Helvetica Neue LT Std 65 Medium"/>
              </a:rPr>
              <a:t>CUSC Impact</a:t>
            </a:r>
            <a:endParaRPr lang="en-US" sz="4000" dirty="0">
              <a:latin typeface="Helvetica Neue LT Std 65 Medium"/>
            </a:endParaRPr>
          </a:p>
        </p:txBody>
      </p:sp>
      <p:pic>
        <p:nvPicPr>
          <p:cNvPr id="3" name="Picture 2">
            <a:extLst>
              <a:ext uri="{FF2B5EF4-FFF2-40B4-BE49-F238E27FC236}">
                <a16:creationId xmlns:a16="http://schemas.microsoft.com/office/drawing/2014/main" id="{192D393E-08FE-844D-9299-289B13FBC445}"/>
              </a:ext>
            </a:extLst>
          </p:cNvPr>
          <p:cNvPicPr>
            <a:picLocks noChangeAspect="1"/>
          </p:cNvPicPr>
          <p:nvPr/>
        </p:nvPicPr>
        <p:blipFill>
          <a:blip r:embed="rId2"/>
          <a:stretch>
            <a:fillRect/>
          </a:stretch>
        </p:blipFill>
        <p:spPr>
          <a:xfrm>
            <a:off x="0" y="5816600"/>
            <a:ext cx="12192000" cy="1041400"/>
          </a:xfrm>
          <a:prstGeom prst="rect">
            <a:avLst/>
          </a:prstGeom>
        </p:spPr>
      </p:pic>
      <p:sp>
        <p:nvSpPr>
          <p:cNvPr id="4" name="TextBox 3">
            <a:extLst>
              <a:ext uri="{FF2B5EF4-FFF2-40B4-BE49-F238E27FC236}">
                <a16:creationId xmlns:a16="http://schemas.microsoft.com/office/drawing/2014/main" id="{A029ABE0-7D78-FD4F-8793-948A7A1909A9}"/>
              </a:ext>
            </a:extLst>
          </p:cNvPr>
          <p:cNvSpPr txBox="1"/>
          <p:nvPr/>
        </p:nvSpPr>
        <p:spPr>
          <a:xfrm>
            <a:off x="244173" y="1052290"/>
            <a:ext cx="11866547" cy="5663089"/>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In 2019 we raised 2 CUSC mods to ensure the CUSC remains accurate in the event the UK leaves the EU without an agreement. The Panel voted that the mod met the self-governance criteria and should proceed straight to CAC, which was run. Once it became clear that the European Union Withdrawal Act (2018) had been agreed the mods were put on hol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CMP309: CUSC changes in the event the UK leaves the EU without an agre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CMP309 seeks to ensure any retained EU law functions effectively in the CUSC in a “no deal” scenario taking into consideration the provisions of relevant statutory instruments under the Withdrawal Act. Legal text changes impact section 8 in the CUSC (CUSC modification) and section 11 in the CUSC (defini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CMP310: CUSC section 14 changes in the event the UK leaves the EU without an agre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CMP310, is the equivalent to CMP309 for CUSC section 14 changes (charging methodolog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We are bringing CMP309 and CMP310 back at October CUSC panel including additional legal text changes that are required due to the implementation of CMP322 and CMP323 (EBGL Art 18 T&amp;Cs implementation) to initiate a new Code Administrator Consultation</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The defect has not chang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ED7D31"/>
                </a:solidFill>
                <a:effectLst/>
                <a:uLnTx/>
                <a:uFillTx/>
                <a:latin typeface="Calibri" panose="020F0502020204030204"/>
                <a:ea typeface="+mn-ea"/>
                <a:cs typeface="Arial"/>
              </a:rPr>
              <a:t>Our recommendation to Panel is to now proceed to a second CA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6377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0B107-AE59-E849-9637-3B6D6BDCB684}"/>
              </a:ext>
            </a:extLst>
          </p:cNvPr>
          <p:cNvSpPr>
            <a:spLocks noGrp="1"/>
          </p:cNvSpPr>
          <p:nvPr>
            <p:ph type="title"/>
          </p:nvPr>
        </p:nvSpPr>
        <p:spPr>
          <a:xfrm>
            <a:off x="401737" y="392764"/>
            <a:ext cx="10253011" cy="760175"/>
          </a:xfrm>
          <a:prstGeom prst="rect">
            <a:avLst/>
          </a:prstGeom>
        </p:spPr>
        <p:txBody>
          <a:bodyPr anchor="t">
            <a:normAutofit/>
          </a:bodyPr>
          <a:lstStyle>
            <a:lvl1pPr>
              <a:defRPr sz="4400" b="0" i="0">
                <a:solidFill>
                  <a:srgbClr val="FFCE2C"/>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4000" dirty="0">
                <a:latin typeface="Helvetica Neue LT Std 65 Medium"/>
              </a:rPr>
              <a:t>Legal Text highlights</a:t>
            </a:r>
            <a:endParaRPr lang="en-US" sz="4000" dirty="0">
              <a:latin typeface="Helvetica Neue LT Std 65 Medium"/>
            </a:endParaRPr>
          </a:p>
        </p:txBody>
      </p:sp>
      <p:pic>
        <p:nvPicPr>
          <p:cNvPr id="3" name="Picture 2">
            <a:extLst>
              <a:ext uri="{FF2B5EF4-FFF2-40B4-BE49-F238E27FC236}">
                <a16:creationId xmlns:a16="http://schemas.microsoft.com/office/drawing/2014/main" id="{192D393E-08FE-844D-9299-289B13FBC445}"/>
              </a:ext>
            </a:extLst>
          </p:cNvPr>
          <p:cNvPicPr>
            <a:picLocks noChangeAspect="1"/>
          </p:cNvPicPr>
          <p:nvPr/>
        </p:nvPicPr>
        <p:blipFill>
          <a:blip r:embed="rId2"/>
          <a:stretch>
            <a:fillRect/>
          </a:stretch>
        </p:blipFill>
        <p:spPr>
          <a:xfrm>
            <a:off x="0" y="5816600"/>
            <a:ext cx="12192000" cy="1041400"/>
          </a:xfrm>
          <a:prstGeom prst="rect">
            <a:avLst/>
          </a:prstGeom>
        </p:spPr>
      </p:pic>
      <p:sp>
        <p:nvSpPr>
          <p:cNvPr id="4" name="TextBox 3">
            <a:extLst>
              <a:ext uri="{FF2B5EF4-FFF2-40B4-BE49-F238E27FC236}">
                <a16:creationId xmlns:a16="http://schemas.microsoft.com/office/drawing/2014/main" id="{A029ABE0-7D78-FD4F-8793-948A7A1909A9}"/>
              </a:ext>
            </a:extLst>
          </p:cNvPr>
          <p:cNvSpPr txBox="1"/>
          <p:nvPr/>
        </p:nvSpPr>
        <p:spPr>
          <a:xfrm>
            <a:off x="254333" y="1194530"/>
            <a:ext cx="10822853" cy="4801314"/>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I 2019 No. 532</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 Exiting the European Union (Electricity) laid 15</a:t>
            </a:r>
            <a:r>
              <a:rPr kumimoji="0" lang="en-US" sz="1800" b="0" i="0" u="none" strike="noStrike" kern="1200" cap="none" spc="0" normalizeH="0" baseline="3000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June 2019 copied the ITC agreement and Electricity Balancing Regulation into GB law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CUSC Section 11 (Defini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Adding definition for Electricity Balancing Regulation (in place of previous definition as Electricity Balancing Guidelines) and subsequent EBR defini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Adding definitions for Retained EU law and Legally Binding Decisions from the EU Commission and AC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CUSC Section 4 (Balancing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Updating EBGL Art 18 (T&amp;Cs) provisions ensuring they contain updated definitions from Section 1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Updating exhibit Y reference from EU law </a:t>
            </a: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Times New Roman" panose="02020603050405020304" pitchFamily="18" charset="0"/>
              </a:rPr>
              <a:t>to retained SOGL</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CUSC Section 8 (CUSC Mod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Ensuring Section 8 contains updated definitions from Section 1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CUSC Section 14 (Charging Methodologies)</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Updating reference from EU law reference to Retained EU law</a:t>
            </a:r>
          </a:p>
        </p:txBody>
      </p:sp>
    </p:spTree>
    <p:extLst>
      <p:ext uri="{BB962C8B-B14F-4D97-AF65-F5344CB8AC3E}">
        <p14:creationId xmlns:p14="http://schemas.microsoft.com/office/powerpoint/2010/main" val="23503997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163128C-6CBB-4BFE-858B-5EED77D92C6B}"/>
              </a:ext>
            </a:extLst>
          </p:cNvPr>
          <p:cNvSpPr>
            <a:spLocks noGrp="1"/>
          </p:cNvSpPr>
          <p:nvPr>
            <p:ph type="body" sz="quarter" idx="11"/>
          </p:nvPr>
        </p:nvSpPr>
        <p:spPr>
          <a:xfrm>
            <a:off x="1697037" y="2884028"/>
            <a:ext cx="7079318" cy="1227137"/>
          </a:xfrm>
          <a:solidFill>
            <a:schemeClr val="bg1"/>
          </a:solidFill>
        </p:spPr>
        <p:txBody>
          <a:bodyPr/>
          <a:lstStyle/>
          <a:p>
            <a:r>
              <a:rPr lang="en-GB" sz="4000" b="1" dirty="0"/>
              <a:t>Discussions on Prioritisation  </a:t>
            </a:r>
          </a:p>
        </p:txBody>
      </p:sp>
    </p:spTree>
    <p:extLst>
      <p:ext uri="{BB962C8B-B14F-4D97-AF65-F5344CB8AC3E}">
        <p14:creationId xmlns:p14="http://schemas.microsoft.com/office/powerpoint/2010/main" val="2420189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D3ABB-2784-754F-9768-56AE0EF7A5D5}"/>
              </a:ext>
            </a:extLst>
          </p:cNvPr>
          <p:cNvSpPr>
            <a:spLocks noGrp="1"/>
          </p:cNvSpPr>
          <p:nvPr>
            <p:ph type="title"/>
          </p:nvPr>
        </p:nvSpPr>
        <p:spPr>
          <a:xfrm>
            <a:off x="253219" y="222492"/>
            <a:ext cx="10570858" cy="734111"/>
          </a:xfrm>
        </p:spPr>
        <p:txBody>
          <a:bodyPr/>
          <a:lstStyle/>
          <a:p>
            <a:r>
              <a:rPr lang="en-US" sz="4000" b="1" dirty="0"/>
              <a:t>Prioritisation Principles</a:t>
            </a:r>
          </a:p>
        </p:txBody>
      </p:sp>
      <p:graphicFrame>
        <p:nvGraphicFramePr>
          <p:cNvPr id="6" name="Table 5">
            <a:extLst>
              <a:ext uri="{FF2B5EF4-FFF2-40B4-BE49-F238E27FC236}">
                <a16:creationId xmlns:a16="http://schemas.microsoft.com/office/drawing/2014/main" id="{2ECDC8F7-3BC0-4622-997B-AB5D32CBB745}"/>
              </a:ext>
            </a:extLst>
          </p:cNvPr>
          <p:cNvGraphicFramePr>
            <a:graphicFrameLocks noGrp="1"/>
          </p:cNvGraphicFramePr>
          <p:nvPr>
            <p:extLst>
              <p:ext uri="{D42A27DB-BD31-4B8C-83A1-F6EECF244321}">
                <p14:modId xmlns:p14="http://schemas.microsoft.com/office/powerpoint/2010/main" val="2272756461"/>
              </p:ext>
            </p:extLst>
          </p:nvPr>
        </p:nvGraphicFramePr>
        <p:xfrm>
          <a:off x="327081" y="845650"/>
          <a:ext cx="11611700" cy="4693911"/>
        </p:xfrm>
        <a:graphic>
          <a:graphicData uri="http://schemas.openxmlformats.org/drawingml/2006/table">
            <a:tbl>
              <a:tblPr firstRow="1" firstCol="1" bandRow="1">
                <a:tableStyleId>{5C22544A-7EE6-4342-B048-85BDC9FD1C3A}</a:tableStyleId>
              </a:tblPr>
              <a:tblGrid>
                <a:gridCol w="1804355">
                  <a:extLst>
                    <a:ext uri="{9D8B030D-6E8A-4147-A177-3AD203B41FA5}">
                      <a16:colId xmlns:a16="http://schemas.microsoft.com/office/drawing/2014/main" val="1995602754"/>
                    </a:ext>
                  </a:extLst>
                </a:gridCol>
                <a:gridCol w="9807345">
                  <a:extLst>
                    <a:ext uri="{9D8B030D-6E8A-4147-A177-3AD203B41FA5}">
                      <a16:colId xmlns:a16="http://schemas.microsoft.com/office/drawing/2014/main" val="3227837869"/>
                    </a:ext>
                  </a:extLst>
                </a:gridCol>
              </a:tblGrid>
              <a:tr h="1313748">
                <a:tc gridSpan="2">
                  <a:txBody>
                    <a:bodyPr/>
                    <a:lstStyle/>
                    <a:p>
                      <a:pPr algn="ctr">
                        <a:spcAft>
                          <a:spcPts val="0"/>
                        </a:spcAft>
                      </a:pPr>
                      <a:r>
                        <a:rPr lang="en-GB" sz="1600" dirty="0">
                          <a:effectLst/>
                          <a:latin typeface="Arial" panose="020B0604020202020204" pitchFamily="34" charset="0"/>
                          <a:cs typeface="Arial" panose="020B0604020202020204" pitchFamily="34" charset="0"/>
                        </a:rPr>
                        <a:t>Section 8: 8.19.1.(e) makes the following provision for the Panel and states “Having regard to the </a:t>
                      </a:r>
                      <a:r>
                        <a:rPr lang="en-GB" sz="1600" u="sng" dirty="0">
                          <a:effectLst/>
                          <a:latin typeface="Arial" panose="020B0604020202020204" pitchFamily="34" charset="0"/>
                          <a:cs typeface="Arial" panose="020B0604020202020204" pitchFamily="34" charset="0"/>
                        </a:rPr>
                        <a:t>complexity, importance and urgency </a:t>
                      </a:r>
                      <a:r>
                        <a:rPr lang="en-GB" sz="1600" dirty="0">
                          <a:effectLst/>
                          <a:latin typeface="Arial" panose="020B0604020202020204" pitchFamily="34" charset="0"/>
                          <a:cs typeface="Arial" panose="020B0604020202020204" pitchFamily="34" charset="0"/>
                        </a:rPr>
                        <a:t>of particular CUSC Modification Proposals, the CUSC Modifications Panel may determine the priority of CUSC Modification Proposals and may (subject to any objection from the Authority taking into account all those issues) adjust the priority of the relevant CUSC Modification Proposal accordingly”</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6658" marR="46658" marT="0" marB="0" anchor="ctr"/>
                </a:tc>
                <a:tc hMerge="1">
                  <a:txBody>
                    <a:bodyPr/>
                    <a:lstStyle/>
                    <a:p>
                      <a:endParaRPr lang="en-GB"/>
                    </a:p>
                  </a:txBody>
                  <a:tcPr/>
                </a:tc>
                <a:extLst>
                  <a:ext uri="{0D108BD9-81ED-4DB2-BD59-A6C34878D82A}">
                    <a16:rowId xmlns:a16="http://schemas.microsoft.com/office/drawing/2014/main" val="2721454141"/>
                  </a:ext>
                </a:extLst>
              </a:tr>
              <a:tr h="1300063">
                <a:tc>
                  <a:txBody>
                    <a:bodyPr/>
                    <a:lstStyle/>
                    <a:p>
                      <a:pPr algn="ctr">
                        <a:spcAft>
                          <a:spcPts val="0"/>
                        </a:spcAft>
                      </a:pPr>
                      <a:r>
                        <a:rPr lang="en-GB" sz="1600" dirty="0">
                          <a:effectLst/>
                          <a:latin typeface="Arial" panose="020B0604020202020204" pitchFamily="34" charset="0"/>
                          <a:cs typeface="Arial" panose="020B0604020202020204" pitchFamily="34" charset="0"/>
                        </a:rPr>
                        <a:t>Complexity</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6658" marR="46658" marT="0" marB="0" anchor="ctr"/>
                </a:tc>
                <a:tc>
                  <a:txBody>
                    <a:bodyPr/>
                    <a:lstStyle/>
                    <a:p>
                      <a:pPr algn="ctr">
                        <a:spcAft>
                          <a:spcPts val="0"/>
                        </a:spcAft>
                      </a:pPr>
                      <a:r>
                        <a:rPr lang="en-GB" sz="1600" dirty="0">
                          <a:effectLst/>
                          <a:latin typeface="Arial" panose="020B0604020202020204" pitchFamily="34" charset="0"/>
                          <a:cs typeface="Arial" panose="020B0604020202020204" pitchFamily="34" charset="0"/>
                        </a:rPr>
                        <a:t>The modification is viewed as being resource intensive and will most likely require a higher than average number of workgroups to conclude the process. Additionally the modification defect is viewed to have implications for many different areas of the energy market which need to be taken into consideration throughout the process.</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6658" marR="46658" marT="0" marB="0" anchor="ctr"/>
                </a:tc>
                <a:extLst>
                  <a:ext uri="{0D108BD9-81ED-4DB2-BD59-A6C34878D82A}">
                    <a16:rowId xmlns:a16="http://schemas.microsoft.com/office/drawing/2014/main" val="1811050732"/>
                  </a:ext>
                </a:extLst>
              </a:tr>
              <a:tr h="1040050">
                <a:tc>
                  <a:txBody>
                    <a:bodyPr/>
                    <a:lstStyle/>
                    <a:p>
                      <a:pPr algn="ctr">
                        <a:spcAft>
                          <a:spcPts val="0"/>
                        </a:spcAft>
                      </a:pPr>
                      <a:r>
                        <a:rPr lang="en-GB" sz="1600" dirty="0">
                          <a:effectLst/>
                          <a:latin typeface="Arial" panose="020B0604020202020204" pitchFamily="34" charset="0"/>
                          <a:cs typeface="Arial" panose="020B0604020202020204" pitchFamily="34" charset="0"/>
                        </a:rPr>
                        <a:t>Importance</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6658" marR="46658" marT="0" marB="0" anchor="ctr"/>
                </a:tc>
                <a:tc>
                  <a:txBody>
                    <a:bodyPr/>
                    <a:lstStyle/>
                    <a:p>
                      <a:pPr algn="ctr">
                        <a:spcAft>
                          <a:spcPts val="0"/>
                        </a:spcAft>
                      </a:pPr>
                      <a:r>
                        <a:rPr lang="en-GB" sz="1600" dirty="0">
                          <a:effectLst/>
                          <a:latin typeface="Arial" panose="020B0604020202020204" pitchFamily="34" charset="0"/>
                          <a:cs typeface="Arial" panose="020B0604020202020204" pitchFamily="34" charset="0"/>
                        </a:rPr>
                        <a:t>The perceived value &amp; risk associated with the proposed modification. The value / risk could be considered from a number of different perspectives i.e. financial / regulatory  / licence obligations both directly for customer and end consumers more generally.</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6658" marR="46658" marT="0" marB="0" anchor="ctr"/>
                </a:tc>
                <a:extLst>
                  <a:ext uri="{0D108BD9-81ED-4DB2-BD59-A6C34878D82A}">
                    <a16:rowId xmlns:a16="http://schemas.microsoft.com/office/drawing/2014/main" val="2335386639"/>
                  </a:ext>
                </a:extLst>
              </a:tr>
              <a:tr h="1040050">
                <a:tc>
                  <a:txBody>
                    <a:bodyPr/>
                    <a:lstStyle/>
                    <a:p>
                      <a:pPr algn="ctr">
                        <a:spcAft>
                          <a:spcPts val="0"/>
                        </a:spcAft>
                      </a:pPr>
                      <a:r>
                        <a:rPr lang="en-GB" sz="1600" dirty="0">
                          <a:effectLst/>
                          <a:latin typeface="Arial" panose="020B0604020202020204" pitchFamily="34" charset="0"/>
                          <a:cs typeface="Arial" panose="020B0604020202020204" pitchFamily="34" charset="0"/>
                        </a:rPr>
                        <a:t>Urgency</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6658" marR="46658" marT="0" marB="0" anchor="ctr"/>
                </a:tc>
                <a:tc>
                  <a:txBody>
                    <a:bodyPr/>
                    <a:lstStyle/>
                    <a:p>
                      <a:pPr algn="ctr">
                        <a:spcAft>
                          <a:spcPts val="0"/>
                        </a:spcAft>
                      </a:pPr>
                      <a:r>
                        <a:rPr lang="en-GB" sz="1600" dirty="0">
                          <a:effectLst/>
                          <a:latin typeface="Arial" panose="020B0604020202020204" pitchFamily="34" charset="0"/>
                          <a:cs typeface="Arial" panose="020B0604020202020204" pitchFamily="34" charset="0"/>
                        </a:rPr>
                        <a:t>A modification which requires speedy consideration within the code governance process, both complexity and importance should be factors considered in evaluating urgency as well as the timescales for implementation within the respective code.   </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46658" marR="46658" marT="0" marB="0" anchor="ctr"/>
                </a:tc>
                <a:extLst>
                  <a:ext uri="{0D108BD9-81ED-4DB2-BD59-A6C34878D82A}">
                    <a16:rowId xmlns:a16="http://schemas.microsoft.com/office/drawing/2014/main" val="1133352982"/>
                  </a:ext>
                </a:extLst>
              </a:tr>
            </a:tbl>
          </a:graphicData>
        </a:graphic>
      </p:graphicFrame>
    </p:spTree>
    <p:extLst>
      <p:ext uri="{BB962C8B-B14F-4D97-AF65-F5344CB8AC3E}">
        <p14:creationId xmlns:p14="http://schemas.microsoft.com/office/powerpoint/2010/main" val="23198854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7D7BFD-1BE9-4CF1-A8C9-88CCB3FDC996}"/>
              </a:ext>
            </a:extLst>
          </p:cNvPr>
          <p:cNvSpPr>
            <a:spLocks noGrp="1"/>
          </p:cNvSpPr>
          <p:nvPr>
            <p:ph type="title"/>
          </p:nvPr>
        </p:nvSpPr>
        <p:spPr>
          <a:xfrm>
            <a:off x="517629" y="1623373"/>
            <a:ext cx="3139971" cy="774387"/>
          </a:xfrm>
        </p:spPr>
        <p:txBody>
          <a:bodyPr/>
          <a:lstStyle/>
          <a:p>
            <a:r>
              <a:rPr lang="en-GB" b="1" dirty="0"/>
              <a:t>BREAK</a:t>
            </a:r>
          </a:p>
        </p:txBody>
      </p:sp>
      <p:pic>
        <p:nvPicPr>
          <p:cNvPr id="2" name="Picture 1">
            <a:extLst>
              <a:ext uri="{FF2B5EF4-FFF2-40B4-BE49-F238E27FC236}">
                <a16:creationId xmlns:a16="http://schemas.microsoft.com/office/drawing/2014/main" id="{AD9875AD-5B49-4AA3-98EA-CDE57E65AD5D}"/>
              </a:ext>
            </a:extLst>
          </p:cNvPr>
          <p:cNvPicPr>
            <a:picLocks noChangeAspect="1"/>
          </p:cNvPicPr>
          <p:nvPr/>
        </p:nvPicPr>
        <p:blipFill>
          <a:blip r:embed="rId2"/>
          <a:stretch>
            <a:fillRect/>
          </a:stretch>
        </p:blipFill>
        <p:spPr>
          <a:xfrm>
            <a:off x="6150594" y="1085748"/>
            <a:ext cx="5523777" cy="3675823"/>
          </a:xfrm>
          <a:prstGeom prst="rect">
            <a:avLst/>
          </a:prstGeom>
        </p:spPr>
      </p:pic>
    </p:spTree>
    <p:extLst>
      <p:ext uri="{BB962C8B-B14F-4D97-AF65-F5344CB8AC3E}">
        <p14:creationId xmlns:p14="http://schemas.microsoft.com/office/powerpoint/2010/main" val="24955156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BD49DA-B044-4B7E-A684-D0951A8BB8F1}"/>
              </a:ext>
            </a:extLst>
          </p:cNvPr>
          <p:cNvSpPr>
            <a:spLocks noGrp="1"/>
          </p:cNvSpPr>
          <p:nvPr>
            <p:ph type="body" sz="quarter" idx="10"/>
          </p:nvPr>
        </p:nvSpPr>
        <p:spPr>
          <a:xfrm>
            <a:off x="1668901" y="3569812"/>
            <a:ext cx="9824894" cy="2444907"/>
          </a:xfrm>
          <a:solidFill>
            <a:schemeClr val="bg1"/>
          </a:solidFill>
        </p:spPr>
        <p:txBody>
          <a:bodyPr/>
          <a:lstStyle/>
          <a:p>
            <a:pPr algn="just"/>
            <a:r>
              <a:rPr lang="en-GB" sz="2400" b="1" dirty="0">
                <a:solidFill>
                  <a:schemeClr val="accent1"/>
                </a:solidFill>
              </a:rPr>
              <a:t>CMP300 - Cost reflective Response Energy Payment for Generators with low or negative marginal costs</a:t>
            </a:r>
            <a:endParaRPr lang="en-GB" sz="2400" b="1" dirty="0">
              <a:solidFill>
                <a:schemeClr val="accent1"/>
              </a:solidFill>
              <a:latin typeface="Arial" panose="020B0604020202020204" pitchFamily="34" charset="0"/>
              <a:cs typeface="Times New Roman" panose="02020603050405020304" pitchFamily="18" charset="0"/>
            </a:endParaRPr>
          </a:p>
          <a:p>
            <a:endParaRPr lang="en-GB" sz="2400" b="1" dirty="0">
              <a:solidFill>
                <a:schemeClr val="tx1"/>
              </a:solidFill>
              <a:latin typeface="Arial" panose="020B0604020202020204" pitchFamily="34" charset="0"/>
              <a:cs typeface="Times New Roman" panose="02020603050405020304" pitchFamily="18" charset="0"/>
            </a:endParaRPr>
          </a:p>
          <a:p>
            <a:r>
              <a:rPr lang="en-GB" sz="2400" b="1" dirty="0">
                <a:solidFill>
                  <a:schemeClr val="tx1"/>
                </a:solidFill>
                <a:latin typeface="Arial" panose="020B0604020202020204" pitchFamily="34" charset="0"/>
                <a:cs typeface="Times New Roman" panose="02020603050405020304" pitchFamily="18" charset="0"/>
              </a:rPr>
              <a:t>Paul Mullen </a:t>
            </a:r>
            <a:endParaRPr lang="en-GB" sz="2400" b="1" dirty="0">
              <a:solidFill>
                <a:schemeClr val="tx1"/>
              </a:solidFill>
            </a:endParaRPr>
          </a:p>
        </p:txBody>
      </p:sp>
      <p:sp>
        <p:nvSpPr>
          <p:cNvPr id="4" name="Title 1">
            <a:extLst>
              <a:ext uri="{FF2B5EF4-FFF2-40B4-BE49-F238E27FC236}">
                <a16:creationId xmlns:a16="http://schemas.microsoft.com/office/drawing/2014/main" id="{8163128C-6CBB-4BFE-858B-5EED77D92C6B}"/>
              </a:ext>
            </a:extLst>
          </p:cNvPr>
          <p:cNvSpPr>
            <a:spLocks noGrp="1"/>
          </p:cNvSpPr>
          <p:nvPr>
            <p:ph type="body" sz="quarter" idx="11"/>
          </p:nvPr>
        </p:nvSpPr>
        <p:spPr>
          <a:xfrm>
            <a:off x="1668901" y="2068105"/>
            <a:ext cx="7079318" cy="1227137"/>
          </a:xfrm>
          <a:solidFill>
            <a:schemeClr val="bg1"/>
          </a:solidFill>
        </p:spPr>
        <p:txBody>
          <a:bodyPr/>
          <a:lstStyle/>
          <a:p>
            <a:r>
              <a:rPr lang="en-GB" sz="4000" b="1" dirty="0"/>
              <a:t>Workgroup Reports</a:t>
            </a:r>
          </a:p>
        </p:txBody>
      </p:sp>
    </p:spTree>
    <p:extLst>
      <p:ext uri="{BB962C8B-B14F-4D97-AF65-F5344CB8AC3E}">
        <p14:creationId xmlns:p14="http://schemas.microsoft.com/office/powerpoint/2010/main" val="11416248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1371" y="356659"/>
            <a:ext cx="8640960" cy="1294863"/>
          </a:xfrm>
        </p:spPr>
        <p:txBody>
          <a:bodyPr/>
          <a:lstStyle/>
          <a:p>
            <a:r>
              <a:rPr lang="en-GB" altLang="en-US" sz="3733" dirty="0">
                <a:solidFill>
                  <a:srgbClr val="FFC000"/>
                </a:solidFill>
              </a:rPr>
              <a:t>CMP300 Background</a:t>
            </a:r>
            <a:endParaRPr lang="en-GB" altLang="en-US" sz="1867" b="0" dirty="0">
              <a:solidFill>
                <a:srgbClr val="FFC000"/>
              </a:solidFill>
            </a:endParaRPr>
          </a:p>
        </p:txBody>
      </p:sp>
      <p:sp>
        <p:nvSpPr>
          <p:cNvPr id="3" name="Rectangle 2"/>
          <p:cNvSpPr/>
          <p:nvPr/>
        </p:nvSpPr>
        <p:spPr>
          <a:xfrm>
            <a:off x="239349" y="932723"/>
            <a:ext cx="11521280" cy="6442661"/>
          </a:xfrm>
          <a:prstGeom prst="rect">
            <a:avLst/>
          </a:prstGeom>
        </p:spPr>
        <p:txBody>
          <a:bodyPr wrap="square">
            <a:spAutoFit/>
          </a:bodyPr>
          <a:lstStyle/>
          <a:p>
            <a:pPr marL="228594" indent="-228594" algn="just" defTabSz="554478">
              <a:buFont typeface="Arial" panose="020B0604020202020204" pitchFamily="34" charset="0"/>
              <a:buChar char="•"/>
              <a:defRPr/>
            </a:pPr>
            <a:r>
              <a:rPr lang="en-GB" altLang="en-US" sz="1500" dirty="0">
                <a:solidFill>
                  <a:srgbClr val="454545"/>
                </a:solidFill>
                <a:latin typeface="Arial" panose="020B0604020202020204"/>
              </a:rPr>
              <a:t>CMP300 was raised by Drax Power Ltd. and was submitted to the CUSC Panel for their consideration in February 2019.</a:t>
            </a:r>
          </a:p>
          <a:p>
            <a:pPr marL="505834" lvl="1" indent="-228594" algn="just" defTabSz="554478">
              <a:buFont typeface="Arial" panose="020B0604020202020204" pitchFamily="34" charset="0"/>
              <a:buChar char="•"/>
              <a:defRPr/>
            </a:pPr>
            <a:r>
              <a:rPr lang="en-GB" sz="1500" dirty="0">
                <a:solidFill>
                  <a:srgbClr val="454545"/>
                </a:solidFill>
                <a:latin typeface="Arial" panose="020B0604020202020204"/>
              </a:rPr>
              <a:t>The CUSC Panel decided that this modification should be assessed by a Workgroup and submitted to the Authority for decision. </a:t>
            </a:r>
            <a:endParaRPr lang="en-US" sz="1500" dirty="0">
              <a:solidFill>
                <a:srgbClr val="454545"/>
              </a:solidFill>
              <a:latin typeface="Arial" panose="020B0604020202020204"/>
            </a:endParaRPr>
          </a:p>
          <a:p>
            <a:pPr marL="228594" indent="-228594" algn="just" defTabSz="554478">
              <a:buFont typeface="Arial" panose="020B0604020202020204" pitchFamily="34" charset="0"/>
              <a:buChar char="•"/>
              <a:defRPr/>
            </a:pPr>
            <a:endParaRPr lang="en-GB" altLang="en-US" sz="1500" dirty="0">
              <a:solidFill>
                <a:srgbClr val="454545"/>
              </a:solidFill>
              <a:latin typeface="Arial" panose="020B0604020202020204"/>
            </a:endParaRPr>
          </a:p>
          <a:p>
            <a:pPr marL="380990" indent="-380990" algn="just" defTabSz="554478">
              <a:buFont typeface="Arial" panose="020B0604020202020204" pitchFamily="34" charset="0"/>
              <a:buChar char="•"/>
            </a:pPr>
            <a:r>
              <a:rPr lang="en-GB" sz="1500" dirty="0"/>
              <a:t>CMP300 seeks to improve the cost reflectivity of the Response Energy Payment (REP) as the current construction of the REP is not reflective of the costs or avoided cost of energy production for generators. It will achieve this by ensuring all BM Units with low or negative marginal costs, as a consequence of having a CfD FiT, are subject to the same REP methodology.</a:t>
            </a:r>
          </a:p>
          <a:p>
            <a:pPr algn="just" defTabSz="554478"/>
            <a:endParaRPr lang="en-GB" altLang="en-US" sz="1500" dirty="0">
              <a:solidFill>
                <a:srgbClr val="454545"/>
              </a:solidFill>
              <a:highlight>
                <a:srgbClr val="FFFF00"/>
              </a:highlight>
              <a:latin typeface="Arial" panose="020B0604020202020204"/>
            </a:endParaRPr>
          </a:p>
          <a:p>
            <a:pPr marL="228594" indent="-228594" algn="just" defTabSz="554478">
              <a:buFont typeface="Arial" panose="020B0604020202020204" pitchFamily="34" charset="0"/>
              <a:buChar char="•"/>
              <a:defRPr/>
            </a:pPr>
            <a:r>
              <a:rPr lang="en-GB" altLang="en-US" sz="1500" dirty="0">
                <a:solidFill>
                  <a:srgbClr val="454545"/>
                </a:solidFill>
                <a:latin typeface="Arial" panose="020B0604020202020204"/>
              </a:rPr>
              <a:t>4 Workgroup Meetings held</a:t>
            </a:r>
          </a:p>
          <a:p>
            <a:pPr algn="just" defTabSz="554478">
              <a:defRPr/>
            </a:pPr>
            <a:endParaRPr lang="en-GB" altLang="en-US" sz="1500" dirty="0">
              <a:solidFill>
                <a:srgbClr val="454545"/>
              </a:solidFill>
              <a:latin typeface="Arial" panose="020B0604020202020204"/>
            </a:endParaRPr>
          </a:p>
          <a:p>
            <a:pPr marL="48634" indent="-228594" algn="just" defTabSz="554478">
              <a:buFont typeface="Arial" panose="020B0604020202020204" pitchFamily="34" charset="0"/>
              <a:buChar char="•"/>
            </a:pPr>
            <a:r>
              <a:rPr lang="en-GB" altLang="en-US" sz="1500" dirty="0">
                <a:solidFill>
                  <a:srgbClr val="454545"/>
                </a:solidFill>
                <a:latin typeface="Arial" panose="020B0604020202020204"/>
              </a:rPr>
              <a:t>3 Workgroup Consultation Responses received</a:t>
            </a:r>
          </a:p>
          <a:p>
            <a:pPr marL="505834" lvl="1" indent="-228594" algn="just" defTabSz="554478">
              <a:buFont typeface="Arial" panose="020B0604020202020204" pitchFamily="34" charset="0"/>
              <a:buChar char="•"/>
            </a:pPr>
            <a:r>
              <a:rPr lang="en-US" sz="1500" dirty="0">
                <a:solidFill>
                  <a:srgbClr val="454545"/>
                </a:solidFill>
                <a:latin typeface="Arial" panose="020B0604020202020204"/>
              </a:rPr>
              <a:t>2 respondents believed that the proposed change better facilitates the CUSC objectives than the Baseline. However, 1 of these respondents favours an optional pricing approach as it allows market participants to provide their own approach in terms of cost reflective pricing. This has subsequently been raised as a </a:t>
            </a:r>
            <a:r>
              <a:rPr lang="en-GB" altLang="en-US" sz="1500" dirty="0">
                <a:solidFill>
                  <a:srgbClr val="454545"/>
                </a:solidFill>
                <a:latin typeface="Arial" panose="020B0604020202020204"/>
              </a:rPr>
              <a:t>Workgroup Alternative Code Modification (WACM1).</a:t>
            </a:r>
          </a:p>
          <a:p>
            <a:pPr marL="783072" lvl="2" indent="-228594" algn="just" defTabSz="554478">
              <a:buFont typeface="Arial" panose="020B0604020202020204" pitchFamily="34" charset="0"/>
              <a:buChar char="•"/>
            </a:pPr>
            <a:endParaRPr lang="en-GB" sz="1500" dirty="0">
              <a:solidFill>
                <a:srgbClr val="454545"/>
              </a:solidFill>
              <a:latin typeface="Arial" panose="020B0604020202020204"/>
            </a:endParaRPr>
          </a:p>
          <a:p>
            <a:pPr marL="325872" lvl="1" indent="-228594" algn="just" defTabSz="554478">
              <a:buFont typeface="Arial" panose="020B0604020202020204" pitchFamily="34" charset="0"/>
              <a:buChar char="•"/>
            </a:pPr>
            <a:r>
              <a:rPr lang="en-GB" sz="1500" dirty="0">
                <a:solidFill>
                  <a:srgbClr val="454545"/>
                </a:solidFill>
                <a:latin typeface="Arial" panose="020B0604020202020204"/>
              </a:rPr>
              <a:t>Workgroup Vote held 31 October 2019 </a:t>
            </a:r>
          </a:p>
          <a:p>
            <a:pPr marL="783072" lvl="2" indent="-228594" algn="just" defTabSz="554478">
              <a:buFont typeface="Arial" panose="020B0604020202020204" pitchFamily="34" charset="0"/>
              <a:buChar char="•"/>
            </a:pPr>
            <a:r>
              <a:rPr lang="en-GB" sz="1500" dirty="0">
                <a:solidFill>
                  <a:srgbClr val="454545"/>
                </a:solidFill>
                <a:latin typeface="Arial" panose="020B0604020202020204"/>
              </a:rPr>
              <a:t>5 of the 6 Workgroup Members voted that the Original and WACM1 were better than the current CUSC arrangements; and</a:t>
            </a:r>
          </a:p>
          <a:p>
            <a:pPr marL="783072" lvl="2" indent="-228594" algn="just" defTabSz="554478">
              <a:buFont typeface="Arial" panose="020B0604020202020204" pitchFamily="34" charset="0"/>
              <a:buChar char="•"/>
            </a:pPr>
            <a:r>
              <a:rPr lang="en-GB" sz="1500" dirty="0">
                <a:solidFill>
                  <a:srgbClr val="454545"/>
                </a:solidFill>
                <a:latin typeface="Arial" panose="020B0604020202020204"/>
              </a:rPr>
              <a:t>3 voted that WACM1 was best, with 2 votes for the Original and 1 vote for no change.</a:t>
            </a:r>
          </a:p>
          <a:p>
            <a:pPr marL="783072" lvl="2" indent="-228594" algn="just" defTabSz="554478">
              <a:buFont typeface="Arial" panose="020B0604020202020204" pitchFamily="34" charset="0"/>
              <a:buChar char="•"/>
            </a:pPr>
            <a:endParaRPr lang="en-GB" sz="1500" dirty="0">
              <a:solidFill>
                <a:srgbClr val="454545"/>
              </a:solidFill>
              <a:latin typeface="Arial" panose="020B0604020202020204"/>
            </a:endParaRPr>
          </a:p>
          <a:p>
            <a:pPr marL="325872" lvl="1" indent="-228594" algn="just" defTabSz="554478">
              <a:buFont typeface="Arial" panose="020B0604020202020204" pitchFamily="34" charset="0"/>
              <a:buChar char="•"/>
            </a:pPr>
            <a:r>
              <a:rPr lang="en-GB" sz="1500" dirty="0">
                <a:solidFill>
                  <a:srgbClr val="454545"/>
                </a:solidFill>
                <a:latin typeface="Arial" panose="020B0604020202020204"/>
              </a:rPr>
              <a:t>Workgroup Report presented to November 2019 Panel; however Panel </a:t>
            </a:r>
            <a:r>
              <a:rPr lang="en-GB" sz="1500" dirty="0"/>
              <a:t>raised concerns that the Workgroup Report didn’t really explain to what extent a CfD plant loses out at the moment under the current arrangements, as it doesn’t set out the payments that the affected generator receives/pays/forgoes when it provides response. This has been addressed in the Benefits/Costs section of the Workgroup Report.</a:t>
            </a:r>
            <a:endParaRPr lang="en-GB" sz="1500" dirty="0">
              <a:solidFill>
                <a:srgbClr val="454545"/>
              </a:solidFill>
              <a:latin typeface="Arial" panose="020B0604020202020204"/>
            </a:endParaRPr>
          </a:p>
          <a:p>
            <a:pPr marL="325872" lvl="1" indent="-228594" algn="just" defTabSz="554478">
              <a:buFont typeface="Arial" panose="020B0604020202020204" pitchFamily="34" charset="0"/>
              <a:buChar char="•"/>
            </a:pPr>
            <a:endParaRPr lang="en-US" sz="1600" dirty="0">
              <a:solidFill>
                <a:srgbClr val="454545"/>
              </a:solidFill>
              <a:latin typeface="Arial" panose="020B0604020202020204"/>
            </a:endParaRPr>
          </a:p>
          <a:p>
            <a:pPr algn="just" defTabSz="554478">
              <a:defRPr/>
            </a:pPr>
            <a:endParaRPr lang="en-GB" altLang="en-US" sz="2133" dirty="0">
              <a:solidFill>
                <a:srgbClr val="454545"/>
              </a:solidFill>
              <a:highlight>
                <a:srgbClr val="FBE64D"/>
              </a:highlight>
              <a:latin typeface="Arial" panose="020B0604020202020204"/>
            </a:endParaRPr>
          </a:p>
          <a:p>
            <a:pPr defTabSz="554478">
              <a:defRPr/>
            </a:pPr>
            <a:endParaRPr lang="en-GB" altLang="en-US" sz="2133" dirty="0">
              <a:solidFill>
                <a:srgbClr val="454545"/>
              </a:solidFill>
              <a:latin typeface="Arial" panose="020B0604020202020204"/>
            </a:endParaRPr>
          </a:p>
          <a:p>
            <a:pPr defTabSz="554478">
              <a:defRPr/>
            </a:pPr>
            <a:endParaRPr lang="en-GB" altLang="en-US" sz="2133" dirty="0">
              <a:solidFill>
                <a:srgbClr val="454545"/>
              </a:solidFill>
              <a:highlight>
                <a:srgbClr val="FFFF00"/>
              </a:highlight>
              <a:latin typeface="Arial" panose="020B0604020202020204"/>
            </a:endParaRPr>
          </a:p>
          <a:p>
            <a:pPr defTabSz="554478">
              <a:defRPr/>
            </a:pPr>
            <a:endParaRPr lang="en-GB" altLang="en-US" sz="267" dirty="0">
              <a:solidFill>
                <a:srgbClr val="454545"/>
              </a:solidFill>
              <a:latin typeface="Arial" panose="020B0604020202020204"/>
            </a:endParaRPr>
          </a:p>
        </p:txBody>
      </p:sp>
    </p:spTree>
    <p:extLst>
      <p:ext uri="{BB962C8B-B14F-4D97-AF65-F5344CB8AC3E}">
        <p14:creationId xmlns:p14="http://schemas.microsoft.com/office/powerpoint/2010/main" val="1370709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1">
            <a:extLst>
              <a:ext uri="{FF2B5EF4-FFF2-40B4-BE49-F238E27FC236}">
                <a16:creationId xmlns:a16="http://schemas.microsoft.com/office/drawing/2014/main" id="{3E6FB73E-D550-40C9-8460-33402EB735B7}"/>
              </a:ext>
            </a:extLst>
          </p:cNvPr>
          <p:cNvSpPr txBox="1">
            <a:spLocks/>
          </p:cNvSpPr>
          <p:nvPr/>
        </p:nvSpPr>
        <p:spPr>
          <a:xfrm>
            <a:off x="323550" y="330855"/>
            <a:ext cx="8495999" cy="527136"/>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4000" b="1" dirty="0"/>
              <a:t>Actions Log </a:t>
            </a:r>
          </a:p>
        </p:txBody>
      </p:sp>
      <p:sp>
        <p:nvSpPr>
          <p:cNvPr id="9" name="TextBox 8">
            <a:extLst>
              <a:ext uri="{FF2B5EF4-FFF2-40B4-BE49-F238E27FC236}">
                <a16:creationId xmlns:a16="http://schemas.microsoft.com/office/drawing/2014/main" id="{2804E03A-ADBB-4617-B431-465E7E2DA3C4}"/>
              </a:ext>
            </a:extLst>
          </p:cNvPr>
          <p:cNvSpPr txBox="1"/>
          <p:nvPr/>
        </p:nvSpPr>
        <p:spPr>
          <a:xfrm>
            <a:off x="349945" y="1334869"/>
            <a:ext cx="6077250" cy="523220"/>
          </a:xfrm>
          <a:prstGeom prst="rect">
            <a:avLst/>
          </a:prstGeom>
        </p:spPr>
        <p:txBody>
          <a:bodyPr wrap="square" rtlCol="0">
            <a:spAutoFit/>
          </a:bodyPr>
          <a:lstStyle/>
          <a:p>
            <a:pPr algn="l"/>
            <a:r>
              <a:rPr lang="en-GB" sz="2800" b="1" dirty="0">
                <a:latin typeface="Arial" panose="020B0604020202020204" pitchFamily="34" charset="0"/>
                <a:cs typeface="Times New Roman" panose="02020603050405020304" pitchFamily="18" charset="0"/>
              </a:rPr>
              <a:t>Review of the actions log</a:t>
            </a:r>
          </a:p>
        </p:txBody>
      </p:sp>
    </p:spTree>
    <p:extLst>
      <p:ext uri="{BB962C8B-B14F-4D97-AF65-F5344CB8AC3E}">
        <p14:creationId xmlns:p14="http://schemas.microsoft.com/office/powerpoint/2010/main" val="18821926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39349" y="356659"/>
            <a:ext cx="8640960" cy="1294863"/>
          </a:xfrm>
        </p:spPr>
        <p:txBody>
          <a:bodyPr/>
          <a:lstStyle/>
          <a:p>
            <a:r>
              <a:rPr lang="en-GB" altLang="en-US" sz="3733" dirty="0">
                <a:solidFill>
                  <a:srgbClr val="FFC000"/>
                </a:solidFill>
              </a:rPr>
              <a:t>CMP300 Solutions</a:t>
            </a:r>
            <a:endParaRPr lang="en-GB" altLang="en-US" sz="1867" b="0" dirty="0">
              <a:solidFill>
                <a:srgbClr val="FFC000"/>
              </a:solidFill>
            </a:endParaRPr>
          </a:p>
        </p:txBody>
      </p:sp>
      <p:sp>
        <p:nvSpPr>
          <p:cNvPr id="3" name="Rectangle 2"/>
          <p:cNvSpPr/>
          <p:nvPr/>
        </p:nvSpPr>
        <p:spPr>
          <a:xfrm>
            <a:off x="239349" y="932723"/>
            <a:ext cx="11521280" cy="6750438"/>
          </a:xfrm>
          <a:prstGeom prst="rect">
            <a:avLst/>
          </a:prstGeom>
        </p:spPr>
        <p:txBody>
          <a:bodyPr wrap="square">
            <a:spAutoFit/>
          </a:bodyPr>
          <a:lstStyle/>
          <a:p>
            <a:pPr algn="just"/>
            <a:r>
              <a:rPr lang="en-GB" b="1" dirty="0"/>
              <a:t>Proposers solution: </a:t>
            </a:r>
            <a:endParaRPr lang="en-GB" dirty="0"/>
          </a:p>
          <a:p>
            <a:pPr algn="just"/>
            <a:endParaRPr lang="en-GB" dirty="0"/>
          </a:p>
          <a:p>
            <a:pPr algn="just"/>
            <a:r>
              <a:rPr lang="en-GB" dirty="0"/>
              <a:t>Currently, the Reference Price which feeds into the calculation of the Response Energy Payment (REP) is set to £0/MWh for “non-fuel” cost BM Units only. Proposer suggests that this is set at  £0/MWh for CfD BM Units as well</a:t>
            </a:r>
            <a:r>
              <a:rPr lang="en-GB" b="1" dirty="0"/>
              <a:t>.</a:t>
            </a:r>
          </a:p>
          <a:p>
            <a:pPr algn="just"/>
            <a:endParaRPr lang="en-GB" dirty="0"/>
          </a:p>
          <a:p>
            <a:pPr algn="just"/>
            <a:r>
              <a:rPr lang="en-GB" b="1" dirty="0"/>
              <a:t>WACM1:</a:t>
            </a:r>
            <a:endParaRPr lang="en-GB" dirty="0"/>
          </a:p>
          <a:p>
            <a:pPr algn="just"/>
            <a:endParaRPr lang="en-GB" dirty="0"/>
          </a:p>
          <a:p>
            <a:pPr algn="just"/>
            <a:r>
              <a:rPr lang="en-GB" dirty="0"/>
              <a:t>Market Participants will have an one-off choice for the REP to be set at £0/MWh (as per Proposer’s Solution) or at the prevailing Market Index Price. This must be exercised within 28 calendar days of ESO’s letter asking them to indicate their choice. Where no choice has been made within 28 calendar days, the REP will be set at £0/MWh.</a:t>
            </a:r>
          </a:p>
          <a:p>
            <a:pPr marL="285750" indent="-285750">
              <a:buFont typeface="Arial" panose="020B0604020202020204" pitchFamily="34" charset="0"/>
              <a:buChar char="•"/>
            </a:pPr>
            <a:endParaRPr lang="en-GB" dirty="0"/>
          </a:p>
          <a:p>
            <a:pPr algn="just" defTabSz="554478">
              <a:defRPr/>
            </a:pPr>
            <a:r>
              <a:rPr lang="en-GB" b="1" dirty="0"/>
              <a:t>Implementation:</a:t>
            </a:r>
          </a:p>
          <a:p>
            <a:pPr algn="just" defTabSz="554478">
              <a:defRPr/>
            </a:pPr>
            <a:endParaRPr lang="en-GB" dirty="0"/>
          </a:p>
          <a:p>
            <a:pPr algn="just" defTabSz="554478">
              <a:defRPr/>
            </a:pPr>
            <a:r>
              <a:rPr lang="en-GB" dirty="0"/>
              <a:t>10 working days after Ofgem decision for Proposers solution and WACM1.</a:t>
            </a:r>
          </a:p>
          <a:p>
            <a:pPr algn="just" defTabSz="554478">
              <a:defRPr/>
            </a:pPr>
            <a:endParaRPr lang="en-GB" dirty="0"/>
          </a:p>
          <a:p>
            <a:pPr algn="just" defTabSz="554478">
              <a:defRPr/>
            </a:pPr>
            <a:r>
              <a:rPr lang="en-GB" dirty="0"/>
              <a:t>National Grid ESO Workgroup Member expressed a preference for April 2022 implementation to align with delivery of a new Settlements system.</a:t>
            </a:r>
          </a:p>
          <a:p>
            <a:pPr algn="just" defTabSz="554478">
              <a:defRPr/>
            </a:pPr>
            <a:endParaRPr lang="en-GB" sz="2400" dirty="0"/>
          </a:p>
          <a:p>
            <a:pPr algn="just" defTabSz="554478">
              <a:defRPr/>
            </a:pPr>
            <a:endParaRPr lang="en-GB" altLang="en-US" sz="2133" dirty="0">
              <a:solidFill>
                <a:srgbClr val="454545"/>
              </a:solidFill>
              <a:highlight>
                <a:srgbClr val="FBE64D"/>
              </a:highlight>
              <a:latin typeface="Arial" panose="020B0604020202020204"/>
            </a:endParaRPr>
          </a:p>
          <a:p>
            <a:pPr defTabSz="554478">
              <a:defRPr/>
            </a:pPr>
            <a:endParaRPr lang="en-GB" altLang="en-US" sz="2133" dirty="0">
              <a:solidFill>
                <a:srgbClr val="454545"/>
              </a:solidFill>
              <a:latin typeface="Arial" panose="020B0604020202020204"/>
            </a:endParaRPr>
          </a:p>
          <a:p>
            <a:pPr defTabSz="554478">
              <a:defRPr/>
            </a:pPr>
            <a:endParaRPr lang="en-GB" altLang="en-US" sz="2133" dirty="0">
              <a:solidFill>
                <a:srgbClr val="454545"/>
              </a:solidFill>
              <a:highlight>
                <a:srgbClr val="FFFF00"/>
              </a:highlight>
              <a:latin typeface="Arial" panose="020B0604020202020204"/>
            </a:endParaRPr>
          </a:p>
          <a:p>
            <a:pPr defTabSz="554478">
              <a:defRPr/>
            </a:pPr>
            <a:endParaRPr lang="en-GB" altLang="en-US" sz="267" dirty="0">
              <a:solidFill>
                <a:srgbClr val="454545"/>
              </a:solidFill>
              <a:latin typeface="Arial" panose="020B0604020202020204"/>
            </a:endParaRPr>
          </a:p>
        </p:txBody>
      </p:sp>
    </p:spTree>
    <p:extLst>
      <p:ext uri="{BB962C8B-B14F-4D97-AF65-F5344CB8AC3E}">
        <p14:creationId xmlns:p14="http://schemas.microsoft.com/office/powerpoint/2010/main" val="368505570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1371" y="356659"/>
            <a:ext cx="11521280" cy="1344149"/>
          </a:xfrm>
        </p:spPr>
        <p:txBody>
          <a:bodyPr/>
          <a:lstStyle/>
          <a:p>
            <a:r>
              <a:rPr lang="en-GB" altLang="en-US" sz="3733" dirty="0">
                <a:solidFill>
                  <a:srgbClr val="FFC000"/>
                </a:solidFill>
              </a:rPr>
              <a:t>CMP300 Terms of Reference</a:t>
            </a:r>
            <a:endParaRPr lang="en-GB" altLang="en-US" sz="1867" b="0" dirty="0">
              <a:solidFill>
                <a:srgbClr val="FFC000"/>
              </a:solidFill>
            </a:endParaRPr>
          </a:p>
        </p:txBody>
      </p:sp>
      <p:sp>
        <p:nvSpPr>
          <p:cNvPr id="3" name="Rectangle 2"/>
          <p:cNvSpPr/>
          <p:nvPr/>
        </p:nvSpPr>
        <p:spPr>
          <a:xfrm>
            <a:off x="239349" y="932723"/>
            <a:ext cx="11521280" cy="2431050"/>
          </a:xfrm>
          <a:prstGeom prst="rect">
            <a:avLst/>
          </a:prstGeom>
        </p:spPr>
        <p:txBody>
          <a:bodyPr wrap="square">
            <a:spAutoFit/>
          </a:bodyPr>
          <a:lstStyle/>
          <a:p>
            <a:pPr marL="228594" indent="-228594">
              <a:buFont typeface="Arial" panose="020B0604020202020204" pitchFamily="34" charset="0"/>
              <a:buChar char="•"/>
            </a:pPr>
            <a:r>
              <a:rPr lang="en-GB" altLang="en-US" sz="2133" dirty="0">
                <a:solidFill>
                  <a:srgbClr val="454545"/>
                </a:solidFill>
                <a:latin typeface="Arial" panose="020B0604020202020204"/>
              </a:rPr>
              <a:t>The Workgroup conclude that they have met their </a:t>
            </a:r>
            <a:r>
              <a:rPr lang="en-GB" altLang="en-US" sz="2133" dirty="0">
                <a:solidFill>
                  <a:srgbClr val="454545"/>
                </a:solidFill>
              </a:rPr>
              <a:t>Terms of Reference and </a:t>
            </a:r>
            <a:r>
              <a:rPr lang="en-GB" altLang="en-US" sz="2133" dirty="0">
                <a:solidFill>
                  <a:srgbClr val="454545"/>
                </a:solidFill>
                <a:latin typeface="Arial" panose="020B0604020202020204"/>
              </a:rPr>
              <a:t>the references can be located below:</a:t>
            </a:r>
          </a:p>
          <a:p>
            <a:pPr marL="228594" indent="-228594">
              <a:buFont typeface="Arial" panose="020B0604020202020204" pitchFamily="34" charset="0"/>
              <a:buChar char="•"/>
            </a:pPr>
            <a:endParaRPr lang="en-GB" altLang="en-US" sz="2133" dirty="0">
              <a:solidFill>
                <a:srgbClr val="454545"/>
              </a:solidFill>
              <a:latin typeface="Arial" panose="020B0604020202020204"/>
            </a:endParaRPr>
          </a:p>
          <a:p>
            <a:pPr marL="228594" indent="-228594">
              <a:buFont typeface="Arial" panose="020B0604020202020204" pitchFamily="34" charset="0"/>
              <a:buChar char="•"/>
            </a:pPr>
            <a:endParaRPr lang="en-GB" altLang="en-US" sz="2133" dirty="0">
              <a:solidFill>
                <a:srgbClr val="454545"/>
              </a:solidFill>
              <a:latin typeface="Arial" panose="020B0604020202020204"/>
            </a:endParaRPr>
          </a:p>
          <a:p>
            <a:pPr defTabSz="554478">
              <a:defRPr/>
            </a:pPr>
            <a:endParaRPr lang="en-GB" altLang="en-US" sz="2133" dirty="0">
              <a:solidFill>
                <a:srgbClr val="454545"/>
              </a:solidFill>
              <a:latin typeface="Arial" panose="020B0604020202020204"/>
            </a:endParaRPr>
          </a:p>
          <a:p>
            <a:pPr defTabSz="554478">
              <a:defRPr/>
            </a:pPr>
            <a:endParaRPr lang="en-GB" altLang="en-US" sz="2133" dirty="0">
              <a:solidFill>
                <a:srgbClr val="454545"/>
              </a:solidFill>
              <a:latin typeface="Arial" panose="020B0604020202020204"/>
            </a:endParaRPr>
          </a:p>
          <a:p>
            <a:pPr defTabSz="554478">
              <a:defRPr/>
            </a:pPr>
            <a:endParaRPr lang="en-GB" altLang="en-US" sz="2133" dirty="0">
              <a:solidFill>
                <a:srgbClr val="454545"/>
              </a:solidFill>
              <a:highlight>
                <a:srgbClr val="FFFF00"/>
              </a:highlight>
              <a:latin typeface="Arial" panose="020B0604020202020204"/>
            </a:endParaRPr>
          </a:p>
          <a:p>
            <a:pPr defTabSz="554478">
              <a:defRPr/>
            </a:pPr>
            <a:endParaRPr lang="en-GB" altLang="en-US" sz="267" dirty="0">
              <a:solidFill>
                <a:srgbClr val="454545"/>
              </a:solidFill>
              <a:latin typeface="Arial" panose="020B0604020202020204"/>
            </a:endParaRPr>
          </a:p>
        </p:txBody>
      </p:sp>
      <p:graphicFrame>
        <p:nvGraphicFramePr>
          <p:cNvPr id="6" name="Table 5">
            <a:extLst>
              <a:ext uri="{FF2B5EF4-FFF2-40B4-BE49-F238E27FC236}">
                <a16:creationId xmlns:a16="http://schemas.microsoft.com/office/drawing/2014/main" id="{CEB7B90E-2FD4-491E-9DA6-02AA3F96F460}"/>
              </a:ext>
            </a:extLst>
          </p:cNvPr>
          <p:cNvGraphicFramePr>
            <a:graphicFrameLocks noGrp="1"/>
          </p:cNvGraphicFramePr>
          <p:nvPr>
            <p:extLst>
              <p:ext uri="{D42A27DB-BD31-4B8C-83A1-F6EECF244321}">
                <p14:modId xmlns:p14="http://schemas.microsoft.com/office/powerpoint/2010/main" val="3469488206"/>
              </p:ext>
            </p:extLst>
          </p:nvPr>
        </p:nvGraphicFramePr>
        <p:xfrm>
          <a:off x="531125" y="1753973"/>
          <a:ext cx="11068996" cy="3662162"/>
        </p:xfrm>
        <a:graphic>
          <a:graphicData uri="http://schemas.openxmlformats.org/drawingml/2006/table">
            <a:tbl>
              <a:tblPr firstRow="1" firstCol="1" bandRow="1"/>
              <a:tblGrid>
                <a:gridCol w="6062157">
                  <a:extLst>
                    <a:ext uri="{9D8B030D-6E8A-4147-A177-3AD203B41FA5}">
                      <a16:colId xmlns:a16="http://schemas.microsoft.com/office/drawing/2014/main" val="986387141"/>
                    </a:ext>
                  </a:extLst>
                </a:gridCol>
                <a:gridCol w="5006839">
                  <a:extLst>
                    <a:ext uri="{9D8B030D-6E8A-4147-A177-3AD203B41FA5}">
                      <a16:colId xmlns:a16="http://schemas.microsoft.com/office/drawing/2014/main" val="3674071563"/>
                    </a:ext>
                  </a:extLst>
                </a:gridCol>
              </a:tblGrid>
              <a:tr h="516234">
                <a:tc>
                  <a:txBody>
                    <a:bodyPr/>
                    <a:lstStyle/>
                    <a:p>
                      <a:pPr algn="l">
                        <a:lnSpc>
                          <a:spcPts val="1500"/>
                        </a:lnSpc>
                        <a:spcBef>
                          <a:spcPts val="600"/>
                        </a:spcBef>
                        <a:spcAft>
                          <a:spcPts val="600"/>
                        </a:spcAft>
                      </a:pPr>
                      <a:r>
                        <a:rPr lang="en-NZ" sz="1600" b="1"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Workgroup Term of Reference</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solidFill>
                      <a:srgbClr val="F26522"/>
                    </a:solidFill>
                  </a:tcPr>
                </a:tc>
                <a:tc>
                  <a:txBody>
                    <a:bodyPr/>
                    <a:lstStyle/>
                    <a:p>
                      <a:pPr algn="l">
                        <a:lnSpc>
                          <a:spcPts val="1500"/>
                        </a:lnSpc>
                        <a:spcBef>
                          <a:spcPts val="600"/>
                        </a:spcBef>
                        <a:spcAft>
                          <a:spcPts val="600"/>
                        </a:spcAft>
                      </a:pPr>
                      <a:r>
                        <a:rPr lang="en-NZ" sz="1600" b="1" dirty="0">
                          <a:solidFill>
                            <a:srgbClr val="FFFFFF"/>
                          </a:solidFill>
                          <a:effectLst/>
                          <a:latin typeface="Arial" panose="020B0604020202020204" pitchFamily="34" charset="0"/>
                          <a:ea typeface="Times New Roman" panose="02020603050405020304" pitchFamily="18" charset="0"/>
                          <a:cs typeface="Times New Roman" panose="02020603050405020304" pitchFamily="18" charset="0"/>
                        </a:rPr>
                        <a:t>Location in Workgroup Report </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solidFill>
                      <a:srgbClr val="F26522"/>
                    </a:solidFill>
                  </a:tcPr>
                </a:tc>
                <a:extLst>
                  <a:ext uri="{0D108BD9-81ED-4DB2-BD59-A6C34878D82A}">
                    <a16:rowId xmlns:a16="http://schemas.microsoft.com/office/drawing/2014/main" val="1004470848"/>
                  </a:ext>
                </a:extLst>
              </a:tr>
              <a:tr h="514225">
                <a:tc>
                  <a:txBody>
                    <a:bodyPr/>
                    <a:lstStyle/>
                    <a:p>
                      <a:pPr marL="742950" lvl="1" indent="-285750" algn="just">
                        <a:lnSpc>
                          <a:spcPts val="1500"/>
                        </a:lnSpc>
                        <a:spcBef>
                          <a:spcPts val="600"/>
                        </a:spcBef>
                        <a:spcAft>
                          <a:spcPts val="600"/>
                        </a:spcAft>
                        <a:buFont typeface="+mj-lt"/>
                        <a:buAutoNum type="alphaLcParenR"/>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Scope of Cross Code Impacts to be considered as early as possible</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tc>
                  <a:txBody>
                    <a:bodyPr/>
                    <a:lstStyle/>
                    <a:p>
                      <a:pPr marL="382270" algn="just">
                        <a:lnSpc>
                          <a:spcPts val="1500"/>
                        </a:lnSpc>
                        <a:spcBef>
                          <a:spcPts val="600"/>
                        </a:spcBef>
                        <a:spcAft>
                          <a:spcPts val="600"/>
                        </a:spcAft>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Workgroup Considerations</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extLst>
                  <a:ext uri="{0D108BD9-81ED-4DB2-BD59-A6C34878D82A}">
                    <a16:rowId xmlns:a16="http://schemas.microsoft.com/office/drawing/2014/main" val="907663967"/>
                  </a:ext>
                </a:extLst>
              </a:tr>
              <a:tr h="514225">
                <a:tc>
                  <a:txBody>
                    <a:bodyPr/>
                    <a:lstStyle/>
                    <a:p>
                      <a:pPr marL="457200" lvl="1" indent="0" algn="just">
                        <a:lnSpc>
                          <a:spcPts val="1500"/>
                        </a:lnSpc>
                        <a:spcBef>
                          <a:spcPts val="600"/>
                        </a:spcBef>
                        <a:spcAft>
                          <a:spcPts val="600"/>
                        </a:spcAft>
                        <a:buFont typeface="+mj-lt"/>
                        <a:buNone/>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b)  Workgroup is to be mindful of SOGL</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tc>
                  <a:txBody>
                    <a:bodyPr/>
                    <a:lstStyle/>
                    <a:p>
                      <a:pPr marL="382270" algn="just">
                        <a:lnSpc>
                          <a:spcPts val="1500"/>
                        </a:lnSpc>
                        <a:spcBef>
                          <a:spcPts val="600"/>
                        </a:spcBef>
                        <a:spcAft>
                          <a:spcPts val="600"/>
                        </a:spcAft>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Workgroup Considerations</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extLst>
                  <a:ext uri="{0D108BD9-81ED-4DB2-BD59-A6C34878D82A}">
                    <a16:rowId xmlns:a16="http://schemas.microsoft.com/office/drawing/2014/main" val="3022000835"/>
                  </a:ext>
                </a:extLst>
              </a:tr>
              <a:tr h="571596">
                <a:tc>
                  <a:txBody>
                    <a:bodyPr/>
                    <a:lstStyle/>
                    <a:p>
                      <a:pPr marL="457200" lvl="1" indent="0" algn="just">
                        <a:lnSpc>
                          <a:spcPts val="1500"/>
                        </a:lnSpc>
                        <a:spcBef>
                          <a:spcPts val="600"/>
                        </a:spcBef>
                        <a:spcAft>
                          <a:spcPts val="600"/>
                        </a:spcAft>
                        <a:buFont typeface="+mj-lt"/>
                        <a:buNone/>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c)  Ensuring any workgroup consultation goes to CFD BMU parties</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tc>
                  <a:txBody>
                    <a:bodyPr/>
                    <a:lstStyle/>
                    <a:p>
                      <a:pPr marL="382270" algn="just">
                        <a:lnSpc>
                          <a:spcPts val="1500"/>
                        </a:lnSpc>
                        <a:spcBef>
                          <a:spcPts val="600"/>
                        </a:spcBef>
                        <a:spcAft>
                          <a:spcPts val="600"/>
                        </a:spcAft>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Workgroup Considerations</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extLst>
                  <a:ext uri="{0D108BD9-81ED-4DB2-BD59-A6C34878D82A}">
                    <a16:rowId xmlns:a16="http://schemas.microsoft.com/office/drawing/2014/main" val="548893308"/>
                  </a:ext>
                </a:extLst>
              </a:tr>
              <a:tr h="765542">
                <a:tc>
                  <a:txBody>
                    <a:bodyPr/>
                    <a:lstStyle/>
                    <a:p>
                      <a:pPr marL="457200" lvl="1" indent="0" algn="just">
                        <a:lnSpc>
                          <a:spcPts val="1500"/>
                        </a:lnSpc>
                        <a:spcBef>
                          <a:spcPts val="600"/>
                        </a:spcBef>
                        <a:spcAft>
                          <a:spcPts val="0"/>
                        </a:spcAft>
                        <a:buFont typeface="+mj-lt"/>
                        <a:buNone/>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d) Ensuring there are no unintended consequences in crossovers. between definition of non-fuel BMU and CFD BMU</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tc>
                  <a:txBody>
                    <a:bodyPr/>
                    <a:lstStyle/>
                    <a:p>
                      <a:pPr marL="382270" algn="just">
                        <a:lnSpc>
                          <a:spcPts val="1500"/>
                        </a:lnSpc>
                        <a:spcBef>
                          <a:spcPts val="600"/>
                        </a:spcBef>
                        <a:spcAft>
                          <a:spcPts val="600"/>
                        </a:spcAft>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Workgroup Considerations</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extLst>
                  <a:ext uri="{0D108BD9-81ED-4DB2-BD59-A6C34878D82A}">
                    <a16:rowId xmlns:a16="http://schemas.microsoft.com/office/drawing/2014/main" val="1959350997"/>
                  </a:ext>
                </a:extLst>
              </a:tr>
              <a:tr h="780340">
                <a:tc>
                  <a:txBody>
                    <a:bodyPr/>
                    <a:lstStyle/>
                    <a:p>
                      <a:pPr marL="457200" lvl="1" indent="0" algn="just">
                        <a:lnSpc>
                          <a:spcPts val="1500"/>
                        </a:lnSpc>
                        <a:spcBef>
                          <a:spcPts val="600"/>
                        </a:spcBef>
                        <a:spcAft>
                          <a:spcPts val="0"/>
                        </a:spcAft>
                        <a:buFont typeface="+mj-lt"/>
                        <a:buNone/>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e) Consideration to whether any values other than “zero” are appropriate</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tc>
                  <a:txBody>
                    <a:bodyPr/>
                    <a:lstStyle/>
                    <a:p>
                      <a:pPr marL="382270" algn="just">
                        <a:lnSpc>
                          <a:spcPts val="1500"/>
                        </a:lnSpc>
                        <a:spcBef>
                          <a:spcPts val="600"/>
                        </a:spcBef>
                        <a:spcAft>
                          <a:spcPts val="600"/>
                        </a:spcAft>
                      </a:pPr>
                      <a:r>
                        <a:rPr lang="en-NZ" sz="1600" dirty="0">
                          <a:effectLst/>
                          <a:latin typeface="Arial" panose="020B0604020202020204" pitchFamily="34" charset="0"/>
                          <a:ea typeface="Times New Roman" panose="02020603050405020304" pitchFamily="18" charset="0"/>
                          <a:cs typeface="Times New Roman" panose="02020603050405020304" pitchFamily="18" charset="0"/>
                        </a:rPr>
                        <a:t>Workgroup Considerations</a:t>
                      </a:r>
                      <a:endParaRPr lang="en-GB" sz="16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F26522"/>
                      </a:solidFill>
                      <a:prstDash val="solid"/>
                      <a:round/>
                      <a:headEnd type="none" w="med" len="med"/>
                      <a:tailEnd type="none" w="med" len="med"/>
                    </a:lnL>
                    <a:lnR w="12700" cap="flat" cmpd="sng" algn="ctr">
                      <a:solidFill>
                        <a:srgbClr val="F26522"/>
                      </a:solidFill>
                      <a:prstDash val="solid"/>
                      <a:round/>
                      <a:headEnd type="none" w="med" len="med"/>
                      <a:tailEnd type="none" w="med" len="med"/>
                    </a:lnR>
                    <a:lnT w="12700" cap="flat" cmpd="sng" algn="ctr">
                      <a:solidFill>
                        <a:srgbClr val="F26522"/>
                      </a:solidFill>
                      <a:prstDash val="solid"/>
                      <a:round/>
                      <a:headEnd type="none" w="med" len="med"/>
                      <a:tailEnd type="none" w="med" len="med"/>
                    </a:lnT>
                    <a:lnB w="12700" cap="flat" cmpd="sng" algn="ctr">
                      <a:solidFill>
                        <a:srgbClr val="F26522"/>
                      </a:solidFill>
                      <a:prstDash val="solid"/>
                      <a:round/>
                      <a:headEnd type="none" w="med" len="med"/>
                      <a:tailEnd type="none" w="med" len="med"/>
                    </a:lnB>
                  </a:tcPr>
                </a:tc>
                <a:extLst>
                  <a:ext uri="{0D108BD9-81ED-4DB2-BD59-A6C34878D82A}">
                    <a16:rowId xmlns:a16="http://schemas.microsoft.com/office/drawing/2014/main" val="2332748104"/>
                  </a:ext>
                </a:extLst>
              </a:tr>
            </a:tbl>
          </a:graphicData>
        </a:graphic>
      </p:graphicFrame>
    </p:spTree>
    <p:extLst>
      <p:ext uri="{BB962C8B-B14F-4D97-AF65-F5344CB8AC3E}">
        <p14:creationId xmlns:p14="http://schemas.microsoft.com/office/powerpoint/2010/main" val="23627795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31371" y="356659"/>
            <a:ext cx="11521280" cy="1344149"/>
          </a:xfrm>
        </p:spPr>
        <p:txBody>
          <a:bodyPr/>
          <a:lstStyle/>
          <a:p>
            <a:r>
              <a:rPr lang="en-GB" altLang="en-US" sz="3733" b="1" dirty="0">
                <a:solidFill>
                  <a:schemeClr val="accent1"/>
                </a:solidFill>
                <a:latin typeface="Helvetica Neue Condensed"/>
              </a:rPr>
              <a:t>CMP300 Next Steps</a:t>
            </a:r>
            <a:endParaRPr lang="en-GB" altLang="en-US" sz="1867" b="1" dirty="0">
              <a:solidFill>
                <a:schemeClr val="accent1"/>
              </a:solidFill>
              <a:latin typeface="Helvetica Neue Condensed"/>
            </a:endParaRPr>
          </a:p>
        </p:txBody>
      </p:sp>
      <p:sp>
        <p:nvSpPr>
          <p:cNvPr id="3" name="Rectangle 2"/>
          <p:cNvSpPr/>
          <p:nvPr/>
        </p:nvSpPr>
        <p:spPr>
          <a:xfrm>
            <a:off x="239349" y="932723"/>
            <a:ext cx="11521280" cy="3087512"/>
          </a:xfrm>
          <a:prstGeom prst="rect">
            <a:avLst/>
          </a:prstGeom>
        </p:spPr>
        <p:txBody>
          <a:bodyPr wrap="square" anchor="t">
            <a:spAutoFit/>
          </a:bodyPr>
          <a:lstStyle/>
          <a:p>
            <a:pPr marL="228594" marR="0" lvl="0" indent="-228594"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altLang="en-US" sz="2133" b="0" i="0" u="none" strike="noStrike" kern="1200" cap="none" spc="0" normalizeH="0" baseline="0" noProof="0" dirty="0">
                <a:ln>
                  <a:noFill/>
                </a:ln>
                <a:solidFill>
                  <a:srgbClr val="454545"/>
                </a:solidFill>
                <a:effectLst/>
                <a:uLnTx/>
                <a:uFillTx/>
                <a:latin typeface="Arial" panose="020B0604020202020204"/>
                <a:ea typeface="+mn-ea"/>
                <a:cs typeface="+mn-cs"/>
              </a:rPr>
              <a:t>Panel to agree that Workgroup has met its Terms of Reference and can proceed to Code Administrator Consultation</a:t>
            </a:r>
          </a:p>
          <a:p>
            <a:pPr marL="228594" marR="0" lvl="0" indent="-228594"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2133"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133" b="0" i="0" u="none" strike="noStrike" kern="1200" cap="none" spc="0" normalizeH="0" baseline="0" noProof="0" dirty="0">
              <a:ln>
                <a:noFill/>
              </a:ln>
              <a:solidFill>
                <a:srgbClr val="454545"/>
              </a:solidFill>
              <a:effectLst/>
              <a:highlight>
                <a:srgbClr val="FFFF00"/>
              </a:highlight>
              <a:uLnTx/>
              <a:uFillTx/>
              <a:latin typeface="Arial" panose="020B0604020202020204"/>
              <a:ea typeface="+mn-ea"/>
              <a:cs typeface="Arial"/>
            </a:endParaRPr>
          </a:p>
          <a:p>
            <a:pPr marL="228594" marR="0" lvl="0" indent="-228594"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2133"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228594" marR="0" lvl="0" indent="-228594" algn="l" defTabSz="5544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2133"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133"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133" b="0" i="0" u="none" strike="noStrike" kern="1200" cap="none" spc="0" normalizeH="0" baseline="0" noProof="0" dirty="0">
              <a:ln>
                <a:noFill/>
              </a:ln>
              <a:solidFill>
                <a:srgbClr val="454545"/>
              </a:solidFill>
              <a:effectLst/>
              <a:uLnTx/>
              <a:uFillTx/>
              <a:latin typeface="Arial" panose="020B0604020202020204"/>
              <a:ea typeface="+mn-ea"/>
              <a:cs typeface="+mn-cs"/>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133" b="0" i="0" u="none" strike="noStrike" kern="1200" cap="none" spc="0" normalizeH="0" baseline="0" noProof="0" dirty="0">
              <a:ln>
                <a:noFill/>
              </a:ln>
              <a:solidFill>
                <a:srgbClr val="454545"/>
              </a:solidFill>
              <a:effectLst/>
              <a:highlight>
                <a:srgbClr val="FFFF00"/>
              </a:highlight>
              <a:uLnTx/>
              <a:uFillTx/>
              <a:latin typeface="Arial" panose="020B0604020202020204"/>
              <a:ea typeface="+mn-ea"/>
              <a:cs typeface="+mn-cs"/>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67" b="0" i="0" u="none" strike="noStrike" kern="1200" cap="none" spc="0" normalizeH="0" baseline="0" noProof="0" dirty="0">
              <a:ln>
                <a:noFill/>
              </a:ln>
              <a:solidFill>
                <a:srgbClr val="454545"/>
              </a:solidFill>
              <a:effectLst/>
              <a:uLnTx/>
              <a:uFillTx/>
              <a:latin typeface="Arial" panose="020B0604020202020204"/>
              <a:ea typeface="+mn-ea"/>
              <a:cs typeface="+mn-cs"/>
            </a:endParaRPr>
          </a:p>
        </p:txBody>
      </p:sp>
      <p:graphicFrame>
        <p:nvGraphicFramePr>
          <p:cNvPr id="5" name="Table 4">
            <a:extLst>
              <a:ext uri="{FF2B5EF4-FFF2-40B4-BE49-F238E27FC236}">
                <a16:creationId xmlns:a16="http://schemas.microsoft.com/office/drawing/2014/main" id="{EB7D2FD4-68D9-494A-967D-05746A2B7557}"/>
              </a:ext>
            </a:extLst>
          </p:cNvPr>
          <p:cNvGraphicFramePr>
            <a:graphicFrameLocks noGrp="1"/>
          </p:cNvGraphicFramePr>
          <p:nvPr>
            <p:extLst>
              <p:ext uri="{D42A27DB-BD31-4B8C-83A1-F6EECF244321}">
                <p14:modId xmlns:p14="http://schemas.microsoft.com/office/powerpoint/2010/main" val="2987690230"/>
              </p:ext>
            </p:extLst>
          </p:nvPr>
        </p:nvGraphicFramePr>
        <p:xfrm>
          <a:off x="558742" y="1700808"/>
          <a:ext cx="11266538" cy="3645473"/>
        </p:xfrm>
        <a:graphic>
          <a:graphicData uri="http://schemas.openxmlformats.org/drawingml/2006/table">
            <a:tbl>
              <a:tblPr firstRow="1" bandRow="1">
                <a:tableStyleId>{21E4AEA4-8DFA-4A89-87EB-49C32662AFE0}</a:tableStyleId>
              </a:tblPr>
              <a:tblGrid>
                <a:gridCol w="7167799">
                  <a:extLst>
                    <a:ext uri="{9D8B030D-6E8A-4147-A177-3AD203B41FA5}">
                      <a16:colId xmlns:a16="http://schemas.microsoft.com/office/drawing/2014/main" val="4112587689"/>
                    </a:ext>
                  </a:extLst>
                </a:gridCol>
                <a:gridCol w="4098739">
                  <a:extLst>
                    <a:ext uri="{9D8B030D-6E8A-4147-A177-3AD203B41FA5}">
                      <a16:colId xmlns:a16="http://schemas.microsoft.com/office/drawing/2014/main" val="722626711"/>
                    </a:ext>
                  </a:extLst>
                </a:gridCol>
              </a:tblGrid>
              <a:tr h="278781">
                <a:tc>
                  <a:txBody>
                    <a:bodyPr/>
                    <a:lstStyle/>
                    <a:p>
                      <a:r>
                        <a:rPr lang="en-GB" sz="1600" dirty="0">
                          <a:latin typeface="Arial" panose="020B0604020202020204" pitchFamily="34" charset="0"/>
                          <a:cs typeface="Arial" panose="020B0604020202020204" pitchFamily="34" charset="0"/>
                        </a:rPr>
                        <a:t>Milestone</a:t>
                      </a:r>
                    </a:p>
                  </a:txBody>
                  <a:tcPr/>
                </a:tc>
                <a:tc>
                  <a:txBody>
                    <a:bodyPr/>
                    <a:lstStyle/>
                    <a:p>
                      <a:r>
                        <a:rPr lang="en-GB" sz="1600" dirty="0">
                          <a:latin typeface="Arial" panose="020B0604020202020204" pitchFamily="34" charset="0"/>
                          <a:cs typeface="Arial" panose="020B0604020202020204" pitchFamily="34" charset="0"/>
                        </a:rPr>
                        <a:t>Date</a:t>
                      </a:r>
                    </a:p>
                  </a:txBody>
                  <a:tcPr/>
                </a:tc>
                <a:extLst>
                  <a:ext uri="{0D108BD9-81ED-4DB2-BD59-A6C34878D82A}">
                    <a16:rowId xmlns:a16="http://schemas.microsoft.com/office/drawing/2014/main" val="383155423"/>
                  </a:ext>
                </a:extLst>
              </a:tr>
              <a:tr h="473928">
                <a:tc>
                  <a:txBody>
                    <a:bodyPr/>
                    <a:lstStyle/>
                    <a:p>
                      <a:r>
                        <a:rPr lang="en-GB" sz="1600" dirty="0">
                          <a:latin typeface="Arial" panose="020B0604020202020204" pitchFamily="34" charset="0"/>
                          <a:cs typeface="Arial" panose="020B0604020202020204" pitchFamily="34" charset="0"/>
                        </a:rPr>
                        <a:t>Code Administrator Consultation (1 month as EBGL Implications)</a:t>
                      </a:r>
                    </a:p>
                  </a:txBody>
                  <a:tcPr/>
                </a:tc>
                <a:tc>
                  <a:txBody>
                    <a:bodyPr/>
                    <a:lstStyle/>
                    <a:p>
                      <a:r>
                        <a:rPr lang="en-GB" sz="1600" dirty="0">
                          <a:latin typeface="Arial" panose="020B0604020202020204" pitchFamily="34" charset="0"/>
                          <a:cs typeface="Arial" panose="020B0604020202020204" pitchFamily="34" charset="0"/>
                        </a:rPr>
                        <a:t>4 November 2020 to 4 December 2020</a:t>
                      </a:r>
                      <a:endParaRPr lang="en-GB" sz="1600" i="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83485395"/>
                  </a:ext>
                </a:extLst>
              </a:tr>
              <a:tr h="473928">
                <a:tc>
                  <a:txBody>
                    <a:bodyPr/>
                    <a:lstStyle/>
                    <a:p>
                      <a:r>
                        <a:rPr lang="en-GB" sz="1600" dirty="0">
                          <a:latin typeface="Arial" panose="020B0604020202020204" pitchFamily="34" charset="0"/>
                          <a:cs typeface="Arial" panose="020B0604020202020204" pitchFamily="34" charset="0"/>
                        </a:rPr>
                        <a:t>Draft Final Modification Report (DFMR) issued to Panel</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600" dirty="0">
                          <a:latin typeface="Arial" panose="020B0604020202020204" pitchFamily="34" charset="0"/>
                          <a:cs typeface="Arial" panose="020B0604020202020204" pitchFamily="34" charset="0"/>
                        </a:rPr>
                        <a:t>10 December 2020</a:t>
                      </a:r>
                    </a:p>
                    <a:p>
                      <a:endParaRPr lang="en-GB"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713368864"/>
                  </a:ext>
                </a:extLst>
              </a:tr>
              <a:tr h="473928">
                <a:tc>
                  <a:txBody>
                    <a:bodyPr/>
                    <a:lstStyle/>
                    <a:p>
                      <a:r>
                        <a:rPr lang="en-GB" sz="1600" dirty="0">
                          <a:latin typeface="Arial" panose="020B0604020202020204" pitchFamily="34" charset="0"/>
                          <a:cs typeface="Arial" panose="020B0604020202020204" pitchFamily="34" charset="0"/>
                        </a:rPr>
                        <a:t>Panel</a:t>
                      </a:r>
                      <a:r>
                        <a:rPr lang="en-GB" sz="1600" baseline="0" dirty="0">
                          <a:latin typeface="Arial" panose="020B0604020202020204" pitchFamily="34" charset="0"/>
                          <a:cs typeface="Arial" panose="020B0604020202020204" pitchFamily="34" charset="0"/>
                        </a:rPr>
                        <a:t> undertake DFMR recommendation vote (5 working days)</a:t>
                      </a:r>
                      <a:endParaRPr lang="en-US" sz="16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18 December 2020</a:t>
                      </a:r>
                    </a:p>
                  </a:txBody>
                  <a:tcPr/>
                </a:tc>
                <a:extLst>
                  <a:ext uri="{0D108BD9-81ED-4DB2-BD59-A6C34878D82A}">
                    <a16:rowId xmlns:a16="http://schemas.microsoft.com/office/drawing/2014/main" val="2726378177"/>
                  </a:ext>
                </a:extLst>
              </a:tr>
              <a:tr h="473928">
                <a:tc>
                  <a:txBody>
                    <a:bodyPr/>
                    <a:lstStyle/>
                    <a:p>
                      <a:r>
                        <a:rPr lang="en-US" sz="1600" dirty="0">
                          <a:latin typeface="Arial" panose="020B0604020202020204" pitchFamily="34" charset="0"/>
                          <a:cs typeface="Arial" panose="020B0604020202020204" pitchFamily="34" charset="0"/>
                        </a:rPr>
                        <a:t>Final Modification Report issued to Panel to check votes recorded correctly (5 working days)</a:t>
                      </a:r>
                      <a:endParaRPr lang="en-GB" sz="1600" dirty="0">
                        <a:latin typeface="Arial" panose="020B0604020202020204" pitchFamily="34" charset="0"/>
                        <a:cs typeface="Arial" panose="020B0604020202020204" pitchFamily="34" charset="0"/>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18 December 2020</a:t>
                      </a:r>
                    </a:p>
                  </a:txBody>
                  <a:tcPr/>
                </a:tc>
                <a:extLst>
                  <a:ext uri="{0D108BD9-81ED-4DB2-BD59-A6C34878D82A}">
                    <a16:rowId xmlns:a16="http://schemas.microsoft.com/office/drawing/2014/main" val="2461474842"/>
                  </a:ext>
                </a:extLst>
              </a:tr>
              <a:tr h="535356">
                <a:tc>
                  <a:txBody>
                    <a:bodyPr/>
                    <a:lstStyle/>
                    <a:p>
                      <a:r>
                        <a:rPr lang="en-US" sz="1600" dirty="0">
                          <a:latin typeface="Arial" panose="020B0604020202020204" pitchFamily="34" charset="0"/>
                          <a:cs typeface="Arial" panose="020B0604020202020204" pitchFamily="34" charset="0"/>
                        </a:rPr>
                        <a:t>Final Modification Report issued to Ofgem</a:t>
                      </a:r>
                      <a:endParaRPr lang="en-GB" sz="1600" dirty="0">
                        <a:latin typeface="Arial" panose="020B0604020202020204" pitchFamily="34" charset="0"/>
                        <a:cs typeface="Arial" panose="020B0604020202020204" pitchFamily="34" charset="0"/>
                      </a:endParaRPr>
                    </a:p>
                  </a:txBody>
                  <a:tcPr/>
                </a:tc>
                <a:tc>
                  <a:txBody>
                    <a:bodyPr/>
                    <a:lstStyle/>
                    <a:p>
                      <a:r>
                        <a:rPr lang="en-GB" sz="1600" dirty="0">
                          <a:latin typeface="Arial" panose="020B0604020202020204" pitchFamily="34" charset="0"/>
                          <a:cs typeface="Arial" panose="020B0604020202020204" pitchFamily="34" charset="0"/>
                        </a:rPr>
                        <a:t>5 January 2021</a:t>
                      </a:r>
                    </a:p>
                  </a:txBody>
                  <a:tcPr/>
                </a:tc>
                <a:extLst>
                  <a:ext uri="{0D108BD9-81ED-4DB2-BD59-A6C34878D82A}">
                    <a16:rowId xmlns:a16="http://schemas.microsoft.com/office/drawing/2014/main" val="1338958629"/>
                  </a:ext>
                </a:extLst>
              </a:tr>
              <a:tr h="668741">
                <a:tc>
                  <a:txBody>
                    <a:bodyPr/>
                    <a:lstStyle/>
                    <a:p>
                      <a:r>
                        <a:rPr lang="en-GB" sz="1600" dirty="0">
                          <a:latin typeface="Arial" panose="020B0604020202020204" pitchFamily="34" charset="0"/>
                          <a:cs typeface="Arial" panose="020B0604020202020204" pitchFamily="34" charset="0"/>
                        </a:rPr>
                        <a:t>Implementation Date</a:t>
                      </a:r>
                    </a:p>
                  </a:txBody>
                  <a:tcPr/>
                </a:tc>
                <a:tc>
                  <a:txBody>
                    <a:bodyPr/>
                    <a:lstStyle/>
                    <a:p>
                      <a:r>
                        <a:rPr lang="en-GB" sz="1600" dirty="0">
                          <a:latin typeface="Arial" panose="020B0604020202020204" pitchFamily="34" charset="0"/>
                          <a:cs typeface="Arial" panose="020B0604020202020204" pitchFamily="34" charset="0"/>
                        </a:rPr>
                        <a:t>10 working days after Ofgem decision</a:t>
                      </a:r>
                    </a:p>
                  </a:txBody>
                  <a:tcPr/>
                </a:tc>
                <a:extLst>
                  <a:ext uri="{0D108BD9-81ED-4DB2-BD59-A6C34878D82A}">
                    <a16:rowId xmlns:a16="http://schemas.microsoft.com/office/drawing/2014/main" val="4293277181"/>
                  </a:ext>
                </a:extLst>
              </a:tr>
            </a:tbl>
          </a:graphicData>
        </a:graphic>
      </p:graphicFrame>
    </p:spTree>
    <p:extLst>
      <p:ext uri="{BB962C8B-B14F-4D97-AF65-F5344CB8AC3E}">
        <p14:creationId xmlns:p14="http://schemas.microsoft.com/office/powerpoint/2010/main" val="3935026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BD49DA-B044-4B7E-A684-D0951A8BB8F1}"/>
              </a:ext>
            </a:extLst>
          </p:cNvPr>
          <p:cNvSpPr>
            <a:spLocks noGrp="1"/>
          </p:cNvSpPr>
          <p:nvPr>
            <p:ph type="body" sz="quarter" idx="10"/>
          </p:nvPr>
        </p:nvSpPr>
        <p:spPr>
          <a:xfrm>
            <a:off x="1668901" y="3569812"/>
            <a:ext cx="9824894" cy="2444907"/>
          </a:xfrm>
          <a:solidFill>
            <a:schemeClr val="bg1"/>
          </a:solidFill>
        </p:spPr>
        <p:txBody>
          <a:bodyPr/>
          <a:lstStyle/>
          <a:p>
            <a:r>
              <a:rPr lang="en-GB" sz="2400" b="1" dirty="0">
                <a:solidFill>
                  <a:schemeClr val="tx1"/>
                </a:solidFill>
                <a:latin typeface="Arial" panose="020B0604020202020204" pitchFamily="34" charset="0"/>
                <a:cs typeface="Times New Roman" panose="02020603050405020304" pitchFamily="18" charset="0"/>
              </a:rPr>
              <a:t>None</a:t>
            </a:r>
            <a:endParaRPr lang="en-GB" sz="2400" b="1" dirty="0">
              <a:solidFill>
                <a:schemeClr val="tx1"/>
              </a:solidFill>
            </a:endParaRPr>
          </a:p>
        </p:txBody>
      </p:sp>
      <p:sp>
        <p:nvSpPr>
          <p:cNvPr id="4" name="Title 1">
            <a:extLst>
              <a:ext uri="{FF2B5EF4-FFF2-40B4-BE49-F238E27FC236}">
                <a16:creationId xmlns:a16="http://schemas.microsoft.com/office/drawing/2014/main" id="{8163128C-6CBB-4BFE-858B-5EED77D92C6B}"/>
              </a:ext>
            </a:extLst>
          </p:cNvPr>
          <p:cNvSpPr>
            <a:spLocks noGrp="1"/>
          </p:cNvSpPr>
          <p:nvPr>
            <p:ph type="body" sz="quarter" idx="11"/>
          </p:nvPr>
        </p:nvSpPr>
        <p:spPr>
          <a:xfrm>
            <a:off x="1668901" y="2068105"/>
            <a:ext cx="7079318" cy="1227137"/>
          </a:xfrm>
          <a:solidFill>
            <a:schemeClr val="bg1"/>
          </a:solidFill>
        </p:spPr>
        <p:txBody>
          <a:bodyPr/>
          <a:lstStyle/>
          <a:p>
            <a:r>
              <a:rPr lang="en-GB" sz="4000" b="1" dirty="0"/>
              <a:t>Draft Final Modification Reports</a:t>
            </a:r>
          </a:p>
        </p:txBody>
      </p:sp>
    </p:spTree>
    <p:extLst>
      <p:ext uri="{BB962C8B-B14F-4D97-AF65-F5344CB8AC3E}">
        <p14:creationId xmlns:p14="http://schemas.microsoft.com/office/powerpoint/2010/main" val="424299916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BD49DA-B044-4B7E-A684-D0951A8BB8F1}"/>
              </a:ext>
            </a:extLst>
          </p:cNvPr>
          <p:cNvSpPr>
            <a:spLocks noGrp="1"/>
          </p:cNvSpPr>
          <p:nvPr>
            <p:ph type="body" sz="quarter" idx="10"/>
          </p:nvPr>
        </p:nvSpPr>
        <p:spPr>
          <a:xfrm>
            <a:off x="1697037" y="3570321"/>
            <a:ext cx="8544243" cy="1894813"/>
          </a:xfrm>
          <a:solidFill>
            <a:schemeClr val="bg1"/>
          </a:solidFill>
        </p:spPr>
        <p:txBody>
          <a:bodyPr/>
          <a:lstStyle/>
          <a:p>
            <a:r>
              <a:rPr lang="en-GB" sz="2400" b="1" dirty="0">
                <a:solidFill>
                  <a:schemeClr val="tx1"/>
                </a:solidFill>
                <a:cs typeface="Arial"/>
              </a:rPr>
              <a:t>Governance Standing Group – Garth Graham</a:t>
            </a:r>
          </a:p>
          <a:p>
            <a:r>
              <a:rPr lang="en-GB" sz="2400" b="1" dirty="0">
                <a:solidFill>
                  <a:schemeClr val="tx1"/>
                </a:solidFill>
                <a:cs typeface="Arial"/>
              </a:rPr>
              <a:t>TCMF – Jon Wisdom</a:t>
            </a:r>
          </a:p>
          <a:p>
            <a:endParaRPr lang="en-GB" sz="2400" b="1" dirty="0">
              <a:solidFill>
                <a:srgbClr val="0070C0"/>
              </a:solidFill>
              <a:cs typeface="Arial"/>
            </a:endParaRPr>
          </a:p>
          <a:p>
            <a:endParaRPr lang="en-GB" sz="2400" b="1" dirty="0">
              <a:solidFill>
                <a:srgbClr val="0070C0"/>
              </a:solidFill>
              <a:cs typeface="Arial"/>
            </a:endParaRPr>
          </a:p>
          <a:p>
            <a:endParaRPr lang="en-GB" sz="2400" b="1" dirty="0">
              <a:solidFill>
                <a:srgbClr val="0070C0"/>
              </a:solidFill>
              <a:cs typeface="Arial"/>
            </a:endParaRPr>
          </a:p>
        </p:txBody>
      </p:sp>
      <p:sp>
        <p:nvSpPr>
          <p:cNvPr id="4" name="Title 1">
            <a:extLst>
              <a:ext uri="{FF2B5EF4-FFF2-40B4-BE49-F238E27FC236}">
                <a16:creationId xmlns:a16="http://schemas.microsoft.com/office/drawing/2014/main" id="{8163128C-6CBB-4BFE-858B-5EED77D92C6B}"/>
              </a:ext>
            </a:extLst>
          </p:cNvPr>
          <p:cNvSpPr>
            <a:spLocks noGrp="1"/>
          </p:cNvSpPr>
          <p:nvPr>
            <p:ph type="body" sz="quarter" idx="11"/>
          </p:nvPr>
        </p:nvSpPr>
        <p:spPr>
          <a:xfrm>
            <a:off x="1697037" y="1926712"/>
            <a:ext cx="8293806" cy="1227137"/>
          </a:xfrm>
          <a:solidFill>
            <a:schemeClr val="bg1"/>
          </a:solidFill>
        </p:spPr>
        <p:txBody>
          <a:bodyPr/>
          <a:lstStyle/>
          <a:p>
            <a:r>
              <a:rPr lang="en-GB" sz="4000" b="1" dirty="0"/>
              <a:t>Standing Groups </a:t>
            </a:r>
            <a:r>
              <a:rPr lang="en-GB" sz="4000" dirty="0"/>
              <a:t>- </a:t>
            </a:r>
            <a:r>
              <a:rPr lang="en-GB" sz="2400" i="1" dirty="0"/>
              <a:t>Updates on all standing groups relevant to CUSC panel e.g. potential for future governance changes or modifications</a:t>
            </a:r>
            <a:endParaRPr lang="en-GB" sz="2400" b="1" dirty="0">
              <a:solidFill>
                <a:schemeClr val="tx1"/>
              </a:solidFill>
            </a:endParaRPr>
          </a:p>
          <a:p>
            <a:endParaRPr lang="en-GB" sz="4000" b="1" dirty="0">
              <a:solidFill>
                <a:schemeClr val="tx1"/>
              </a:solidFill>
              <a:cs typeface="Arial"/>
            </a:endParaRPr>
          </a:p>
          <a:p>
            <a:endParaRPr lang="en-GB" sz="4000" b="1" dirty="0"/>
          </a:p>
        </p:txBody>
      </p:sp>
    </p:spTree>
    <p:extLst>
      <p:ext uri="{BB962C8B-B14F-4D97-AF65-F5344CB8AC3E}">
        <p14:creationId xmlns:p14="http://schemas.microsoft.com/office/powerpoint/2010/main" val="40608004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0BD49DA-B044-4B7E-A684-D0951A8BB8F1}"/>
              </a:ext>
            </a:extLst>
          </p:cNvPr>
          <p:cNvSpPr>
            <a:spLocks noGrp="1"/>
          </p:cNvSpPr>
          <p:nvPr>
            <p:ph type="body" sz="quarter" idx="10"/>
          </p:nvPr>
        </p:nvSpPr>
        <p:spPr>
          <a:xfrm>
            <a:off x="1697037" y="3561908"/>
            <a:ext cx="8544243" cy="1894813"/>
          </a:xfrm>
          <a:solidFill>
            <a:schemeClr val="bg1"/>
          </a:solidFill>
        </p:spPr>
        <p:txBody>
          <a:bodyPr/>
          <a:lstStyle/>
          <a:p>
            <a:r>
              <a:rPr lang="en-GB" sz="2400" b="1" dirty="0">
                <a:solidFill>
                  <a:schemeClr val="tx1"/>
                </a:solidFill>
                <a:cs typeface="Arial"/>
              </a:rPr>
              <a:t>European Code Development – Nadir Hafeez</a:t>
            </a:r>
          </a:p>
          <a:p>
            <a:r>
              <a:rPr lang="en-GB" sz="2400" b="1" dirty="0">
                <a:solidFill>
                  <a:schemeClr val="tx1"/>
                </a:solidFill>
                <a:cs typeface="Arial"/>
              </a:rPr>
              <a:t>Joint European Stakeholder Group – Garth Graham</a:t>
            </a:r>
          </a:p>
          <a:p>
            <a:endParaRPr lang="en-GB" sz="2400" b="1" dirty="0">
              <a:solidFill>
                <a:srgbClr val="0070C0"/>
              </a:solidFill>
              <a:cs typeface="Arial"/>
            </a:endParaRPr>
          </a:p>
          <a:p>
            <a:endParaRPr lang="en-GB" sz="2400" b="1" dirty="0">
              <a:solidFill>
                <a:srgbClr val="0070C0"/>
              </a:solidFill>
              <a:cs typeface="Arial"/>
            </a:endParaRPr>
          </a:p>
          <a:p>
            <a:endParaRPr lang="en-GB" sz="2400" b="1" dirty="0">
              <a:solidFill>
                <a:srgbClr val="0070C0"/>
              </a:solidFill>
              <a:cs typeface="Arial"/>
            </a:endParaRPr>
          </a:p>
        </p:txBody>
      </p:sp>
      <p:sp>
        <p:nvSpPr>
          <p:cNvPr id="4" name="Title 1">
            <a:extLst>
              <a:ext uri="{FF2B5EF4-FFF2-40B4-BE49-F238E27FC236}">
                <a16:creationId xmlns:a16="http://schemas.microsoft.com/office/drawing/2014/main" id="{8163128C-6CBB-4BFE-858B-5EED77D92C6B}"/>
              </a:ext>
            </a:extLst>
          </p:cNvPr>
          <p:cNvSpPr>
            <a:spLocks noGrp="1"/>
          </p:cNvSpPr>
          <p:nvPr>
            <p:ph type="body" sz="quarter" idx="11"/>
          </p:nvPr>
        </p:nvSpPr>
        <p:spPr>
          <a:xfrm>
            <a:off x="1668901" y="2068105"/>
            <a:ext cx="8293806" cy="1227137"/>
          </a:xfrm>
          <a:solidFill>
            <a:schemeClr val="bg1"/>
          </a:solidFill>
        </p:spPr>
        <p:txBody>
          <a:bodyPr/>
          <a:lstStyle/>
          <a:p>
            <a:r>
              <a:rPr lang="en-GB" sz="4000" b="1" dirty="0"/>
              <a:t>European Updates </a:t>
            </a:r>
            <a:r>
              <a:rPr lang="en-GB" sz="4000" dirty="0"/>
              <a:t>- </a:t>
            </a:r>
            <a:r>
              <a:rPr lang="en-GB" sz="2400" i="1" dirty="0"/>
              <a:t>Updates on all European developments relevant to CUSC panel e.g. potential for future governance changes or modifications</a:t>
            </a:r>
            <a:endParaRPr lang="en-GB" sz="2400" b="1" dirty="0">
              <a:solidFill>
                <a:schemeClr val="tx1"/>
              </a:solidFill>
            </a:endParaRPr>
          </a:p>
        </p:txBody>
      </p:sp>
    </p:spTree>
    <p:extLst>
      <p:ext uri="{BB962C8B-B14F-4D97-AF65-F5344CB8AC3E}">
        <p14:creationId xmlns:p14="http://schemas.microsoft.com/office/powerpoint/2010/main" val="13053683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163128C-6CBB-4BFE-858B-5EED77D92C6B}"/>
              </a:ext>
            </a:extLst>
          </p:cNvPr>
          <p:cNvSpPr>
            <a:spLocks noGrp="1"/>
          </p:cNvSpPr>
          <p:nvPr>
            <p:ph type="body" sz="quarter" idx="11"/>
          </p:nvPr>
        </p:nvSpPr>
        <p:spPr>
          <a:xfrm>
            <a:off x="1795511" y="1899447"/>
            <a:ext cx="9270610" cy="759501"/>
          </a:xfrm>
        </p:spPr>
        <p:txBody>
          <a:bodyPr/>
          <a:lstStyle/>
          <a:p>
            <a:r>
              <a:rPr lang="en-GB" sz="4000" b="1" dirty="0"/>
              <a:t>Update on Other Industry Codes</a:t>
            </a:r>
          </a:p>
        </p:txBody>
      </p:sp>
      <p:sp>
        <p:nvSpPr>
          <p:cNvPr id="5" name="Text Placeholder 4">
            <a:extLst>
              <a:ext uri="{FF2B5EF4-FFF2-40B4-BE49-F238E27FC236}">
                <a16:creationId xmlns:a16="http://schemas.microsoft.com/office/drawing/2014/main" id="{AD6CB26E-436D-49E1-B5A7-EA405FE2293E}"/>
              </a:ext>
            </a:extLst>
          </p:cNvPr>
          <p:cNvSpPr>
            <a:spLocks noGrp="1"/>
          </p:cNvSpPr>
          <p:nvPr>
            <p:ph type="body" sz="quarter" idx="10"/>
          </p:nvPr>
        </p:nvSpPr>
        <p:spPr>
          <a:xfrm>
            <a:off x="1891204" y="2935658"/>
            <a:ext cx="6139449" cy="2526789"/>
          </a:xfrm>
          <a:solidFill>
            <a:schemeClr val="bg1"/>
          </a:solidFill>
        </p:spPr>
        <p:txBody>
          <a:bodyPr/>
          <a:lstStyle/>
          <a:p>
            <a:r>
              <a:rPr lang="en-GB" sz="2400" b="1" dirty="0">
                <a:solidFill>
                  <a:schemeClr val="tx1"/>
                </a:solidFill>
              </a:rPr>
              <a:t>Grid Code</a:t>
            </a:r>
          </a:p>
          <a:p>
            <a:r>
              <a:rPr lang="en-GB" sz="2400" b="1" dirty="0">
                <a:solidFill>
                  <a:schemeClr val="tx1"/>
                </a:solidFill>
              </a:rPr>
              <a:t>STC</a:t>
            </a:r>
          </a:p>
          <a:p>
            <a:r>
              <a:rPr lang="en-GB" sz="2400" b="1" dirty="0">
                <a:solidFill>
                  <a:schemeClr val="tx1"/>
                </a:solidFill>
              </a:rPr>
              <a:t>SQSS</a:t>
            </a:r>
          </a:p>
          <a:p>
            <a:r>
              <a:rPr lang="en-GB" sz="2400" b="1" dirty="0">
                <a:solidFill>
                  <a:schemeClr val="tx1"/>
                </a:solidFill>
              </a:rPr>
              <a:t>DCUSA</a:t>
            </a:r>
          </a:p>
          <a:p>
            <a:r>
              <a:rPr lang="en-GB" sz="2400" b="1" dirty="0">
                <a:solidFill>
                  <a:schemeClr val="tx1"/>
                </a:solidFill>
              </a:rPr>
              <a:t>BSC</a:t>
            </a:r>
          </a:p>
          <a:p>
            <a:r>
              <a:rPr lang="en-GB" sz="2400" b="1" dirty="0">
                <a:solidFill>
                  <a:srgbClr val="0070C0"/>
                </a:solidFill>
                <a:highlight>
                  <a:srgbClr val="FFFF00"/>
                </a:highlight>
              </a:rPr>
              <a:t> </a:t>
            </a:r>
          </a:p>
          <a:p>
            <a:endParaRPr lang="en-GB" sz="2400" b="1" dirty="0">
              <a:solidFill>
                <a:srgbClr val="0070C0"/>
              </a:solidFill>
            </a:endParaRPr>
          </a:p>
          <a:p>
            <a:endParaRPr lang="en-GB" sz="1800" b="1" dirty="0">
              <a:solidFill>
                <a:srgbClr val="0070C0"/>
              </a:solidFill>
            </a:endParaRPr>
          </a:p>
        </p:txBody>
      </p:sp>
    </p:spTree>
    <p:extLst>
      <p:ext uri="{BB962C8B-B14F-4D97-AF65-F5344CB8AC3E}">
        <p14:creationId xmlns:p14="http://schemas.microsoft.com/office/powerpoint/2010/main" val="11472549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6D14DF-89D5-4D0F-825A-193F857A115C}"/>
              </a:ext>
            </a:extLst>
          </p:cNvPr>
          <p:cNvSpPr>
            <a:spLocks noGrp="1"/>
          </p:cNvSpPr>
          <p:nvPr>
            <p:ph type="body" sz="quarter" idx="11"/>
          </p:nvPr>
        </p:nvSpPr>
        <p:spPr>
          <a:xfrm>
            <a:off x="1731389" y="2003174"/>
            <a:ext cx="7079318" cy="1227137"/>
          </a:xfrm>
          <a:solidFill>
            <a:schemeClr val="bg1"/>
          </a:solidFill>
        </p:spPr>
        <p:txBody>
          <a:bodyPr/>
          <a:lstStyle/>
          <a:p>
            <a:r>
              <a:rPr lang="en-GB" b="1" dirty="0"/>
              <a:t>Relevant Interruptions Claim Report</a:t>
            </a:r>
            <a:br>
              <a:rPr lang="en-GB" b="1" dirty="0"/>
            </a:br>
            <a:r>
              <a:rPr lang="en-GB" sz="2800" b="1" dirty="0">
                <a:solidFill>
                  <a:srgbClr val="0070C0"/>
                </a:solidFill>
                <a:latin typeface="Helvetica Neue LT Std 45 Light" panose="020B0403020202020204" pitchFamily="34" charset="0"/>
              </a:rPr>
              <a:t>(January, April, July, October)</a:t>
            </a:r>
          </a:p>
          <a:p>
            <a:endParaRPr lang="en-GB" sz="2800" b="1" dirty="0">
              <a:solidFill>
                <a:srgbClr val="0070C0"/>
              </a:solidFill>
              <a:latin typeface="Helvetica Neue LT Std 45 Light" panose="020B0403020202020204" pitchFamily="34" charset="0"/>
            </a:endParaRPr>
          </a:p>
        </p:txBody>
      </p:sp>
    </p:spTree>
    <p:extLst>
      <p:ext uri="{BB962C8B-B14F-4D97-AF65-F5344CB8AC3E}">
        <p14:creationId xmlns:p14="http://schemas.microsoft.com/office/powerpoint/2010/main" val="5705371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1C9B35-441F-42D0-A363-F86393326A96}"/>
              </a:ext>
            </a:extLst>
          </p:cNvPr>
          <p:cNvSpPr>
            <a:spLocks noGrp="1"/>
          </p:cNvSpPr>
          <p:nvPr>
            <p:ph type="body" sz="quarter" idx="10"/>
          </p:nvPr>
        </p:nvSpPr>
        <p:spPr>
          <a:xfrm>
            <a:off x="1792730" y="2895895"/>
            <a:ext cx="3647123" cy="1404620"/>
          </a:xfrm>
          <a:solidFill>
            <a:schemeClr val="bg1"/>
          </a:solidFill>
        </p:spPr>
        <p:txBody>
          <a:bodyPr/>
          <a:lstStyle/>
          <a:p>
            <a:r>
              <a:rPr lang="en-GB" sz="2400" b="1" dirty="0">
                <a:solidFill>
                  <a:schemeClr val="tx1"/>
                </a:solidFill>
              </a:rPr>
              <a:t>None</a:t>
            </a:r>
          </a:p>
        </p:txBody>
      </p:sp>
      <p:sp>
        <p:nvSpPr>
          <p:cNvPr id="3" name="Text Placeholder 2">
            <a:extLst>
              <a:ext uri="{FF2B5EF4-FFF2-40B4-BE49-F238E27FC236}">
                <a16:creationId xmlns:a16="http://schemas.microsoft.com/office/drawing/2014/main" id="{66214341-5D3F-4248-A7B0-9DD4C25E7362}"/>
              </a:ext>
            </a:extLst>
          </p:cNvPr>
          <p:cNvSpPr>
            <a:spLocks noGrp="1"/>
          </p:cNvSpPr>
          <p:nvPr>
            <p:ph type="body" sz="quarter" idx="11"/>
          </p:nvPr>
        </p:nvSpPr>
        <p:spPr>
          <a:xfrm>
            <a:off x="1697036" y="1921326"/>
            <a:ext cx="7079318" cy="1227137"/>
          </a:xfrm>
        </p:spPr>
        <p:txBody>
          <a:bodyPr/>
          <a:lstStyle/>
          <a:p>
            <a:r>
              <a:rPr lang="en-GB" sz="4000" b="1" dirty="0"/>
              <a:t>Governance</a:t>
            </a:r>
          </a:p>
        </p:txBody>
      </p:sp>
    </p:spTree>
    <p:extLst>
      <p:ext uri="{BB962C8B-B14F-4D97-AF65-F5344CB8AC3E}">
        <p14:creationId xmlns:p14="http://schemas.microsoft.com/office/powerpoint/2010/main" val="685666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56D14DF-89D5-4D0F-825A-193F857A115C}"/>
              </a:ext>
            </a:extLst>
          </p:cNvPr>
          <p:cNvSpPr>
            <a:spLocks noGrp="1"/>
          </p:cNvSpPr>
          <p:nvPr>
            <p:ph type="body" sz="quarter" idx="11"/>
          </p:nvPr>
        </p:nvSpPr>
        <p:spPr>
          <a:xfrm>
            <a:off x="1731389" y="2003174"/>
            <a:ext cx="7079318" cy="1227137"/>
          </a:xfrm>
          <a:solidFill>
            <a:schemeClr val="bg1"/>
          </a:solidFill>
        </p:spPr>
        <p:txBody>
          <a:bodyPr/>
          <a:lstStyle/>
          <a:p>
            <a:r>
              <a:rPr lang="en-GB" b="1" dirty="0"/>
              <a:t>Horizon Scan</a:t>
            </a:r>
            <a:br>
              <a:rPr lang="en-GB" b="1" dirty="0"/>
            </a:br>
            <a:r>
              <a:rPr lang="en-GB" sz="2800" b="1" dirty="0">
                <a:solidFill>
                  <a:srgbClr val="0070C0"/>
                </a:solidFill>
                <a:latin typeface="Helvetica Neue LT Std 45 Light" panose="020B0403020202020204" pitchFamily="34" charset="0"/>
              </a:rPr>
              <a:t>(February, May, August, November)</a:t>
            </a:r>
          </a:p>
          <a:p>
            <a:endParaRPr lang="en-GB" sz="2800" b="1" dirty="0">
              <a:solidFill>
                <a:srgbClr val="0070C0"/>
              </a:solidFill>
              <a:latin typeface="Helvetica Neue LT Std 45 Light" panose="020B0403020202020204" pitchFamily="34" charset="0"/>
            </a:endParaRPr>
          </a:p>
        </p:txBody>
      </p:sp>
    </p:spTree>
    <p:extLst>
      <p:ext uri="{BB962C8B-B14F-4D97-AF65-F5344CB8AC3E}">
        <p14:creationId xmlns:p14="http://schemas.microsoft.com/office/powerpoint/2010/main" val="3805890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a:extLst>
              <a:ext uri="{FF2B5EF4-FFF2-40B4-BE49-F238E27FC236}">
                <a16:creationId xmlns:a16="http://schemas.microsoft.com/office/drawing/2014/main" id="{45DDB010-78A5-4146-8B78-69A1B9B68416}"/>
              </a:ext>
            </a:extLst>
          </p:cNvPr>
          <p:cNvSpPr txBox="1">
            <a:spLocks/>
          </p:cNvSpPr>
          <p:nvPr/>
        </p:nvSpPr>
        <p:spPr>
          <a:xfrm>
            <a:off x="414990" y="523303"/>
            <a:ext cx="8495999" cy="527136"/>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4000" b="1" dirty="0"/>
              <a:t>Chair’s Update </a:t>
            </a:r>
          </a:p>
        </p:txBody>
      </p:sp>
      <p:sp>
        <p:nvSpPr>
          <p:cNvPr id="6" name="TextBox 5">
            <a:extLst>
              <a:ext uri="{FF2B5EF4-FFF2-40B4-BE49-F238E27FC236}">
                <a16:creationId xmlns:a16="http://schemas.microsoft.com/office/drawing/2014/main" id="{EF06A842-06AD-4DF9-9726-43736BBE6CE3}"/>
              </a:ext>
            </a:extLst>
          </p:cNvPr>
          <p:cNvSpPr txBox="1"/>
          <p:nvPr/>
        </p:nvSpPr>
        <p:spPr>
          <a:xfrm>
            <a:off x="414990" y="1993114"/>
            <a:ext cx="6077250" cy="1877437"/>
          </a:xfrm>
          <a:prstGeom prst="rect">
            <a:avLst/>
          </a:prstGeom>
        </p:spPr>
        <p:txBody>
          <a:bodyPr wrap="square" rtlCol="0">
            <a:spAutoFit/>
          </a:bodyPr>
          <a:lstStyle/>
          <a:p>
            <a:r>
              <a:rPr lang="en-GB" sz="2800" b="1" dirty="0">
                <a:solidFill>
                  <a:srgbClr val="454545"/>
                </a:solidFill>
                <a:latin typeface="Arial" panose="020B0604020202020204" pitchFamily="34" charset="0"/>
                <a:ea typeface="Arial" panose="020B0604020202020204" pitchFamily="34" charset="0"/>
                <a:cs typeface="Times New Roman" panose="02020603050405020304" pitchFamily="18" charset="0"/>
              </a:rPr>
              <a:t>An update from the Chair about ongoing relevant work, discussions etc</a:t>
            </a:r>
            <a:r>
              <a:rPr lang="en-GB" sz="2800" i="1" dirty="0">
                <a:solidFill>
                  <a:srgbClr val="454545"/>
                </a:solidFill>
                <a:latin typeface="Arial" panose="020B0604020202020204" pitchFamily="34" charset="0"/>
                <a:ea typeface="Arial" panose="020B0604020202020204" pitchFamily="34" charset="0"/>
                <a:cs typeface="Times New Roman" panose="02020603050405020304" pitchFamily="18" charset="0"/>
              </a:rPr>
              <a:t>.</a:t>
            </a:r>
            <a:endParaRPr lang="en-GB" sz="2800" dirty="0"/>
          </a:p>
          <a:p>
            <a:pPr algn="l"/>
            <a:endParaRPr lang="en-GB" sz="3200" dirty="0">
              <a:solidFill>
                <a:srgbClr val="FFBF22"/>
              </a:solidFill>
              <a:latin typeface="Helvetica Neue LT Std 65 Medium" panose="020B0604020202020204" pitchFamily="34" charset="0"/>
            </a:endParaRPr>
          </a:p>
        </p:txBody>
      </p:sp>
    </p:spTree>
    <p:extLst>
      <p:ext uri="{BB962C8B-B14F-4D97-AF65-F5344CB8AC3E}">
        <p14:creationId xmlns:p14="http://schemas.microsoft.com/office/powerpoint/2010/main" val="33590155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4995333-41E9-4E88-818A-F0DAA475A17C}"/>
              </a:ext>
            </a:extLst>
          </p:cNvPr>
          <p:cNvSpPr>
            <a:spLocks noGrp="1"/>
          </p:cNvSpPr>
          <p:nvPr>
            <p:ph type="body" sz="quarter" idx="11"/>
          </p:nvPr>
        </p:nvSpPr>
        <p:spPr>
          <a:xfrm>
            <a:off x="1402396" y="1455275"/>
            <a:ext cx="10112664" cy="2285456"/>
          </a:xfrm>
          <a:solidFill>
            <a:schemeClr val="bg1"/>
          </a:solidFill>
        </p:spPr>
        <p:txBody>
          <a:bodyPr/>
          <a:lstStyle/>
          <a:p>
            <a:r>
              <a:rPr lang="en-GB" b="1" dirty="0"/>
              <a:t>Forward Plan Update/Customer Journey)</a:t>
            </a:r>
          </a:p>
          <a:p>
            <a:r>
              <a:rPr lang="en-GB" sz="2800" b="1" dirty="0">
                <a:solidFill>
                  <a:srgbClr val="0070C0"/>
                </a:solidFill>
              </a:rPr>
              <a:t>(January, March, May, July, September, November)</a:t>
            </a:r>
          </a:p>
          <a:p>
            <a:r>
              <a:rPr lang="en-GB" sz="2800" b="1" dirty="0">
                <a:solidFill>
                  <a:srgbClr val="0070C0"/>
                </a:solidFill>
              </a:rPr>
              <a:t>(Critical Friend Quarterly Update in Panel Pack – January, April, July and October. To be discussed at Panel – January and July)</a:t>
            </a:r>
          </a:p>
          <a:p>
            <a:endParaRPr lang="en-GB" sz="2800" b="1" dirty="0">
              <a:solidFill>
                <a:srgbClr val="0070C0"/>
              </a:solidFill>
            </a:endParaRPr>
          </a:p>
          <a:p>
            <a:endParaRPr lang="en-GB" sz="2800" b="1" dirty="0">
              <a:solidFill>
                <a:srgbClr val="0070C0"/>
              </a:solidFill>
            </a:endParaRPr>
          </a:p>
          <a:p>
            <a:endParaRPr lang="en-GB" b="1" dirty="0">
              <a:solidFill>
                <a:srgbClr val="0070C0"/>
              </a:solidFill>
            </a:endParaRPr>
          </a:p>
        </p:txBody>
      </p:sp>
      <p:sp>
        <p:nvSpPr>
          <p:cNvPr id="4" name="Rectangle 3">
            <a:extLst>
              <a:ext uri="{FF2B5EF4-FFF2-40B4-BE49-F238E27FC236}">
                <a16:creationId xmlns:a16="http://schemas.microsoft.com/office/drawing/2014/main" id="{93BBCA40-69AD-4522-886D-4E24988DF3C1}"/>
              </a:ext>
            </a:extLst>
          </p:cNvPr>
          <p:cNvSpPr/>
          <p:nvPr/>
        </p:nvSpPr>
        <p:spPr>
          <a:xfrm>
            <a:off x="1402396" y="4802560"/>
            <a:ext cx="7709706" cy="1200329"/>
          </a:xfrm>
          <a:prstGeom prst="rect">
            <a:avLst/>
          </a:prstGeom>
          <a:solidFill>
            <a:schemeClr val="bg1"/>
          </a:solidFill>
        </p:spPr>
        <p:txBody>
          <a:bodyPr wrap="square">
            <a:spAutoFit/>
          </a:bodyPr>
          <a:lstStyle/>
          <a:p>
            <a:r>
              <a:rPr lang="en-GB" sz="2400" b="1" dirty="0">
                <a:latin typeface="Helvetica Neue Condensed"/>
              </a:rPr>
              <a:t>Critical Friend Quarterly Update (Panel Pack only)</a:t>
            </a:r>
          </a:p>
          <a:p>
            <a:pPr lvl="0"/>
            <a:endParaRPr lang="en-GB" sz="2400" b="1" dirty="0">
              <a:latin typeface="Helvetica Neue Condensed"/>
            </a:endParaRPr>
          </a:p>
          <a:p>
            <a:endParaRPr lang="en-GB" sz="2400" b="1" dirty="0">
              <a:latin typeface="Helvetica Neue Condensed"/>
            </a:endParaRPr>
          </a:p>
        </p:txBody>
      </p:sp>
    </p:spTree>
    <p:extLst>
      <p:ext uri="{BB962C8B-B14F-4D97-AF65-F5344CB8AC3E}">
        <p14:creationId xmlns:p14="http://schemas.microsoft.com/office/powerpoint/2010/main" val="12892242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378" y="346746"/>
            <a:ext cx="11327999" cy="393955"/>
          </a:xfrm>
        </p:spPr>
        <p:txBody>
          <a:bodyPr/>
          <a:lstStyle/>
          <a:p>
            <a:r>
              <a:rPr lang="en-GB" dirty="0">
                <a:solidFill>
                  <a:schemeClr val="accent6"/>
                </a:solidFill>
              </a:rPr>
              <a:t>Critical Friend Feedback</a:t>
            </a:r>
            <a:endParaRPr lang="en-US" dirty="0">
              <a:solidFill>
                <a:schemeClr val="accent6"/>
              </a:solidFill>
            </a:endParaRPr>
          </a:p>
        </p:txBody>
      </p:sp>
      <p:graphicFrame>
        <p:nvGraphicFramePr>
          <p:cNvPr id="4" name="Diagram 3"/>
          <p:cNvGraphicFramePr/>
          <p:nvPr>
            <p:extLst>
              <p:ext uri="{D42A27DB-BD31-4B8C-83A1-F6EECF244321}">
                <p14:modId xmlns:p14="http://schemas.microsoft.com/office/powerpoint/2010/main" val="2208143760"/>
              </p:ext>
            </p:extLst>
          </p:nvPr>
        </p:nvGraphicFramePr>
        <p:xfrm>
          <a:off x="335359" y="788523"/>
          <a:ext cx="11424039" cy="53287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11546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988FD65-247D-4210-B048-12258ADD0D92}"/>
              </a:ext>
            </a:extLst>
          </p:cNvPr>
          <p:cNvSpPr>
            <a:spLocks noGrp="1"/>
          </p:cNvSpPr>
          <p:nvPr>
            <p:ph type="body" sz="quarter" idx="11"/>
          </p:nvPr>
        </p:nvSpPr>
        <p:spPr>
          <a:xfrm>
            <a:off x="1781443" y="1871462"/>
            <a:ext cx="7079318" cy="773569"/>
          </a:xfrm>
        </p:spPr>
        <p:txBody>
          <a:bodyPr/>
          <a:lstStyle/>
          <a:p>
            <a:r>
              <a:rPr lang="en-GB" b="1" dirty="0"/>
              <a:t>AOB</a:t>
            </a:r>
          </a:p>
        </p:txBody>
      </p:sp>
      <p:sp>
        <p:nvSpPr>
          <p:cNvPr id="2" name="Rectangle 1">
            <a:extLst>
              <a:ext uri="{FF2B5EF4-FFF2-40B4-BE49-F238E27FC236}">
                <a16:creationId xmlns:a16="http://schemas.microsoft.com/office/drawing/2014/main" id="{B3092A0B-1CB9-47C9-8A53-DE5D46254E81}"/>
              </a:ext>
            </a:extLst>
          </p:cNvPr>
          <p:cNvSpPr/>
          <p:nvPr/>
        </p:nvSpPr>
        <p:spPr>
          <a:xfrm>
            <a:off x="1652488" y="2933189"/>
            <a:ext cx="7385186" cy="1938992"/>
          </a:xfrm>
          <a:prstGeom prst="rect">
            <a:avLst/>
          </a:prstGeom>
          <a:solidFill>
            <a:schemeClr val="bg1"/>
          </a:solidFill>
        </p:spPr>
        <p:txBody>
          <a:bodyPr wrap="square">
            <a:spAutoFit/>
          </a:bodyPr>
          <a:lstStyle/>
          <a:p>
            <a:pPr marL="342900" indent="-342900">
              <a:buFont typeface="+mj-lt"/>
              <a:buAutoNum type="arabicPeriod"/>
            </a:pPr>
            <a:endParaRPr lang="en-GB" sz="2400" b="1" kern="0" dirty="0">
              <a:solidFill>
                <a:srgbClr val="454545"/>
              </a:solidFill>
              <a:latin typeface="Arial" panose="020B0604020202020204"/>
              <a:ea typeface="+mj-ea"/>
              <a:cs typeface="+mj-cs"/>
            </a:endParaRPr>
          </a:p>
          <a:p>
            <a:pPr marL="342900" indent="-342900">
              <a:buFont typeface="+mj-lt"/>
              <a:buAutoNum type="arabicPeriod"/>
            </a:pPr>
            <a:r>
              <a:rPr lang="en-GB" sz="2400" b="1" kern="0" dirty="0">
                <a:latin typeface="Arial" panose="020B0604020202020204" pitchFamily="34" charset="0"/>
                <a:ea typeface="+mj-ea"/>
                <a:cs typeface="Arial" panose="020B0604020202020204" pitchFamily="34" charset="0"/>
              </a:rPr>
              <a:t>General discussion on impacts of coronavirus outbreak (ALL)</a:t>
            </a:r>
          </a:p>
          <a:p>
            <a:pPr marL="342900" indent="-342900">
              <a:buFont typeface="+mj-lt"/>
              <a:buAutoNum type="arabicPeriod"/>
            </a:pPr>
            <a:r>
              <a:rPr lang="en-GB" sz="2400" b="1" kern="0" dirty="0">
                <a:latin typeface="Arial" panose="020B0604020202020204" pitchFamily="34" charset="0"/>
                <a:ea typeface="+mj-ea"/>
                <a:cs typeface="Arial" panose="020B0604020202020204" pitchFamily="34" charset="0"/>
              </a:rPr>
              <a:t>2021 Panel Dates (Paul Mullen)</a:t>
            </a:r>
          </a:p>
          <a:p>
            <a:endParaRPr lang="en-GB" sz="2400" b="1" dirty="0">
              <a:latin typeface="Helvetica Neue LT Std 45 Light" panose="020B0403020202020204" pitchFamily="34" charset="0"/>
            </a:endParaRPr>
          </a:p>
        </p:txBody>
      </p:sp>
    </p:spTree>
    <p:extLst>
      <p:ext uri="{BB962C8B-B14F-4D97-AF65-F5344CB8AC3E}">
        <p14:creationId xmlns:p14="http://schemas.microsoft.com/office/powerpoint/2010/main" val="351308870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06E0AC8-6CF5-4A5E-9F2A-7C6DEBE7AD75}"/>
              </a:ext>
            </a:extLst>
          </p:cNvPr>
          <p:cNvSpPr/>
          <p:nvPr/>
        </p:nvSpPr>
        <p:spPr>
          <a:xfrm>
            <a:off x="3279912" y="110901"/>
            <a:ext cx="5088835" cy="71561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b="1" dirty="0">
                <a:ln w="0"/>
                <a:solidFill>
                  <a:schemeClr val="bg1"/>
                </a:solidFill>
                <a:effectLst>
                  <a:outerShdw blurRad="38100" dist="19050" dir="2700000" algn="tl" rotWithShape="0">
                    <a:schemeClr val="dk1">
                      <a:alpha val="40000"/>
                    </a:schemeClr>
                  </a:outerShdw>
                </a:effectLst>
              </a:rPr>
              <a:t>CUSC 2021 - Panel dates</a:t>
            </a:r>
            <a:endParaRPr lang="en-US" b="1" dirty="0">
              <a:ln w="0"/>
              <a:solidFill>
                <a:schemeClr val="bg1"/>
              </a:solidFill>
              <a:effectLst>
                <a:outerShdw blurRad="38100" dist="19050" dir="2700000" algn="tl" rotWithShape="0">
                  <a:schemeClr val="dk1">
                    <a:alpha val="40000"/>
                  </a:schemeClr>
                </a:outerShdw>
              </a:effectLst>
            </a:endParaRPr>
          </a:p>
        </p:txBody>
      </p:sp>
      <p:graphicFrame>
        <p:nvGraphicFramePr>
          <p:cNvPr id="10" name="Table 9">
            <a:extLst>
              <a:ext uri="{FF2B5EF4-FFF2-40B4-BE49-F238E27FC236}">
                <a16:creationId xmlns:a16="http://schemas.microsoft.com/office/drawing/2014/main" id="{7FEBE836-2234-43F0-854B-90B8D73D9E5E}"/>
              </a:ext>
            </a:extLst>
          </p:cNvPr>
          <p:cNvGraphicFramePr>
            <a:graphicFrameLocks noGrp="1"/>
          </p:cNvGraphicFramePr>
          <p:nvPr>
            <p:extLst>
              <p:ext uri="{D42A27DB-BD31-4B8C-83A1-F6EECF244321}">
                <p14:modId xmlns:p14="http://schemas.microsoft.com/office/powerpoint/2010/main" val="2067610838"/>
              </p:ext>
            </p:extLst>
          </p:nvPr>
        </p:nvGraphicFramePr>
        <p:xfrm>
          <a:off x="192156" y="967392"/>
          <a:ext cx="11807687" cy="4757680"/>
        </p:xfrm>
        <a:graphic>
          <a:graphicData uri="http://schemas.openxmlformats.org/drawingml/2006/table">
            <a:tbl>
              <a:tblPr firstRow="1" bandRow="1">
                <a:tableStyleId>{00A15C55-8517-42AA-B614-E9B94910E393}</a:tableStyleId>
              </a:tblPr>
              <a:tblGrid>
                <a:gridCol w="2511287">
                  <a:extLst>
                    <a:ext uri="{9D8B030D-6E8A-4147-A177-3AD203B41FA5}">
                      <a16:colId xmlns:a16="http://schemas.microsoft.com/office/drawing/2014/main" val="1040491326"/>
                    </a:ext>
                  </a:extLst>
                </a:gridCol>
                <a:gridCol w="2307733">
                  <a:extLst>
                    <a:ext uri="{9D8B030D-6E8A-4147-A177-3AD203B41FA5}">
                      <a16:colId xmlns:a16="http://schemas.microsoft.com/office/drawing/2014/main" val="1621856735"/>
                    </a:ext>
                  </a:extLst>
                </a:gridCol>
                <a:gridCol w="2270229">
                  <a:extLst>
                    <a:ext uri="{9D8B030D-6E8A-4147-A177-3AD203B41FA5}">
                      <a16:colId xmlns:a16="http://schemas.microsoft.com/office/drawing/2014/main" val="757160084"/>
                    </a:ext>
                  </a:extLst>
                </a:gridCol>
                <a:gridCol w="2270229">
                  <a:extLst>
                    <a:ext uri="{9D8B030D-6E8A-4147-A177-3AD203B41FA5}">
                      <a16:colId xmlns:a16="http://schemas.microsoft.com/office/drawing/2014/main" val="2088933556"/>
                    </a:ext>
                  </a:extLst>
                </a:gridCol>
                <a:gridCol w="2448209">
                  <a:extLst>
                    <a:ext uri="{9D8B030D-6E8A-4147-A177-3AD203B41FA5}">
                      <a16:colId xmlns:a16="http://schemas.microsoft.com/office/drawing/2014/main" val="1958492886"/>
                    </a:ext>
                  </a:extLst>
                </a:gridCol>
              </a:tblGrid>
              <a:tr h="725135">
                <a:tc>
                  <a:txBody>
                    <a:bodyPr/>
                    <a:lstStyle/>
                    <a:p>
                      <a:r>
                        <a:rPr lang="en-GB" sz="1600" dirty="0"/>
                        <a:t>CUSC</a:t>
                      </a:r>
                      <a:endParaRPr lang="en-US" sz="1600" dirty="0"/>
                    </a:p>
                  </a:txBody>
                  <a:tcPr/>
                </a:tc>
                <a:tc>
                  <a:txBody>
                    <a:bodyPr/>
                    <a:lstStyle/>
                    <a:p>
                      <a:r>
                        <a:rPr lang="en-GB" sz="1600" dirty="0"/>
                        <a:t>(TCMF) CUSC Development Forum</a:t>
                      </a:r>
                      <a:endParaRPr lang="en-US" sz="1600" dirty="0"/>
                    </a:p>
                  </a:txBody>
                  <a:tcPr/>
                </a:tc>
                <a:tc>
                  <a:txBody>
                    <a:bodyPr/>
                    <a:lstStyle/>
                    <a:p>
                      <a:r>
                        <a:rPr lang="en-GB" sz="1600" dirty="0"/>
                        <a:t>Modification Submission Date</a:t>
                      </a:r>
                      <a:endParaRPr lang="en-US" sz="1600" dirty="0"/>
                    </a:p>
                  </a:txBody>
                  <a:tcPr/>
                </a:tc>
                <a:tc>
                  <a:txBody>
                    <a:bodyPr/>
                    <a:lstStyle/>
                    <a:p>
                      <a:r>
                        <a:rPr lang="en-GB" sz="1600" dirty="0"/>
                        <a:t>Papers Day</a:t>
                      </a:r>
                      <a:endParaRPr lang="en-US" sz="1600" dirty="0"/>
                    </a:p>
                  </a:txBody>
                  <a:tcPr/>
                </a:tc>
                <a:tc>
                  <a:txBody>
                    <a:bodyPr/>
                    <a:lstStyle/>
                    <a:p>
                      <a:r>
                        <a:rPr lang="en-GB" sz="1600" dirty="0"/>
                        <a:t>Panel Dates</a:t>
                      </a:r>
                      <a:endParaRPr lang="en-US" sz="1600" dirty="0"/>
                    </a:p>
                  </a:txBody>
                  <a:tcPr/>
                </a:tc>
                <a:extLst>
                  <a:ext uri="{0D108BD9-81ED-4DB2-BD59-A6C34878D82A}">
                    <a16:rowId xmlns:a16="http://schemas.microsoft.com/office/drawing/2014/main" val="1078755609"/>
                  </a:ext>
                </a:extLst>
              </a:tr>
              <a:tr h="336115">
                <a:tc>
                  <a:txBody>
                    <a:bodyPr/>
                    <a:lstStyle/>
                    <a:p>
                      <a:r>
                        <a:rPr lang="en-GB" sz="1600" dirty="0"/>
                        <a:t>January</a:t>
                      </a:r>
                      <a:endParaRPr lang="en-US" sz="1600" dirty="0"/>
                    </a:p>
                  </a:txBody>
                  <a:tcPr/>
                </a:tc>
                <a:tc>
                  <a:txBody>
                    <a:bodyPr/>
                    <a:lstStyle/>
                    <a:p>
                      <a:r>
                        <a:rPr lang="en-GB" sz="1600" dirty="0">
                          <a:solidFill>
                            <a:schemeClr val="tx1"/>
                          </a:solidFill>
                        </a:rPr>
                        <a:t>7</a:t>
                      </a:r>
                      <a:endParaRPr lang="en-US" sz="1600" dirty="0">
                        <a:solidFill>
                          <a:schemeClr val="tx1"/>
                        </a:solidFill>
                      </a:endParaRPr>
                    </a:p>
                  </a:txBody>
                  <a:tcPr/>
                </a:tc>
                <a:tc>
                  <a:txBody>
                    <a:bodyPr/>
                    <a:lstStyle/>
                    <a:p>
                      <a:r>
                        <a:rPr lang="en-GB" sz="1600" dirty="0">
                          <a:solidFill>
                            <a:schemeClr val="tx1"/>
                          </a:solidFill>
                        </a:rPr>
                        <a:t>14</a:t>
                      </a:r>
                      <a:endParaRPr lang="en-US" sz="1600" dirty="0">
                        <a:solidFill>
                          <a:schemeClr val="tx1"/>
                        </a:solidFill>
                      </a:endParaRPr>
                    </a:p>
                  </a:txBody>
                  <a:tcPr/>
                </a:tc>
                <a:tc>
                  <a:txBody>
                    <a:bodyPr/>
                    <a:lstStyle/>
                    <a:p>
                      <a:r>
                        <a:rPr lang="en-GB" sz="1600" dirty="0">
                          <a:solidFill>
                            <a:schemeClr val="tx1"/>
                          </a:solidFill>
                        </a:rPr>
                        <a:t>21</a:t>
                      </a:r>
                      <a:endParaRPr lang="en-US" sz="1600" dirty="0">
                        <a:solidFill>
                          <a:schemeClr val="tx1"/>
                        </a:solidFill>
                      </a:endParaRPr>
                    </a:p>
                  </a:txBody>
                  <a:tcPr/>
                </a:tc>
                <a:tc>
                  <a:txBody>
                    <a:bodyPr/>
                    <a:lstStyle/>
                    <a:p>
                      <a:r>
                        <a:rPr lang="en-GB" sz="1600" dirty="0">
                          <a:solidFill>
                            <a:schemeClr val="tx1"/>
                          </a:solidFill>
                        </a:rPr>
                        <a:t>29</a:t>
                      </a:r>
                      <a:endParaRPr lang="en-US" sz="1600" dirty="0">
                        <a:solidFill>
                          <a:schemeClr val="tx1"/>
                        </a:solidFill>
                      </a:endParaRPr>
                    </a:p>
                  </a:txBody>
                  <a:tcPr/>
                </a:tc>
                <a:extLst>
                  <a:ext uri="{0D108BD9-81ED-4DB2-BD59-A6C34878D82A}">
                    <a16:rowId xmlns:a16="http://schemas.microsoft.com/office/drawing/2014/main" val="1539905153"/>
                  </a:ext>
                </a:extLst>
              </a:tr>
              <a:tr h="336115">
                <a:tc>
                  <a:txBody>
                    <a:bodyPr/>
                    <a:lstStyle/>
                    <a:p>
                      <a:r>
                        <a:rPr lang="en-GB" sz="1600" dirty="0"/>
                        <a:t>February</a:t>
                      </a:r>
                      <a:endParaRPr lang="en-US" sz="1600" dirty="0"/>
                    </a:p>
                  </a:txBody>
                  <a:tcPr/>
                </a:tc>
                <a:tc>
                  <a:txBody>
                    <a:bodyPr/>
                    <a:lstStyle/>
                    <a:p>
                      <a:r>
                        <a:rPr lang="en-GB" sz="1600" dirty="0">
                          <a:solidFill>
                            <a:schemeClr val="tx1"/>
                          </a:solidFill>
                        </a:rPr>
                        <a:t>4</a:t>
                      </a:r>
                      <a:endParaRPr lang="en-US" sz="1600" dirty="0">
                        <a:solidFill>
                          <a:schemeClr val="tx1"/>
                        </a:solidFill>
                      </a:endParaRPr>
                    </a:p>
                  </a:txBody>
                  <a:tcPr/>
                </a:tc>
                <a:tc>
                  <a:txBody>
                    <a:bodyPr/>
                    <a:lstStyle/>
                    <a:p>
                      <a:r>
                        <a:rPr lang="en-GB" sz="1600" dirty="0">
                          <a:solidFill>
                            <a:schemeClr val="tx1"/>
                          </a:solidFill>
                        </a:rPr>
                        <a:t>11</a:t>
                      </a:r>
                      <a:endParaRPr lang="en-US" sz="1600" dirty="0">
                        <a:solidFill>
                          <a:schemeClr val="tx1"/>
                        </a:solidFill>
                      </a:endParaRPr>
                    </a:p>
                  </a:txBody>
                  <a:tcPr/>
                </a:tc>
                <a:tc>
                  <a:txBody>
                    <a:bodyPr/>
                    <a:lstStyle/>
                    <a:p>
                      <a:r>
                        <a:rPr lang="en-GB" sz="1600" dirty="0">
                          <a:solidFill>
                            <a:schemeClr val="tx1"/>
                          </a:solidFill>
                        </a:rPr>
                        <a:t>18</a:t>
                      </a:r>
                      <a:endParaRPr lang="en-US" sz="1600" dirty="0">
                        <a:solidFill>
                          <a:schemeClr val="tx1"/>
                        </a:solidFill>
                      </a:endParaRPr>
                    </a:p>
                  </a:txBody>
                  <a:tcPr/>
                </a:tc>
                <a:tc>
                  <a:txBody>
                    <a:bodyPr/>
                    <a:lstStyle/>
                    <a:p>
                      <a:r>
                        <a:rPr lang="en-GB" sz="1600" dirty="0">
                          <a:solidFill>
                            <a:schemeClr val="tx1"/>
                          </a:solidFill>
                        </a:rPr>
                        <a:t>26</a:t>
                      </a:r>
                      <a:endParaRPr lang="en-US" sz="1600" dirty="0">
                        <a:solidFill>
                          <a:schemeClr val="tx1"/>
                        </a:solidFill>
                      </a:endParaRPr>
                    </a:p>
                  </a:txBody>
                  <a:tcPr/>
                </a:tc>
                <a:extLst>
                  <a:ext uri="{0D108BD9-81ED-4DB2-BD59-A6C34878D82A}">
                    <a16:rowId xmlns:a16="http://schemas.microsoft.com/office/drawing/2014/main" val="2801974185"/>
                  </a:ext>
                </a:extLst>
              </a:tr>
              <a:tr h="336115">
                <a:tc>
                  <a:txBody>
                    <a:bodyPr/>
                    <a:lstStyle/>
                    <a:p>
                      <a:r>
                        <a:rPr lang="en-GB" sz="1600" dirty="0"/>
                        <a:t>March</a:t>
                      </a:r>
                      <a:endParaRPr lang="en-US" sz="1600" dirty="0"/>
                    </a:p>
                  </a:txBody>
                  <a:tcPr/>
                </a:tc>
                <a:tc>
                  <a:txBody>
                    <a:bodyPr/>
                    <a:lstStyle/>
                    <a:p>
                      <a:r>
                        <a:rPr lang="en-GB" sz="1600" dirty="0">
                          <a:solidFill>
                            <a:schemeClr val="tx1"/>
                          </a:solidFill>
                        </a:rPr>
                        <a:t>4</a:t>
                      </a:r>
                      <a:endParaRPr lang="en-US" sz="1600" dirty="0">
                        <a:solidFill>
                          <a:schemeClr val="tx1"/>
                        </a:solidFill>
                      </a:endParaRPr>
                    </a:p>
                  </a:txBody>
                  <a:tcPr/>
                </a:tc>
                <a:tc>
                  <a:txBody>
                    <a:bodyPr/>
                    <a:lstStyle/>
                    <a:p>
                      <a:r>
                        <a:rPr lang="en-GB" sz="1600" dirty="0">
                          <a:solidFill>
                            <a:schemeClr val="tx1"/>
                          </a:solidFill>
                        </a:rPr>
                        <a:t>11</a:t>
                      </a:r>
                      <a:endParaRPr lang="en-US" sz="1600" dirty="0">
                        <a:solidFill>
                          <a:schemeClr val="tx1"/>
                        </a:solidFill>
                      </a:endParaRPr>
                    </a:p>
                  </a:txBody>
                  <a:tcPr/>
                </a:tc>
                <a:tc>
                  <a:txBody>
                    <a:bodyPr/>
                    <a:lstStyle/>
                    <a:p>
                      <a:r>
                        <a:rPr lang="en-GB" sz="1600" dirty="0">
                          <a:solidFill>
                            <a:schemeClr val="tx1"/>
                          </a:solidFill>
                        </a:rPr>
                        <a:t>18</a:t>
                      </a:r>
                      <a:endParaRPr lang="en-US" sz="1600" dirty="0">
                        <a:solidFill>
                          <a:schemeClr val="tx1"/>
                        </a:solidFill>
                      </a:endParaRPr>
                    </a:p>
                  </a:txBody>
                  <a:tcPr/>
                </a:tc>
                <a:tc>
                  <a:txBody>
                    <a:bodyPr/>
                    <a:lstStyle/>
                    <a:p>
                      <a:r>
                        <a:rPr lang="en-GB" sz="1600" dirty="0">
                          <a:solidFill>
                            <a:schemeClr val="tx1"/>
                          </a:solidFill>
                        </a:rPr>
                        <a:t>26</a:t>
                      </a:r>
                      <a:endParaRPr lang="en-US" sz="1600" dirty="0">
                        <a:solidFill>
                          <a:schemeClr val="tx1"/>
                        </a:solidFill>
                      </a:endParaRPr>
                    </a:p>
                  </a:txBody>
                  <a:tcPr/>
                </a:tc>
                <a:extLst>
                  <a:ext uri="{0D108BD9-81ED-4DB2-BD59-A6C34878D82A}">
                    <a16:rowId xmlns:a16="http://schemas.microsoft.com/office/drawing/2014/main" val="1991307193"/>
                  </a:ext>
                </a:extLst>
              </a:tr>
              <a:tr h="336115">
                <a:tc>
                  <a:txBody>
                    <a:bodyPr/>
                    <a:lstStyle/>
                    <a:p>
                      <a:r>
                        <a:rPr lang="en-GB" sz="1600" dirty="0"/>
                        <a:t>April</a:t>
                      </a:r>
                      <a:endParaRPr lang="en-US" sz="1600" dirty="0"/>
                    </a:p>
                  </a:txBody>
                  <a:tcPr/>
                </a:tc>
                <a:tc>
                  <a:txBody>
                    <a:bodyPr/>
                    <a:lstStyle/>
                    <a:p>
                      <a:r>
                        <a:rPr lang="en-GB" sz="1600" dirty="0">
                          <a:solidFill>
                            <a:schemeClr val="tx1"/>
                          </a:solidFill>
                        </a:rPr>
                        <a:t>8</a:t>
                      </a:r>
                      <a:endParaRPr lang="en-US" sz="1600" dirty="0">
                        <a:solidFill>
                          <a:schemeClr val="tx1"/>
                        </a:solidFill>
                      </a:endParaRPr>
                    </a:p>
                  </a:txBody>
                  <a:tcPr/>
                </a:tc>
                <a:tc>
                  <a:txBody>
                    <a:bodyPr/>
                    <a:lstStyle/>
                    <a:p>
                      <a:r>
                        <a:rPr lang="en-GB" sz="1600" dirty="0">
                          <a:solidFill>
                            <a:schemeClr val="tx1"/>
                          </a:solidFill>
                        </a:rPr>
                        <a:t>15</a:t>
                      </a:r>
                      <a:endParaRPr lang="en-US" sz="1600" dirty="0">
                        <a:solidFill>
                          <a:schemeClr val="tx1"/>
                        </a:solidFill>
                      </a:endParaRPr>
                    </a:p>
                  </a:txBody>
                  <a:tcPr/>
                </a:tc>
                <a:tc>
                  <a:txBody>
                    <a:bodyPr/>
                    <a:lstStyle/>
                    <a:p>
                      <a:r>
                        <a:rPr lang="en-GB" sz="1600" dirty="0">
                          <a:solidFill>
                            <a:schemeClr val="tx1"/>
                          </a:solidFill>
                        </a:rPr>
                        <a:t>22</a:t>
                      </a:r>
                      <a:endParaRPr lang="en-US" sz="1600" dirty="0">
                        <a:solidFill>
                          <a:schemeClr val="tx1"/>
                        </a:solidFill>
                      </a:endParaRPr>
                    </a:p>
                  </a:txBody>
                  <a:tcPr/>
                </a:tc>
                <a:tc>
                  <a:txBody>
                    <a:bodyPr/>
                    <a:lstStyle/>
                    <a:p>
                      <a:r>
                        <a:rPr lang="en-GB" sz="1600" dirty="0">
                          <a:solidFill>
                            <a:schemeClr val="tx1"/>
                          </a:solidFill>
                        </a:rPr>
                        <a:t>30</a:t>
                      </a:r>
                      <a:endParaRPr lang="en-US" sz="1600" dirty="0">
                        <a:solidFill>
                          <a:schemeClr val="tx1"/>
                        </a:solidFill>
                      </a:endParaRPr>
                    </a:p>
                  </a:txBody>
                  <a:tcPr/>
                </a:tc>
                <a:extLst>
                  <a:ext uri="{0D108BD9-81ED-4DB2-BD59-A6C34878D82A}">
                    <a16:rowId xmlns:a16="http://schemas.microsoft.com/office/drawing/2014/main" val="835973169"/>
                  </a:ext>
                </a:extLst>
              </a:tr>
              <a:tr h="336115">
                <a:tc>
                  <a:txBody>
                    <a:bodyPr/>
                    <a:lstStyle/>
                    <a:p>
                      <a:r>
                        <a:rPr lang="en-GB" sz="1600" dirty="0"/>
                        <a:t>May</a:t>
                      </a:r>
                      <a:endParaRPr lang="en-US" sz="1600" dirty="0"/>
                    </a:p>
                  </a:txBody>
                  <a:tcPr/>
                </a:tc>
                <a:tc>
                  <a:txBody>
                    <a:bodyPr/>
                    <a:lstStyle/>
                    <a:p>
                      <a:r>
                        <a:rPr lang="en-GB" sz="1600" dirty="0">
                          <a:solidFill>
                            <a:schemeClr val="tx1"/>
                          </a:solidFill>
                        </a:rPr>
                        <a:t>6</a:t>
                      </a:r>
                      <a:endParaRPr lang="en-US" sz="1600" dirty="0">
                        <a:solidFill>
                          <a:schemeClr val="tx1"/>
                        </a:solidFill>
                      </a:endParaRPr>
                    </a:p>
                  </a:txBody>
                  <a:tcPr/>
                </a:tc>
                <a:tc>
                  <a:txBody>
                    <a:bodyPr/>
                    <a:lstStyle/>
                    <a:p>
                      <a:r>
                        <a:rPr lang="en-GB" sz="1600" dirty="0">
                          <a:solidFill>
                            <a:schemeClr val="tx1"/>
                          </a:solidFill>
                        </a:rPr>
                        <a:t>13</a:t>
                      </a:r>
                      <a:endParaRPr lang="en-US" sz="1600" dirty="0">
                        <a:solidFill>
                          <a:schemeClr val="tx1"/>
                        </a:solidFill>
                      </a:endParaRPr>
                    </a:p>
                  </a:txBody>
                  <a:tcPr/>
                </a:tc>
                <a:tc>
                  <a:txBody>
                    <a:bodyPr/>
                    <a:lstStyle/>
                    <a:p>
                      <a:r>
                        <a:rPr lang="en-GB" sz="1600" dirty="0">
                          <a:solidFill>
                            <a:schemeClr val="tx1"/>
                          </a:solidFill>
                        </a:rPr>
                        <a:t>20</a:t>
                      </a:r>
                      <a:endParaRPr lang="en-US" sz="1600" dirty="0">
                        <a:solidFill>
                          <a:schemeClr val="tx1"/>
                        </a:solidFill>
                      </a:endParaRPr>
                    </a:p>
                  </a:txBody>
                  <a:tcPr/>
                </a:tc>
                <a:tc>
                  <a:txBody>
                    <a:bodyPr/>
                    <a:lstStyle/>
                    <a:p>
                      <a:r>
                        <a:rPr lang="en-GB" sz="1600" dirty="0">
                          <a:solidFill>
                            <a:schemeClr val="tx1"/>
                          </a:solidFill>
                        </a:rPr>
                        <a:t>28</a:t>
                      </a:r>
                      <a:endParaRPr lang="en-US" sz="1600" dirty="0">
                        <a:solidFill>
                          <a:schemeClr val="tx1"/>
                        </a:solidFill>
                      </a:endParaRPr>
                    </a:p>
                  </a:txBody>
                  <a:tcPr/>
                </a:tc>
                <a:extLst>
                  <a:ext uri="{0D108BD9-81ED-4DB2-BD59-A6C34878D82A}">
                    <a16:rowId xmlns:a16="http://schemas.microsoft.com/office/drawing/2014/main" val="2027865664"/>
                  </a:ext>
                </a:extLst>
              </a:tr>
              <a:tr h="336115">
                <a:tc>
                  <a:txBody>
                    <a:bodyPr/>
                    <a:lstStyle/>
                    <a:p>
                      <a:r>
                        <a:rPr lang="en-GB" sz="1600" dirty="0"/>
                        <a:t>June</a:t>
                      </a:r>
                      <a:endParaRPr lang="en-US" sz="1600" dirty="0"/>
                    </a:p>
                  </a:txBody>
                  <a:tcPr/>
                </a:tc>
                <a:tc>
                  <a:txBody>
                    <a:bodyPr/>
                    <a:lstStyle/>
                    <a:p>
                      <a:r>
                        <a:rPr lang="en-GB" sz="1600" dirty="0">
                          <a:solidFill>
                            <a:schemeClr val="tx1"/>
                          </a:solidFill>
                        </a:rPr>
                        <a:t>3</a:t>
                      </a:r>
                      <a:endParaRPr lang="en-US" sz="1600" dirty="0">
                        <a:solidFill>
                          <a:schemeClr val="tx1"/>
                        </a:solidFill>
                      </a:endParaRPr>
                    </a:p>
                  </a:txBody>
                  <a:tcPr/>
                </a:tc>
                <a:tc>
                  <a:txBody>
                    <a:bodyPr/>
                    <a:lstStyle/>
                    <a:p>
                      <a:r>
                        <a:rPr lang="en-GB" sz="1600" dirty="0">
                          <a:solidFill>
                            <a:schemeClr val="tx1"/>
                          </a:solidFill>
                        </a:rPr>
                        <a:t>10</a:t>
                      </a:r>
                      <a:endParaRPr lang="en-US" sz="1600" dirty="0">
                        <a:solidFill>
                          <a:schemeClr val="tx1"/>
                        </a:solidFill>
                      </a:endParaRPr>
                    </a:p>
                  </a:txBody>
                  <a:tcPr/>
                </a:tc>
                <a:tc>
                  <a:txBody>
                    <a:bodyPr/>
                    <a:lstStyle/>
                    <a:p>
                      <a:r>
                        <a:rPr lang="en-GB" sz="1600" dirty="0">
                          <a:solidFill>
                            <a:schemeClr val="tx1"/>
                          </a:solidFill>
                        </a:rPr>
                        <a:t>17</a:t>
                      </a:r>
                      <a:endParaRPr lang="en-US" sz="1600" dirty="0">
                        <a:solidFill>
                          <a:schemeClr val="tx1"/>
                        </a:solidFill>
                      </a:endParaRPr>
                    </a:p>
                  </a:txBody>
                  <a:tcPr/>
                </a:tc>
                <a:tc>
                  <a:txBody>
                    <a:bodyPr/>
                    <a:lstStyle/>
                    <a:p>
                      <a:r>
                        <a:rPr lang="en-GB" sz="1600" dirty="0">
                          <a:solidFill>
                            <a:schemeClr val="tx1"/>
                          </a:solidFill>
                        </a:rPr>
                        <a:t>25</a:t>
                      </a:r>
                      <a:endParaRPr lang="en-US" sz="1600" dirty="0">
                        <a:solidFill>
                          <a:schemeClr val="tx1"/>
                        </a:solidFill>
                      </a:endParaRPr>
                    </a:p>
                  </a:txBody>
                  <a:tcPr/>
                </a:tc>
                <a:extLst>
                  <a:ext uri="{0D108BD9-81ED-4DB2-BD59-A6C34878D82A}">
                    <a16:rowId xmlns:a16="http://schemas.microsoft.com/office/drawing/2014/main" val="2628216540"/>
                  </a:ext>
                </a:extLst>
              </a:tr>
              <a:tr h="336115">
                <a:tc>
                  <a:txBody>
                    <a:bodyPr/>
                    <a:lstStyle/>
                    <a:p>
                      <a:r>
                        <a:rPr lang="en-GB" sz="1600" dirty="0"/>
                        <a:t>July</a:t>
                      </a:r>
                      <a:endParaRPr lang="en-US" sz="1600" dirty="0"/>
                    </a:p>
                  </a:txBody>
                  <a:tcPr/>
                </a:tc>
                <a:tc>
                  <a:txBody>
                    <a:bodyPr/>
                    <a:lstStyle/>
                    <a:p>
                      <a:r>
                        <a:rPr lang="en-GB" sz="1600" dirty="0">
                          <a:solidFill>
                            <a:schemeClr val="tx1"/>
                          </a:solidFill>
                        </a:rPr>
                        <a:t>8</a:t>
                      </a:r>
                      <a:endParaRPr lang="en-US" sz="1600" dirty="0">
                        <a:solidFill>
                          <a:schemeClr val="tx1"/>
                        </a:solidFill>
                      </a:endParaRPr>
                    </a:p>
                  </a:txBody>
                  <a:tcPr/>
                </a:tc>
                <a:tc>
                  <a:txBody>
                    <a:bodyPr/>
                    <a:lstStyle/>
                    <a:p>
                      <a:r>
                        <a:rPr lang="en-GB" sz="1600" dirty="0">
                          <a:solidFill>
                            <a:schemeClr val="tx1"/>
                          </a:solidFill>
                        </a:rPr>
                        <a:t>15</a:t>
                      </a:r>
                      <a:endParaRPr lang="en-US" sz="1600" dirty="0">
                        <a:solidFill>
                          <a:schemeClr val="tx1"/>
                        </a:solidFill>
                      </a:endParaRPr>
                    </a:p>
                  </a:txBody>
                  <a:tcPr/>
                </a:tc>
                <a:tc>
                  <a:txBody>
                    <a:bodyPr/>
                    <a:lstStyle/>
                    <a:p>
                      <a:r>
                        <a:rPr lang="en-GB" sz="1600" dirty="0">
                          <a:solidFill>
                            <a:schemeClr val="tx1"/>
                          </a:solidFill>
                        </a:rPr>
                        <a:t>22</a:t>
                      </a:r>
                      <a:endParaRPr lang="en-US" sz="1600" dirty="0">
                        <a:solidFill>
                          <a:schemeClr val="tx1"/>
                        </a:solidFill>
                      </a:endParaRPr>
                    </a:p>
                  </a:txBody>
                  <a:tcPr/>
                </a:tc>
                <a:tc>
                  <a:txBody>
                    <a:bodyPr/>
                    <a:lstStyle/>
                    <a:p>
                      <a:r>
                        <a:rPr lang="en-GB" sz="1600" dirty="0">
                          <a:solidFill>
                            <a:schemeClr val="tx1"/>
                          </a:solidFill>
                        </a:rPr>
                        <a:t>30</a:t>
                      </a:r>
                      <a:endParaRPr lang="en-US" sz="1600" dirty="0">
                        <a:solidFill>
                          <a:schemeClr val="tx1"/>
                        </a:solidFill>
                      </a:endParaRPr>
                    </a:p>
                  </a:txBody>
                  <a:tcPr/>
                </a:tc>
                <a:extLst>
                  <a:ext uri="{0D108BD9-81ED-4DB2-BD59-A6C34878D82A}">
                    <a16:rowId xmlns:a16="http://schemas.microsoft.com/office/drawing/2014/main" val="1236160098"/>
                  </a:ext>
                </a:extLst>
              </a:tr>
              <a:tr h="336115">
                <a:tc>
                  <a:txBody>
                    <a:bodyPr/>
                    <a:lstStyle/>
                    <a:p>
                      <a:r>
                        <a:rPr lang="en-GB" sz="1600" dirty="0"/>
                        <a:t>August</a:t>
                      </a:r>
                      <a:endParaRPr lang="en-US" sz="1600" dirty="0"/>
                    </a:p>
                  </a:txBody>
                  <a:tcPr/>
                </a:tc>
                <a:tc>
                  <a:txBody>
                    <a:bodyPr/>
                    <a:lstStyle/>
                    <a:p>
                      <a:r>
                        <a:rPr lang="en-GB" sz="1600" dirty="0">
                          <a:solidFill>
                            <a:schemeClr val="tx1"/>
                          </a:solidFill>
                        </a:rPr>
                        <a:t>5</a:t>
                      </a:r>
                      <a:endParaRPr lang="en-US" sz="1600" dirty="0">
                        <a:solidFill>
                          <a:schemeClr val="tx1"/>
                        </a:solidFill>
                      </a:endParaRPr>
                    </a:p>
                  </a:txBody>
                  <a:tcPr/>
                </a:tc>
                <a:tc>
                  <a:txBody>
                    <a:bodyPr/>
                    <a:lstStyle/>
                    <a:p>
                      <a:r>
                        <a:rPr lang="en-GB" sz="1600" dirty="0">
                          <a:solidFill>
                            <a:schemeClr val="tx1"/>
                          </a:solidFill>
                        </a:rPr>
                        <a:t>12</a:t>
                      </a:r>
                      <a:endParaRPr lang="en-US" sz="1600" dirty="0">
                        <a:solidFill>
                          <a:schemeClr val="tx1"/>
                        </a:solidFill>
                      </a:endParaRPr>
                    </a:p>
                  </a:txBody>
                  <a:tcPr/>
                </a:tc>
                <a:tc>
                  <a:txBody>
                    <a:bodyPr/>
                    <a:lstStyle/>
                    <a:p>
                      <a:r>
                        <a:rPr lang="en-GB" sz="1600" dirty="0">
                          <a:solidFill>
                            <a:schemeClr val="tx1"/>
                          </a:solidFill>
                        </a:rPr>
                        <a:t>19</a:t>
                      </a:r>
                      <a:endParaRPr lang="en-US" sz="1600" dirty="0">
                        <a:solidFill>
                          <a:schemeClr val="tx1"/>
                        </a:solidFill>
                      </a:endParaRPr>
                    </a:p>
                  </a:txBody>
                  <a:tcPr/>
                </a:tc>
                <a:tc>
                  <a:txBody>
                    <a:bodyPr/>
                    <a:lstStyle/>
                    <a:p>
                      <a:r>
                        <a:rPr lang="en-GB" sz="1600" dirty="0">
                          <a:solidFill>
                            <a:schemeClr val="tx1"/>
                          </a:solidFill>
                        </a:rPr>
                        <a:t>27</a:t>
                      </a:r>
                      <a:endParaRPr lang="en-US" sz="1600" dirty="0">
                        <a:solidFill>
                          <a:schemeClr val="tx1"/>
                        </a:solidFill>
                      </a:endParaRPr>
                    </a:p>
                  </a:txBody>
                  <a:tcPr/>
                </a:tc>
                <a:extLst>
                  <a:ext uri="{0D108BD9-81ED-4DB2-BD59-A6C34878D82A}">
                    <a16:rowId xmlns:a16="http://schemas.microsoft.com/office/drawing/2014/main" val="1061825021"/>
                  </a:ext>
                </a:extLst>
              </a:tr>
              <a:tr h="336115">
                <a:tc>
                  <a:txBody>
                    <a:bodyPr/>
                    <a:lstStyle/>
                    <a:p>
                      <a:r>
                        <a:rPr lang="en-GB" sz="1600" dirty="0"/>
                        <a:t>September</a:t>
                      </a:r>
                      <a:endParaRPr lang="en-US" sz="1600" dirty="0"/>
                    </a:p>
                  </a:txBody>
                  <a:tcPr/>
                </a:tc>
                <a:tc>
                  <a:txBody>
                    <a:bodyPr/>
                    <a:lstStyle/>
                    <a:p>
                      <a:r>
                        <a:rPr lang="en-GB" sz="1600" dirty="0">
                          <a:solidFill>
                            <a:schemeClr val="tx1"/>
                          </a:solidFill>
                        </a:rPr>
                        <a:t>2</a:t>
                      </a:r>
                      <a:endParaRPr lang="en-US" sz="1600" dirty="0">
                        <a:solidFill>
                          <a:schemeClr val="tx1"/>
                        </a:solidFill>
                      </a:endParaRPr>
                    </a:p>
                  </a:txBody>
                  <a:tcPr/>
                </a:tc>
                <a:tc>
                  <a:txBody>
                    <a:bodyPr/>
                    <a:lstStyle/>
                    <a:p>
                      <a:r>
                        <a:rPr lang="en-GB" sz="1600" dirty="0">
                          <a:solidFill>
                            <a:schemeClr val="tx1"/>
                          </a:solidFill>
                        </a:rPr>
                        <a:t>9</a:t>
                      </a:r>
                      <a:endParaRPr lang="en-US" sz="1600" dirty="0">
                        <a:solidFill>
                          <a:schemeClr val="tx1"/>
                        </a:solidFill>
                      </a:endParaRPr>
                    </a:p>
                  </a:txBody>
                  <a:tcPr/>
                </a:tc>
                <a:tc>
                  <a:txBody>
                    <a:bodyPr/>
                    <a:lstStyle/>
                    <a:p>
                      <a:r>
                        <a:rPr lang="en-GB" sz="1600" dirty="0">
                          <a:solidFill>
                            <a:schemeClr val="tx1"/>
                          </a:solidFill>
                        </a:rPr>
                        <a:t>16</a:t>
                      </a:r>
                      <a:endParaRPr lang="en-US" sz="1600" dirty="0">
                        <a:solidFill>
                          <a:schemeClr val="tx1"/>
                        </a:solidFill>
                      </a:endParaRPr>
                    </a:p>
                  </a:txBody>
                  <a:tcPr/>
                </a:tc>
                <a:tc>
                  <a:txBody>
                    <a:bodyPr/>
                    <a:lstStyle/>
                    <a:p>
                      <a:r>
                        <a:rPr lang="en-GB" sz="1600" dirty="0">
                          <a:solidFill>
                            <a:schemeClr val="tx1"/>
                          </a:solidFill>
                        </a:rPr>
                        <a:t>24</a:t>
                      </a:r>
                      <a:endParaRPr lang="en-US" sz="1600" dirty="0">
                        <a:solidFill>
                          <a:schemeClr val="tx1"/>
                        </a:solidFill>
                      </a:endParaRPr>
                    </a:p>
                  </a:txBody>
                  <a:tcPr/>
                </a:tc>
                <a:extLst>
                  <a:ext uri="{0D108BD9-81ED-4DB2-BD59-A6C34878D82A}">
                    <a16:rowId xmlns:a16="http://schemas.microsoft.com/office/drawing/2014/main" val="3547479428"/>
                  </a:ext>
                </a:extLst>
              </a:tr>
              <a:tr h="336115">
                <a:tc>
                  <a:txBody>
                    <a:bodyPr/>
                    <a:lstStyle/>
                    <a:p>
                      <a:r>
                        <a:rPr lang="en-GB" sz="1600" dirty="0"/>
                        <a:t>October</a:t>
                      </a:r>
                      <a:endParaRPr lang="en-US" sz="1600" dirty="0"/>
                    </a:p>
                  </a:txBody>
                  <a:tcPr/>
                </a:tc>
                <a:tc>
                  <a:txBody>
                    <a:bodyPr/>
                    <a:lstStyle/>
                    <a:p>
                      <a:r>
                        <a:rPr lang="en-GB" sz="1600" dirty="0">
                          <a:solidFill>
                            <a:schemeClr val="tx1"/>
                          </a:solidFill>
                        </a:rPr>
                        <a:t>7</a:t>
                      </a:r>
                      <a:endParaRPr lang="en-US" sz="1600" dirty="0">
                        <a:solidFill>
                          <a:schemeClr val="tx1"/>
                        </a:solidFill>
                      </a:endParaRPr>
                    </a:p>
                  </a:txBody>
                  <a:tcPr/>
                </a:tc>
                <a:tc>
                  <a:txBody>
                    <a:bodyPr/>
                    <a:lstStyle/>
                    <a:p>
                      <a:r>
                        <a:rPr lang="en-GB" sz="1600" dirty="0">
                          <a:solidFill>
                            <a:schemeClr val="tx1"/>
                          </a:solidFill>
                        </a:rPr>
                        <a:t>14</a:t>
                      </a:r>
                      <a:endParaRPr lang="en-US" sz="1600" dirty="0">
                        <a:solidFill>
                          <a:schemeClr val="tx1"/>
                        </a:solidFill>
                      </a:endParaRPr>
                    </a:p>
                  </a:txBody>
                  <a:tcPr/>
                </a:tc>
                <a:tc>
                  <a:txBody>
                    <a:bodyPr/>
                    <a:lstStyle/>
                    <a:p>
                      <a:r>
                        <a:rPr lang="en-GB" sz="1600" dirty="0">
                          <a:solidFill>
                            <a:schemeClr val="tx1"/>
                          </a:solidFill>
                        </a:rPr>
                        <a:t>21</a:t>
                      </a:r>
                      <a:endParaRPr lang="en-US" sz="1600" dirty="0">
                        <a:solidFill>
                          <a:schemeClr val="tx1"/>
                        </a:solidFill>
                      </a:endParaRPr>
                    </a:p>
                  </a:txBody>
                  <a:tcPr/>
                </a:tc>
                <a:tc>
                  <a:txBody>
                    <a:bodyPr/>
                    <a:lstStyle/>
                    <a:p>
                      <a:r>
                        <a:rPr lang="en-GB" sz="1600" dirty="0">
                          <a:solidFill>
                            <a:schemeClr val="tx1"/>
                          </a:solidFill>
                        </a:rPr>
                        <a:t>29</a:t>
                      </a:r>
                      <a:endParaRPr lang="en-US" sz="1600" dirty="0">
                        <a:solidFill>
                          <a:schemeClr val="tx1"/>
                        </a:solidFill>
                      </a:endParaRPr>
                    </a:p>
                  </a:txBody>
                  <a:tcPr/>
                </a:tc>
                <a:extLst>
                  <a:ext uri="{0D108BD9-81ED-4DB2-BD59-A6C34878D82A}">
                    <a16:rowId xmlns:a16="http://schemas.microsoft.com/office/drawing/2014/main" val="3499704527"/>
                  </a:ext>
                </a:extLst>
              </a:tr>
              <a:tr h="29863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November</a:t>
                      </a:r>
                      <a:endParaRPr lang="en-US" sz="1600" dirty="0"/>
                    </a:p>
                  </a:txBody>
                  <a:tcPr/>
                </a:tc>
                <a:tc>
                  <a:txBody>
                    <a:bodyPr/>
                    <a:lstStyle/>
                    <a:p>
                      <a:r>
                        <a:rPr lang="en-GB" sz="1600" dirty="0">
                          <a:solidFill>
                            <a:schemeClr val="tx1"/>
                          </a:solidFill>
                        </a:rPr>
                        <a:t>4</a:t>
                      </a:r>
                      <a:endParaRPr lang="en-US" sz="1600" dirty="0">
                        <a:solidFill>
                          <a:schemeClr val="tx1"/>
                        </a:solidFill>
                      </a:endParaRPr>
                    </a:p>
                  </a:txBody>
                  <a:tcPr/>
                </a:tc>
                <a:tc>
                  <a:txBody>
                    <a:bodyPr/>
                    <a:lstStyle/>
                    <a:p>
                      <a:r>
                        <a:rPr lang="en-GB" sz="1600" dirty="0">
                          <a:solidFill>
                            <a:schemeClr val="tx1"/>
                          </a:solidFill>
                        </a:rPr>
                        <a:t>11</a:t>
                      </a:r>
                      <a:endParaRPr lang="en-US" sz="1600" dirty="0">
                        <a:solidFill>
                          <a:schemeClr val="tx1"/>
                        </a:solidFill>
                      </a:endParaRPr>
                    </a:p>
                  </a:txBody>
                  <a:tcPr/>
                </a:tc>
                <a:tc>
                  <a:txBody>
                    <a:bodyPr/>
                    <a:lstStyle/>
                    <a:p>
                      <a:r>
                        <a:rPr lang="en-GB" sz="1600" dirty="0">
                          <a:solidFill>
                            <a:schemeClr val="tx1"/>
                          </a:solidFill>
                        </a:rPr>
                        <a:t>18</a:t>
                      </a:r>
                      <a:endParaRPr lang="en-US" sz="1600" dirty="0">
                        <a:solidFill>
                          <a:schemeClr val="tx1"/>
                        </a:solidFill>
                      </a:endParaRPr>
                    </a:p>
                  </a:txBody>
                  <a:tcPr/>
                </a:tc>
                <a:tc>
                  <a:txBody>
                    <a:bodyPr/>
                    <a:lstStyle/>
                    <a:p>
                      <a:r>
                        <a:rPr lang="en-GB" sz="1600" dirty="0">
                          <a:solidFill>
                            <a:schemeClr val="tx1"/>
                          </a:solidFill>
                        </a:rPr>
                        <a:t>26</a:t>
                      </a:r>
                      <a:endParaRPr lang="en-US" sz="1600" dirty="0">
                        <a:solidFill>
                          <a:schemeClr val="tx1"/>
                        </a:solidFill>
                      </a:endParaRPr>
                    </a:p>
                  </a:txBody>
                  <a:tcPr/>
                </a:tc>
                <a:extLst>
                  <a:ext uri="{0D108BD9-81ED-4DB2-BD59-A6C34878D82A}">
                    <a16:rowId xmlns:a16="http://schemas.microsoft.com/office/drawing/2014/main" val="3391010129"/>
                  </a:ext>
                </a:extLst>
              </a:tr>
              <a:tr h="336115">
                <a:tc>
                  <a:txBody>
                    <a:bodyPr/>
                    <a:lstStyle/>
                    <a:p>
                      <a:r>
                        <a:rPr lang="en-GB" sz="1600" dirty="0"/>
                        <a:t>December</a:t>
                      </a:r>
                      <a:endParaRPr lang="en-US" sz="1600" dirty="0"/>
                    </a:p>
                  </a:txBody>
                  <a:tcPr/>
                </a:tc>
                <a:tc>
                  <a:txBody>
                    <a:bodyPr/>
                    <a:lstStyle/>
                    <a:p>
                      <a:r>
                        <a:rPr lang="en-GB" sz="1600" dirty="0">
                          <a:solidFill>
                            <a:schemeClr val="tx1"/>
                          </a:solidFill>
                        </a:rPr>
                        <a:t>25/11</a:t>
                      </a:r>
                      <a:endParaRPr lang="en-US" sz="1600" dirty="0">
                        <a:solidFill>
                          <a:schemeClr val="tx1"/>
                        </a:solidFill>
                      </a:endParaRPr>
                    </a:p>
                  </a:txBody>
                  <a:tcPr/>
                </a:tc>
                <a:tc>
                  <a:txBody>
                    <a:bodyPr/>
                    <a:lstStyle/>
                    <a:p>
                      <a:r>
                        <a:rPr lang="en-GB" sz="1600" dirty="0">
                          <a:solidFill>
                            <a:schemeClr val="tx1"/>
                          </a:solidFill>
                        </a:rPr>
                        <a:t>2</a:t>
                      </a:r>
                      <a:endParaRPr lang="en-US" sz="1600" dirty="0">
                        <a:solidFill>
                          <a:schemeClr val="tx1"/>
                        </a:solidFill>
                      </a:endParaRPr>
                    </a:p>
                  </a:txBody>
                  <a:tcPr/>
                </a:tc>
                <a:tc>
                  <a:txBody>
                    <a:bodyPr/>
                    <a:lstStyle/>
                    <a:p>
                      <a:r>
                        <a:rPr lang="en-GB" sz="1600" dirty="0">
                          <a:solidFill>
                            <a:schemeClr val="tx1"/>
                          </a:solidFill>
                        </a:rPr>
                        <a:t>9</a:t>
                      </a:r>
                      <a:endParaRPr lang="en-US" sz="1600" dirty="0">
                        <a:solidFill>
                          <a:schemeClr val="tx1"/>
                        </a:solidFill>
                      </a:endParaRPr>
                    </a:p>
                  </a:txBody>
                  <a:tcPr/>
                </a:tc>
                <a:tc>
                  <a:txBody>
                    <a:bodyPr/>
                    <a:lstStyle/>
                    <a:p>
                      <a:r>
                        <a:rPr lang="en-GB" sz="1600" dirty="0">
                          <a:solidFill>
                            <a:schemeClr val="tx1"/>
                          </a:solidFill>
                        </a:rPr>
                        <a:t>17</a:t>
                      </a:r>
                      <a:endParaRPr lang="en-US" sz="1600" dirty="0">
                        <a:solidFill>
                          <a:schemeClr val="tx1"/>
                        </a:solidFill>
                      </a:endParaRPr>
                    </a:p>
                  </a:txBody>
                  <a:tcPr/>
                </a:tc>
                <a:extLst>
                  <a:ext uri="{0D108BD9-81ED-4DB2-BD59-A6C34878D82A}">
                    <a16:rowId xmlns:a16="http://schemas.microsoft.com/office/drawing/2014/main" val="2070266169"/>
                  </a:ext>
                </a:extLst>
              </a:tr>
            </a:tbl>
          </a:graphicData>
        </a:graphic>
      </p:graphicFrame>
    </p:spTree>
    <p:extLst>
      <p:ext uri="{BB962C8B-B14F-4D97-AF65-F5344CB8AC3E}">
        <p14:creationId xmlns:p14="http://schemas.microsoft.com/office/powerpoint/2010/main" val="16851873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p:cNvSpPr>
            <a:spLocks noGrp="1"/>
          </p:cNvSpPr>
          <p:nvPr>
            <p:ph type="title"/>
          </p:nvPr>
        </p:nvSpPr>
        <p:spPr/>
        <p:txBody>
          <a:bodyPr vert="horz" lIns="121920" tIns="60960" rIns="121920" bIns="60960" rtlCol="0" anchor="ctr">
            <a:normAutofit fontScale="90000"/>
          </a:bodyPr>
          <a:lstStyle/>
          <a:p>
            <a:pPr algn="l" rtl="0">
              <a:lnSpc>
                <a:spcPct val="90000"/>
              </a:lnSpc>
              <a:spcBef>
                <a:spcPct val="0"/>
              </a:spcBef>
            </a:pPr>
            <a:r>
              <a:rPr lang="en-US" altLang="en-US" sz="5867" dirty="0">
                <a:solidFill>
                  <a:srgbClr val="FFFFFF"/>
                </a:solidFill>
              </a:rPr>
              <a:t>Next Panel Meeting </a:t>
            </a:r>
          </a:p>
        </p:txBody>
      </p:sp>
      <p:sp>
        <p:nvSpPr>
          <p:cNvPr id="2" name="Text Placeholder 1">
            <a:extLst>
              <a:ext uri="{FF2B5EF4-FFF2-40B4-BE49-F238E27FC236}">
                <a16:creationId xmlns:a16="http://schemas.microsoft.com/office/drawing/2014/main" id="{F3C3EE97-EC12-464C-9594-7509F390CCE4}"/>
              </a:ext>
            </a:extLst>
          </p:cNvPr>
          <p:cNvSpPr>
            <a:spLocks noGrp="1"/>
          </p:cNvSpPr>
          <p:nvPr>
            <p:ph type="body" sz="quarter" idx="10"/>
          </p:nvPr>
        </p:nvSpPr>
        <p:spPr>
          <a:xfrm>
            <a:off x="884825" y="1592449"/>
            <a:ext cx="3341736" cy="1506339"/>
          </a:xfrm>
        </p:spPr>
        <p:txBody>
          <a:bodyPr/>
          <a:lstStyle/>
          <a:p>
            <a:r>
              <a:rPr lang="en-US" altLang="en-US" sz="4400" b="1" dirty="0">
                <a:solidFill>
                  <a:schemeClr val="accent2"/>
                </a:solidFill>
              </a:rPr>
              <a:t>Next Panel Meeting </a:t>
            </a:r>
            <a:endParaRPr lang="en-GB" sz="4400" b="1" dirty="0">
              <a:solidFill>
                <a:schemeClr val="accent2"/>
              </a:solidFill>
            </a:endParaRPr>
          </a:p>
        </p:txBody>
      </p:sp>
      <p:sp>
        <p:nvSpPr>
          <p:cNvPr id="90188" name="TextBox 1"/>
          <p:cNvSpPr txBox="1"/>
          <p:nvPr/>
        </p:nvSpPr>
        <p:spPr>
          <a:xfrm>
            <a:off x="6090574" y="801865"/>
            <a:ext cx="5306084" cy="5230635"/>
          </a:xfrm>
          <a:prstGeom prst="rect">
            <a:avLst/>
          </a:prstGeom>
        </p:spPr>
        <p:txBody>
          <a:bodyPr vert="horz" lIns="121920" tIns="60960" rIns="121920" bIns="60960" rtlCol="0" anchor="ctr">
            <a:normAutofit/>
          </a:bodyPr>
          <a:lstStyle/>
          <a:p>
            <a:pPr defTabSz="1219170">
              <a:lnSpc>
                <a:spcPct val="90000"/>
              </a:lnSpc>
              <a:spcAft>
                <a:spcPts val="800"/>
              </a:spcAft>
            </a:pPr>
            <a:endParaRPr lang="en-US" sz="2400" b="1" dirty="0">
              <a:solidFill>
                <a:srgbClr val="000000"/>
              </a:solidFill>
            </a:endParaRPr>
          </a:p>
          <a:p>
            <a:pPr defTabSz="1219170">
              <a:lnSpc>
                <a:spcPct val="90000"/>
              </a:lnSpc>
              <a:spcAft>
                <a:spcPts val="800"/>
              </a:spcAft>
            </a:pPr>
            <a:r>
              <a:rPr lang="en-US" sz="2000" b="1" dirty="0">
                <a:solidFill>
                  <a:srgbClr val="000000"/>
                </a:solidFill>
                <a:latin typeface="Arial" panose="020B0604020202020204" pitchFamily="34" charset="0"/>
                <a:cs typeface="Arial" panose="020B0604020202020204" pitchFamily="34" charset="0"/>
              </a:rPr>
              <a:t>10am on 27 November 2020 via Teams</a:t>
            </a:r>
          </a:p>
          <a:p>
            <a:pPr defTabSz="1219170">
              <a:lnSpc>
                <a:spcPct val="90000"/>
              </a:lnSpc>
              <a:spcAft>
                <a:spcPts val="800"/>
              </a:spcAft>
            </a:pPr>
            <a:endParaRPr lang="en-US" sz="2000" b="1" dirty="0">
              <a:solidFill>
                <a:srgbClr val="000000"/>
              </a:solidFill>
              <a:latin typeface="Arial" panose="020B0604020202020204" pitchFamily="34" charset="0"/>
              <a:cs typeface="Arial" panose="020B0604020202020204" pitchFamily="34" charset="0"/>
            </a:endParaRPr>
          </a:p>
          <a:p>
            <a:pPr defTabSz="1219170">
              <a:lnSpc>
                <a:spcPct val="90000"/>
              </a:lnSpc>
              <a:spcAft>
                <a:spcPts val="800"/>
              </a:spcAft>
            </a:pPr>
            <a:r>
              <a:rPr lang="en-US" sz="2000" b="1" dirty="0">
                <a:solidFill>
                  <a:srgbClr val="000000"/>
                </a:solidFill>
                <a:latin typeface="Arial" panose="020B0604020202020204" pitchFamily="34" charset="0"/>
                <a:cs typeface="Arial" panose="020B0604020202020204" pitchFamily="34" charset="0"/>
              </a:rPr>
              <a:t>Papers Day – 19 November 2020</a:t>
            </a:r>
          </a:p>
          <a:p>
            <a:pPr defTabSz="1219170">
              <a:lnSpc>
                <a:spcPct val="90000"/>
              </a:lnSpc>
              <a:spcAft>
                <a:spcPts val="800"/>
              </a:spcAft>
            </a:pPr>
            <a:endParaRPr lang="en-US" sz="2000" dirty="0">
              <a:solidFill>
                <a:srgbClr val="000000"/>
              </a:solidFill>
              <a:latin typeface="Arial" panose="020B0604020202020204" pitchFamily="34" charset="0"/>
              <a:cs typeface="Arial" panose="020B0604020202020204" pitchFamily="34" charset="0"/>
            </a:endParaRPr>
          </a:p>
          <a:p>
            <a:pPr defTabSz="1219170">
              <a:lnSpc>
                <a:spcPct val="90000"/>
              </a:lnSpc>
              <a:spcAft>
                <a:spcPts val="800"/>
              </a:spcAft>
            </a:pPr>
            <a:r>
              <a:rPr lang="en-US" sz="2000" b="1" dirty="0">
                <a:solidFill>
                  <a:srgbClr val="000000"/>
                </a:solidFill>
                <a:latin typeface="Arial" panose="020B0604020202020204" pitchFamily="34" charset="0"/>
                <a:cs typeface="Arial" panose="020B0604020202020204" pitchFamily="34" charset="0"/>
              </a:rPr>
              <a:t>Modification Proposals to be submitted by 12 November 2020</a:t>
            </a:r>
          </a:p>
          <a:p>
            <a:pPr defTabSz="1219170">
              <a:lnSpc>
                <a:spcPct val="90000"/>
              </a:lnSpc>
              <a:spcAft>
                <a:spcPts val="800"/>
              </a:spcAft>
            </a:pPr>
            <a:endParaRPr lang="en-US" sz="2000" b="1" dirty="0">
              <a:solidFill>
                <a:srgbClr val="000000"/>
              </a:solidFill>
              <a:latin typeface="Arial" panose="020B0604020202020204" pitchFamily="34" charset="0"/>
              <a:cs typeface="Arial" panose="020B0604020202020204" pitchFamily="34" charset="0"/>
            </a:endParaRPr>
          </a:p>
          <a:p>
            <a:pPr defTabSz="1219170">
              <a:lnSpc>
                <a:spcPct val="90000"/>
              </a:lnSpc>
              <a:spcAft>
                <a:spcPts val="800"/>
              </a:spcAft>
            </a:pPr>
            <a:r>
              <a:rPr lang="en-US" sz="2000" b="1" dirty="0">
                <a:solidFill>
                  <a:srgbClr val="000000"/>
                </a:solidFill>
                <a:latin typeface="Arial" panose="020B0604020202020204" pitchFamily="34" charset="0"/>
                <a:cs typeface="Arial" panose="020B0604020202020204" pitchFamily="34" charset="0"/>
              </a:rPr>
              <a:t>TCMF – 5 November 2020</a:t>
            </a:r>
          </a:p>
          <a:p>
            <a:pPr defTabSz="1219170">
              <a:lnSpc>
                <a:spcPct val="90000"/>
              </a:lnSpc>
              <a:spcAft>
                <a:spcPts val="800"/>
              </a:spcAft>
            </a:pPr>
            <a:endParaRPr lang="en-US" sz="2400" b="1" dirty="0">
              <a:solidFill>
                <a:srgbClr val="000000"/>
              </a:solidFill>
            </a:endParaRPr>
          </a:p>
        </p:txBody>
      </p:sp>
      <p:cxnSp>
        <p:nvCxnSpPr>
          <p:cNvPr id="4" name="Straight Connector 3">
            <a:extLst>
              <a:ext uri="{FF2B5EF4-FFF2-40B4-BE49-F238E27FC236}">
                <a16:creationId xmlns:a16="http://schemas.microsoft.com/office/drawing/2014/main" id="{F96CCCF4-4102-418C-8309-EC086D356EA4}"/>
              </a:ext>
            </a:extLst>
          </p:cNvPr>
          <p:cNvCxnSpPr/>
          <p:nvPr/>
        </p:nvCxnSpPr>
        <p:spPr>
          <a:xfrm>
            <a:off x="6082112" y="2429432"/>
            <a:ext cx="5286929"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E71DEAF8-4888-4784-9BDD-7EDD5F57D974}"/>
              </a:ext>
            </a:extLst>
          </p:cNvPr>
          <p:cNvCxnSpPr/>
          <p:nvPr/>
        </p:nvCxnSpPr>
        <p:spPr>
          <a:xfrm>
            <a:off x="6219597" y="3240556"/>
            <a:ext cx="5286929"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328CF5CF-FC5B-4721-A455-92EE4BCFA32E}"/>
              </a:ext>
            </a:extLst>
          </p:cNvPr>
          <p:cNvCxnSpPr/>
          <p:nvPr/>
        </p:nvCxnSpPr>
        <p:spPr>
          <a:xfrm>
            <a:off x="6109729" y="5140960"/>
            <a:ext cx="5286929"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4539921-E7B8-4F60-81AA-31A1BA5B5C80}"/>
              </a:ext>
            </a:extLst>
          </p:cNvPr>
          <p:cNvCxnSpPr/>
          <p:nvPr/>
        </p:nvCxnSpPr>
        <p:spPr>
          <a:xfrm>
            <a:off x="6219597" y="4347053"/>
            <a:ext cx="5286929"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218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1">
            <a:extLst>
              <a:ext uri="{FF2B5EF4-FFF2-40B4-BE49-F238E27FC236}">
                <a16:creationId xmlns:a16="http://schemas.microsoft.com/office/drawing/2014/main" id="{3E6FB73E-D550-40C9-8460-33402EB735B7}"/>
              </a:ext>
            </a:extLst>
          </p:cNvPr>
          <p:cNvSpPr txBox="1">
            <a:spLocks/>
          </p:cNvSpPr>
          <p:nvPr/>
        </p:nvSpPr>
        <p:spPr>
          <a:xfrm>
            <a:off x="323550" y="330855"/>
            <a:ext cx="8495999" cy="527136"/>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4000" b="1" dirty="0">
                <a:solidFill>
                  <a:srgbClr val="0070C0"/>
                </a:solidFill>
              </a:rPr>
              <a:t>Close</a:t>
            </a:r>
          </a:p>
        </p:txBody>
      </p:sp>
      <p:sp>
        <p:nvSpPr>
          <p:cNvPr id="3" name="Title 11">
            <a:extLst>
              <a:ext uri="{FF2B5EF4-FFF2-40B4-BE49-F238E27FC236}">
                <a16:creationId xmlns:a16="http://schemas.microsoft.com/office/drawing/2014/main" id="{AEF15936-8CBA-4447-AB7F-96BB7F568614}"/>
              </a:ext>
            </a:extLst>
          </p:cNvPr>
          <p:cNvSpPr txBox="1">
            <a:spLocks/>
          </p:cNvSpPr>
          <p:nvPr/>
        </p:nvSpPr>
        <p:spPr>
          <a:xfrm>
            <a:off x="404830" y="5065414"/>
            <a:ext cx="8495999" cy="1355705"/>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3200" b="1" dirty="0">
                <a:solidFill>
                  <a:srgbClr val="0070C0"/>
                </a:solidFill>
              </a:rPr>
              <a:t>Trisha McAuley</a:t>
            </a:r>
          </a:p>
          <a:p>
            <a:r>
              <a:rPr lang="en-GB" sz="2000" b="1" dirty="0">
                <a:solidFill>
                  <a:schemeClr val="tx1"/>
                </a:solidFill>
              </a:rPr>
              <a:t>Independent Chair, GCRP </a:t>
            </a:r>
            <a:endParaRPr lang="en-GB" sz="1600" b="1" dirty="0">
              <a:solidFill>
                <a:schemeClr val="tx1"/>
              </a:solidFill>
            </a:endParaRPr>
          </a:p>
        </p:txBody>
      </p:sp>
    </p:spTree>
    <p:extLst>
      <p:ext uri="{BB962C8B-B14F-4D97-AF65-F5344CB8AC3E}">
        <p14:creationId xmlns:p14="http://schemas.microsoft.com/office/powerpoint/2010/main" val="8975618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1">
            <a:extLst>
              <a:ext uri="{FF2B5EF4-FFF2-40B4-BE49-F238E27FC236}">
                <a16:creationId xmlns:a16="http://schemas.microsoft.com/office/drawing/2014/main" id="{239D8572-4B80-43C0-A793-A677B76538B7}"/>
              </a:ext>
            </a:extLst>
          </p:cNvPr>
          <p:cNvSpPr txBox="1">
            <a:spLocks/>
          </p:cNvSpPr>
          <p:nvPr/>
        </p:nvSpPr>
        <p:spPr>
          <a:xfrm>
            <a:off x="323550" y="330855"/>
            <a:ext cx="8495999" cy="527136"/>
          </a:xfrm>
          <a:prstGeom prst="rect">
            <a:avLst/>
          </a:prstGeom>
        </p:spPr>
        <p:txBody>
          <a:bodyPr anchor="t"/>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r>
              <a:rPr lang="en-GB" sz="3600" b="1" dirty="0"/>
              <a:t>Authority Decisions </a:t>
            </a:r>
          </a:p>
        </p:txBody>
      </p:sp>
      <p:sp>
        <p:nvSpPr>
          <p:cNvPr id="5" name="Title 20">
            <a:extLst>
              <a:ext uri="{FF2B5EF4-FFF2-40B4-BE49-F238E27FC236}">
                <a16:creationId xmlns:a16="http://schemas.microsoft.com/office/drawing/2014/main" id="{CBFC64B9-63BE-4CA2-8BCC-E32AD634F51C}"/>
              </a:ext>
            </a:extLst>
          </p:cNvPr>
          <p:cNvSpPr txBox="1">
            <a:spLocks/>
          </p:cNvSpPr>
          <p:nvPr/>
        </p:nvSpPr>
        <p:spPr>
          <a:xfrm>
            <a:off x="498533" y="1266380"/>
            <a:ext cx="11459787" cy="4325239"/>
          </a:xfrm>
          <a:prstGeom prst="rect">
            <a:avLst/>
          </a:prstGeom>
          <a:noFill/>
        </p:spPr>
        <p:txBody>
          <a:bodyPr vert="horz" wrap="square" lIns="0" tIns="0" rIns="0" bIns="0" rtlCol="0" anchor="t">
            <a:noAutofit/>
          </a:bodyPr>
          <a:lstStyle>
            <a:lvl1pPr eaLnBrk="1" hangingPunct="1">
              <a:lnSpc>
                <a:spcPct val="80000"/>
              </a:lnSpc>
              <a:defRPr sz="1800" b="1">
                <a:solidFill>
                  <a:schemeClr val="accent1"/>
                </a:solidFill>
                <a:latin typeface="+mj-lt"/>
                <a:ea typeface="+mj-ea"/>
                <a:cs typeface="+mj-cs"/>
              </a:defRPr>
            </a:lvl1pPr>
          </a:lstStyle>
          <a:p>
            <a:pPr defTabSz="914400"/>
            <a:endParaRPr lang="en-GB" sz="2400" dirty="0">
              <a:solidFill>
                <a:srgbClr val="454545"/>
              </a:solidFill>
              <a:latin typeface="Helvetica Neue Condensed" panose="02000503000000020004"/>
              <a:cs typeface="Times New Roman" panose="02020603050405020304" pitchFamily="18" charset="0"/>
            </a:endParaRPr>
          </a:p>
          <a:p>
            <a:pPr defTabSz="914400"/>
            <a:r>
              <a:rPr lang="en-GB" dirty="0">
                <a:solidFill>
                  <a:srgbClr val="454545"/>
                </a:solidFill>
                <a:latin typeface="Helvetica Neue Condensed" panose="02000503000000020004"/>
                <a:cs typeface="Times New Roman" panose="02020603050405020304" pitchFamily="18" charset="0"/>
              </a:rPr>
              <a:t>Decisions Received since last Panel meeting</a:t>
            </a:r>
          </a:p>
          <a:p>
            <a:pPr defTabSz="914400"/>
            <a:endParaRPr lang="en-GB" dirty="0">
              <a:solidFill>
                <a:srgbClr val="454545"/>
              </a:solidFill>
              <a:latin typeface="Helvetica Neue Condensed" panose="02000503000000020004"/>
              <a:cs typeface="Times New Roman" panose="02020603050405020304" pitchFamily="18" charset="0"/>
            </a:endParaRPr>
          </a:p>
          <a:p>
            <a:pPr marL="457200" indent="-457200" defTabSz="914400">
              <a:buFont typeface="Wingdings" panose="05000000000000000000" pitchFamily="2" charset="2"/>
              <a:buChar char="q"/>
            </a:pPr>
            <a:r>
              <a:rPr lang="en-GB" dirty="0">
                <a:solidFill>
                  <a:srgbClr val="454545"/>
                </a:solidFill>
                <a:latin typeface="Helvetica Neue Condensed" panose="02000503000000020004"/>
                <a:cs typeface="Times New Roman" panose="02020603050405020304" pitchFamily="18" charset="0"/>
              </a:rPr>
              <a:t>CMP280 Update 2 October 2020</a:t>
            </a:r>
          </a:p>
          <a:p>
            <a:pPr defTabSz="914400"/>
            <a:endParaRPr lang="en-GB" dirty="0">
              <a:solidFill>
                <a:srgbClr val="454545"/>
              </a:solidFill>
              <a:latin typeface="Helvetica Neue Condensed" panose="02000503000000020004"/>
              <a:cs typeface="Times New Roman" panose="02020603050405020304" pitchFamily="18" charset="0"/>
            </a:endParaRPr>
          </a:p>
          <a:p>
            <a:pPr marL="457200" indent="-457200" defTabSz="914400">
              <a:buFont typeface="Wingdings" panose="05000000000000000000" pitchFamily="2" charset="2"/>
              <a:buChar char="q"/>
            </a:pPr>
            <a:r>
              <a:rPr lang="en-GB" dirty="0">
                <a:solidFill>
                  <a:srgbClr val="454545"/>
                </a:solidFill>
                <a:latin typeface="Helvetica Neue Condensed" panose="02000503000000020004"/>
                <a:cs typeface="Times New Roman" panose="02020603050405020304" pitchFamily="18" charset="0"/>
              </a:rPr>
              <a:t>CMP342 Appeal received 2 October 2020</a:t>
            </a:r>
          </a:p>
          <a:p>
            <a:pPr defTabSz="914400"/>
            <a:r>
              <a:rPr lang="en-GB" b="0" dirty="0">
                <a:solidFill>
                  <a:srgbClr val="454545"/>
                </a:solidFill>
                <a:latin typeface="Helvetica Neue Condensed" panose="02000503000000020004"/>
                <a:cs typeface="Times New Roman" panose="02020603050405020304" pitchFamily="18" charset="0"/>
              </a:rPr>
              <a:t>	</a:t>
            </a:r>
            <a:endParaRPr lang="en-GB" dirty="0">
              <a:solidFill>
                <a:srgbClr val="0070C0"/>
              </a:solidFill>
              <a:latin typeface="Helvetica Neue Condensed" panose="02000503000000020004"/>
              <a:cs typeface="Times New Roman" panose="02020603050405020304" pitchFamily="18" charset="0"/>
            </a:endParaRPr>
          </a:p>
          <a:p>
            <a:pPr defTabSz="914400"/>
            <a:r>
              <a:rPr lang="en-GB" dirty="0">
                <a:solidFill>
                  <a:srgbClr val="454545"/>
                </a:solidFill>
                <a:latin typeface="Helvetica Neue Condensed" panose="02000503000000020004"/>
                <a:cs typeface="Times New Roman" panose="02020603050405020304" pitchFamily="18" charset="0"/>
              </a:rPr>
              <a:t>Decisions Pending</a:t>
            </a:r>
          </a:p>
          <a:p>
            <a:pPr defTabSz="914400"/>
            <a:endParaRPr lang="en-GB" b="0" dirty="0">
              <a:solidFill>
                <a:srgbClr val="454545"/>
              </a:solidFill>
              <a:latin typeface="Helvetica Neue Condensed" panose="02000503000000020004"/>
              <a:cs typeface="Times New Roman" panose="02020603050405020304" pitchFamily="18" charset="0"/>
            </a:endParaRPr>
          </a:p>
          <a:p>
            <a:pPr marL="457200" indent="-457200" defTabSz="914400">
              <a:buFont typeface="Wingdings" panose="05000000000000000000" pitchFamily="2" charset="2"/>
              <a:buChar char="q"/>
            </a:pPr>
            <a:r>
              <a:rPr lang="en-GB" dirty="0">
                <a:solidFill>
                  <a:srgbClr val="454545"/>
                </a:solidFill>
                <a:latin typeface="Helvetica Neue Condensed" panose="02000503000000020004"/>
                <a:cs typeface="Times New Roman" panose="02020603050405020304" pitchFamily="18" charset="0"/>
              </a:rPr>
              <a:t>CMP280, CMP292, CMP317/327, CMP339, CMP324/325, CMP334, CMP333</a:t>
            </a:r>
          </a:p>
          <a:p>
            <a:pPr marL="457200" indent="-457200" defTabSz="914400">
              <a:buFont typeface="Wingdings" panose="05000000000000000000" pitchFamily="2" charset="2"/>
              <a:buChar char="q"/>
            </a:pPr>
            <a:endParaRPr lang="en-GB" dirty="0">
              <a:solidFill>
                <a:srgbClr val="454545"/>
              </a:solidFill>
              <a:latin typeface="Helvetica Neue Condensed" panose="02000503000000020004"/>
              <a:cs typeface="Times New Roman" panose="02020603050405020304" pitchFamily="18" charset="0"/>
            </a:endParaRPr>
          </a:p>
          <a:p>
            <a:pPr defTabSz="914400"/>
            <a:r>
              <a:rPr lang="en-GB" dirty="0">
                <a:solidFill>
                  <a:srgbClr val="454545"/>
                </a:solidFill>
                <a:latin typeface="Helvetica Neue Condensed" panose="02000503000000020004"/>
                <a:cs typeface="Times New Roman" panose="02020603050405020304" pitchFamily="18" charset="0"/>
              </a:rPr>
              <a:t>Received Final Modification Reports since last Panel Meeting</a:t>
            </a:r>
          </a:p>
          <a:p>
            <a:pPr defTabSz="914400"/>
            <a:endParaRPr lang="en-GB" b="0" dirty="0">
              <a:solidFill>
                <a:srgbClr val="454545"/>
              </a:solidFill>
              <a:latin typeface="Helvetica Neue Condensed" panose="02000503000000020004"/>
              <a:cs typeface="Times New Roman" panose="02020603050405020304" pitchFamily="18" charset="0"/>
            </a:endParaRPr>
          </a:p>
          <a:p>
            <a:pPr marL="457200" indent="-457200" defTabSz="914400">
              <a:buFont typeface="Wingdings" panose="05000000000000000000" pitchFamily="2" charset="2"/>
              <a:buChar char="q"/>
            </a:pPr>
            <a:r>
              <a:rPr lang="en-GB" dirty="0">
                <a:solidFill>
                  <a:srgbClr val="454545"/>
                </a:solidFill>
                <a:latin typeface="Helvetica Neue Condensed" panose="02000503000000020004"/>
                <a:cs typeface="Times New Roman" panose="02020603050405020304" pitchFamily="18" charset="0"/>
              </a:rPr>
              <a:t>CMP335/336 and CMP343/340 (6 October 2020)</a:t>
            </a:r>
          </a:p>
          <a:p>
            <a:pPr defTabSz="914400"/>
            <a:endParaRPr lang="en-GB" dirty="0">
              <a:solidFill>
                <a:srgbClr val="454545"/>
              </a:solidFill>
              <a:latin typeface="Helvetica Neue Condensed" panose="02000503000000020004"/>
              <a:cs typeface="Times New Roman" panose="02020603050405020304" pitchFamily="18" charset="0"/>
            </a:endParaRPr>
          </a:p>
          <a:p>
            <a:pPr defTabSz="914400"/>
            <a:endParaRPr lang="en-GB" b="0" dirty="0">
              <a:solidFill>
                <a:srgbClr val="454545"/>
              </a:solidFill>
              <a:latin typeface="Helvetica Neue Condensed" panose="02000503000000020004"/>
              <a:cs typeface="Times New Roman" panose="02020603050405020304" pitchFamily="18" charset="0"/>
            </a:endParaRPr>
          </a:p>
          <a:p>
            <a:pPr marL="457200" indent="-457200" defTabSz="914400">
              <a:buFont typeface="Wingdings" panose="05000000000000000000" pitchFamily="2" charset="2"/>
              <a:buChar char="q"/>
            </a:pPr>
            <a:endParaRPr lang="en-GB" dirty="0">
              <a:solidFill>
                <a:schemeClr val="tx1"/>
              </a:solidFill>
              <a:latin typeface="Helvetica Neue Condensed" panose="02000503000000020004"/>
              <a:cs typeface="Times New Roman" panose="02020603050405020304" pitchFamily="18" charset="0"/>
            </a:endParaRPr>
          </a:p>
          <a:p>
            <a:pPr defTabSz="914400"/>
            <a:endParaRPr lang="en-GB" dirty="0">
              <a:solidFill>
                <a:srgbClr val="454545"/>
              </a:solidFill>
              <a:latin typeface="Helvetica Neue Condensed" panose="02000503000000020004"/>
              <a:cs typeface="Times New Roman" panose="02020603050405020304" pitchFamily="18" charset="0"/>
            </a:endParaRPr>
          </a:p>
          <a:p>
            <a:pPr defTabSz="914400"/>
            <a:r>
              <a:rPr lang="en-GB" dirty="0"/>
              <a:t>.</a:t>
            </a:r>
          </a:p>
          <a:p>
            <a:pPr defTabSz="914400"/>
            <a:endParaRPr lang="en-GB" sz="2400" b="0" dirty="0">
              <a:solidFill>
                <a:srgbClr val="454545"/>
              </a:solidFill>
              <a:latin typeface="Helvetica Neue Condensed" panose="02000503000000020004"/>
              <a:cs typeface="Times New Roman" panose="02020603050405020304" pitchFamily="18" charset="0"/>
            </a:endParaRPr>
          </a:p>
          <a:p>
            <a:pPr defTabSz="914400"/>
            <a:endParaRPr lang="en-GB" b="0" dirty="0">
              <a:solidFill>
                <a:srgbClr val="454545"/>
              </a:solidFill>
              <a:latin typeface="Helvetica Neue Condensed" panose="02000503000000020004"/>
              <a:cs typeface="Times New Roman" panose="02020603050405020304" pitchFamily="18" charset="0"/>
            </a:endParaRPr>
          </a:p>
          <a:p>
            <a:pPr defTabSz="914400"/>
            <a:endParaRPr lang="en-GB" sz="2400" b="0" dirty="0">
              <a:solidFill>
                <a:srgbClr val="454545"/>
              </a:solidFill>
              <a:latin typeface="Helvetica Neue Condensed" panose="02000503000000020004"/>
              <a:cs typeface="Times New Roman" panose="02020603050405020304" pitchFamily="18" charset="0"/>
            </a:endParaRPr>
          </a:p>
          <a:p>
            <a:pPr marL="457200" indent="-457200" defTabSz="914400">
              <a:buFont typeface="Wingdings" panose="05000000000000000000" pitchFamily="2" charset="2"/>
              <a:buChar char="q"/>
            </a:pPr>
            <a:endParaRPr lang="en-GB" sz="2400" b="0" dirty="0">
              <a:solidFill>
                <a:srgbClr val="454545"/>
              </a:solidFill>
              <a:latin typeface="Helvetica Neue Condensed" panose="02000503000000020004"/>
              <a:cs typeface="Times New Roman" panose="02020603050405020304" pitchFamily="18" charset="0"/>
            </a:endParaRPr>
          </a:p>
          <a:p>
            <a:pPr defTabSz="914400"/>
            <a:endParaRPr lang="en-GB" sz="2400" dirty="0">
              <a:solidFill>
                <a:srgbClr val="454545"/>
              </a:solidFill>
              <a:latin typeface="Arial" panose="020B0604020202020204" pitchFamily="34" charset="0"/>
              <a:cs typeface="Times New Roman" panose="02020603050405020304" pitchFamily="18" charset="0"/>
            </a:endParaRPr>
          </a:p>
          <a:p>
            <a:pPr defTabSz="914400"/>
            <a:endParaRPr lang="en-GB" sz="2400" dirty="0">
              <a:solidFill>
                <a:srgbClr val="454545"/>
              </a:solidFill>
              <a:latin typeface="Arial" panose="020B060402020202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663D52C8-04B7-4142-ACA8-F148AFC783C7}"/>
              </a:ext>
            </a:extLst>
          </p:cNvPr>
          <p:cNvPicPr>
            <a:picLocks noChangeAspect="1"/>
          </p:cNvPicPr>
          <p:nvPr/>
        </p:nvPicPr>
        <p:blipFill rotWithShape="1">
          <a:blip r:embed="rId2"/>
          <a:srcRect t="32397" b="31122"/>
          <a:stretch/>
        </p:blipFill>
        <p:spPr>
          <a:xfrm>
            <a:off x="9072880" y="194683"/>
            <a:ext cx="2482138" cy="905517"/>
          </a:xfrm>
          <a:prstGeom prst="rect">
            <a:avLst/>
          </a:prstGeom>
        </p:spPr>
      </p:pic>
    </p:spTree>
    <p:extLst>
      <p:ext uri="{BB962C8B-B14F-4D97-AF65-F5344CB8AC3E}">
        <p14:creationId xmlns:p14="http://schemas.microsoft.com/office/powerpoint/2010/main" val="16287055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1">
            <a:extLst>
              <a:ext uri="{FF2B5EF4-FFF2-40B4-BE49-F238E27FC236}">
                <a16:creationId xmlns:a16="http://schemas.microsoft.com/office/drawing/2014/main" id="{239D8572-4B80-43C0-A793-A677B76538B7}"/>
              </a:ext>
            </a:extLst>
          </p:cNvPr>
          <p:cNvSpPr txBox="1">
            <a:spLocks/>
          </p:cNvSpPr>
          <p:nvPr/>
        </p:nvSpPr>
        <p:spPr>
          <a:xfrm>
            <a:off x="5454025" y="460435"/>
            <a:ext cx="4977976" cy="1454051"/>
          </a:xfrm>
          <a:prstGeom prst="rect">
            <a:avLst/>
          </a:prstGeom>
        </p:spPr>
        <p:txBody>
          <a:bodyPr vert="horz" lIns="91440" tIns="45720" rIns="91440" bIns="45720" rtlCol="0" anchor="ctr">
            <a:normAutofit fontScale="85000" lnSpcReduction="10000"/>
          </a:bodyPr>
          <a:lstStyle>
            <a:lvl1pPr algn="l" defTabSz="914377" rtl="0" eaLnBrk="1" latinLnBrk="0" hangingPunct="1">
              <a:lnSpc>
                <a:spcPct val="90000"/>
              </a:lnSpc>
              <a:spcBef>
                <a:spcPct val="0"/>
              </a:spcBef>
              <a:buNone/>
              <a:defRPr sz="4400" b="0" i="0" kern="1200">
                <a:solidFill>
                  <a:srgbClr val="FFBF22"/>
                </a:solidFill>
                <a:latin typeface="Helvetica Neue LT Std 65 Medium" panose="020B0604020202020204" pitchFamily="34" charset="0"/>
                <a:ea typeface="Helvetica Neue Condensed" panose="02000503000000020004" pitchFamily="2" charset="0"/>
                <a:cs typeface="Helvetica Neue Condensed" panose="02000503000000020004" pitchFamily="2" charset="0"/>
              </a:defRPr>
            </a:lvl1p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800" b="1" i="0" u="none" strike="noStrike" kern="1200" cap="none" spc="0" normalizeH="0" baseline="0" noProof="0" dirty="0">
                <a:ln>
                  <a:noFill/>
                </a:ln>
                <a:solidFill>
                  <a:srgbClr val="F0B900"/>
                </a:solidFill>
                <a:effectLst/>
                <a:uLnTx/>
                <a:uFillTx/>
                <a:latin typeface="Helvetica Neue Condensed" panose="02000503000000020004"/>
                <a:ea typeface="+mj-ea"/>
                <a:cs typeface="+mj-cs"/>
              </a:rPr>
              <a:t>New modifications submitted</a:t>
            </a:r>
          </a:p>
        </p:txBody>
      </p:sp>
      <p:pic>
        <p:nvPicPr>
          <p:cNvPr id="5" name="New" descr="Image result for new">
            <a:extLst>
              <a:ext uri="{FF2B5EF4-FFF2-40B4-BE49-F238E27FC236}">
                <a16:creationId xmlns:a16="http://schemas.microsoft.com/office/drawing/2014/main" id="{DB9367DC-8F4E-4CBC-A088-EAA01314A6A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29349" y="2139741"/>
            <a:ext cx="3661831" cy="2598717"/>
          </a:xfrm>
          <a:prstGeom prst="rect">
            <a:avLst/>
          </a:prstGeom>
          <a:noFill/>
          <a:extLst>
            <a:ext uri="{909E8E84-426E-40DD-AFC4-6F175D3DCCD1}">
              <a14:hiddenFill xmlns:a14="http://schemas.microsoft.com/office/drawing/2010/main">
                <a:solidFill>
                  <a:srgbClr val="FFFFFF"/>
                </a:solidFill>
              </a14:hiddenFill>
            </a:ext>
          </a:extLst>
        </p:spPr>
      </p:pic>
      <p:sp>
        <p:nvSpPr>
          <p:cNvPr id="6" name="Title 20">
            <a:extLst>
              <a:ext uri="{FF2B5EF4-FFF2-40B4-BE49-F238E27FC236}">
                <a16:creationId xmlns:a16="http://schemas.microsoft.com/office/drawing/2014/main" id="{82E07708-617F-494B-96D2-84F4EF516508}"/>
              </a:ext>
            </a:extLst>
          </p:cNvPr>
          <p:cNvSpPr txBox="1">
            <a:spLocks/>
          </p:cNvSpPr>
          <p:nvPr/>
        </p:nvSpPr>
        <p:spPr>
          <a:xfrm>
            <a:off x="4954773" y="1775638"/>
            <a:ext cx="6608436" cy="4092294"/>
          </a:xfrm>
          <a:prstGeom prst="rect">
            <a:avLst/>
          </a:prstGeom>
        </p:spPr>
        <p:txBody>
          <a:bodyPr vert="horz" lIns="91440" tIns="45720" rIns="91440" bIns="45720" rtlCol="0" anchor="ctr">
            <a:normAutofit/>
          </a:bodyPr>
          <a:lstStyle>
            <a:lvl1pPr eaLnBrk="1" hangingPunct="1">
              <a:lnSpc>
                <a:spcPct val="80000"/>
              </a:lnSpc>
              <a:defRPr sz="1800" b="1">
                <a:solidFill>
                  <a:schemeClr val="accent1"/>
                </a:solidFill>
                <a:latin typeface="+mj-lt"/>
                <a:ea typeface="+mj-ea"/>
                <a:cs typeface="+mj-cs"/>
              </a:defRPr>
            </a:lvl1pPr>
          </a:lstStyle>
          <a:p>
            <a:pPr marL="514350" lvl="0" indent="-285750" defTabSz="914400">
              <a:lnSpc>
                <a:spcPct val="90000"/>
              </a:lnSpc>
              <a:spcAft>
                <a:spcPts val="600"/>
              </a:spcAft>
              <a:buFont typeface="Arial" panose="020B0604020202020204" pitchFamily="34" charset="0"/>
              <a:buChar char="•"/>
            </a:pPr>
            <a:r>
              <a:rPr kumimoji="0" lang="en-GB" sz="2400" u="none" strike="noStrike" kern="1200" cap="none" spc="0" normalizeH="0" baseline="0" noProof="0" dirty="0">
                <a:ln>
                  <a:noFill/>
                </a:ln>
                <a:solidFill>
                  <a:srgbClr val="FFBF22"/>
                </a:solidFill>
                <a:effectLst/>
                <a:uLnTx/>
                <a:uFillTx/>
                <a:latin typeface="Arial" panose="020B0604020202020204" pitchFamily="34" charset="0"/>
                <a:ea typeface="+mj-ea"/>
                <a:cs typeface="Arial" panose="020B0604020202020204" pitchFamily="34" charset="0"/>
              </a:rPr>
              <a:t>CMP352: </a:t>
            </a:r>
            <a:r>
              <a:rPr lang="en-GB" sz="2400" dirty="0">
                <a:solidFill>
                  <a:srgbClr val="FFBF22"/>
                </a:solidFill>
                <a:latin typeface="Arial" panose="020B0604020202020204" pitchFamily="34" charset="0"/>
                <a:cs typeface="Arial" panose="020B0604020202020204" pitchFamily="34" charset="0"/>
              </a:rPr>
              <a:t>Correction to ‘Revised Indicative Annual TNUoS charge’ formulas in Appendix 2 of CUSC Section 3</a:t>
            </a:r>
          </a:p>
          <a:p>
            <a:pPr marL="228600" marR="0" lvl="0" algn="l" defTabSz="914400" rtl="0" eaLnBrk="1" fontAlgn="auto" latinLnBrk="0" hangingPunct="1">
              <a:lnSpc>
                <a:spcPct val="90000"/>
              </a:lnSpc>
              <a:spcBef>
                <a:spcPts val="0"/>
              </a:spcBef>
              <a:spcAft>
                <a:spcPts val="600"/>
              </a:spcAft>
              <a:buClrTx/>
              <a:buSzTx/>
              <a:tabLst/>
              <a:defRPr/>
            </a:pPr>
            <a:endParaRPr kumimoji="0" lang="en-GB" sz="24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j-ea"/>
              <a:cs typeface="Arial" panose="020B0604020202020204" pitchFamily="34" charset="0"/>
            </a:endParaRPr>
          </a:p>
          <a:p>
            <a:pPr marL="228600" marR="0" lvl="0" indent="0" algn="l" defTabSz="914400" rtl="0" eaLnBrk="1" fontAlgn="auto" latinLnBrk="0" hangingPunct="1">
              <a:lnSpc>
                <a:spcPct val="9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t>
            </a:r>
            <a:r>
              <a:rPr lang="en-GB" dirty="0">
                <a:solidFill>
                  <a:srgbClr val="000000"/>
                </a:solidFill>
                <a:latin typeface="Arial" panose="020B0604020202020204" pitchFamily="34" charset="0"/>
                <a:cs typeface="Arial" panose="020B0604020202020204" pitchFamily="34" charset="0"/>
              </a:rPr>
              <a:t>Grahame Neale</a:t>
            </a: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National Grid ESO</a:t>
            </a:r>
          </a:p>
          <a:p>
            <a:pPr marL="228600" marR="0" lvl="0" indent="0" algn="l"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a:p>
            <a:pPr marL="228600" marR="0" lvl="0" indent="0" algn="l" defTabSz="914400" rtl="0" eaLnBrk="1" fontAlgn="auto" latinLnBrk="0" hangingPunct="1">
              <a:lnSpc>
                <a:spcPct val="90000"/>
              </a:lnSpc>
              <a:spcBef>
                <a:spcPts val="0"/>
              </a:spcBef>
              <a:spcAft>
                <a:spcPts val="600"/>
              </a:spcAft>
              <a:buClrTx/>
              <a:buSzTx/>
              <a:buFontTx/>
              <a:buNone/>
              <a:tabLst/>
              <a:defRPr/>
            </a:pPr>
            <a:endParaRPr kumimoji="0" lang="en-US" sz="2600" b="1" i="0" u="none" strike="noStrike" kern="1200" cap="none" spc="0" normalizeH="0" baseline="0" noProof="0" dirty="0">
              <a:ln>
                <a:noFill/>
              </a:ln>
              <a:solidFill>
                <a:srgbClr val="000000"/>
              </a:solidFill>
              <a:effectLst/>
              <a:uLnTx/>
              <a:uFillTx/>
              <a:latin typeface="Calibri" panose="020F0502020204030204"/>
              <a:ea typeface="+mj-ea"/>
              <a:cs typeface="+mj-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j-ea"/>
              <a:cs typeface="+mj-cs"/>
            </a:endParaRPr>
          </a:p>
          <a:p>
            <a:pPr marL="4572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400" b="1" i="0" u="none" strike="noStrike" kern="1200" cap="none" spc="0" normalizeH="0" baseline="0" noProof="0" dirty="0">
              <a:ln>
                <a:noFill/>
              </a:ln>
              <a:solidFill>
                <a:srgbClr val="000000"/>
              </a:solidFill>
              <a:effectLst/>
              <a:uLnTx/>
              <a:uFillTx/>
              <a:latin typeface="Calibri" panose="020F0502020204030204"/>
              <a:ea typeface="+mj-ea"/>
              <a:cs typeface="+mj-cs"/>
            </a:endParaRPr>
          </a:p>
        </p:txBody>
      </p:sp>
    </p:spTree>
    <p:extLst>
      <p:ext uri="{BB962C8B-B14F-4D97-AF65-F5344CB8AC3E}">
        <p14:creationId xmlns:p14="http://schemas.microsoft.com/office/powerpoint/2010/main" val="1224580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7303" y="204243"/>
            <a:ext cx="8145032" cy="657605"/>
          </a:xfrm>
        </p:spPr>
        <p:txBody>
          <a:bodyPr/>
          <a:lstStyle/>
          <a:p>
            <a:r>
              <a:rPr lang="en-GB" altLang="en-US" sz="3600" b="1" dirty="0"/>
              <a:t>Critical Friend Feedback – CMP352</a:t>
            </a:r>
            <a:endParaRPr lang="en-GB" altLang="en-US" sz="1800" b="1" dirty="0"/>
          </a:p>
        </p:txBody>
      </p:sp>
      <p:sp>
        <p:nvSpPr>
          <p:cNvPr id="3" name="Rectangle 2"/>
          <p:cNvSpPr/>
          <p:nvPr/>
        </p:nvSpPr>
        <p:spPr>
          <a:xfrm>
            <a:off x="217303" y="977735"/>
            <a:ext cx="11521280" cy="379656"/>
          </a:xfrm>
          <a:prstGeom prst="rect">
            <a:avLst/>
          </a:prstGeom>
        </p:spPr>
        <p:txBody>
          <a:bodyPr wrap="square" anchor="t">
            <a:spAutoFit/>
          </a:bodyPr>
          <a:lstStyle/>
          <a:p>
            <a:pPr marL="0" marR="0" lvl="0" indent="-249265" algn="just"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l" defTabSz="554478" rtl="0" eaLnBrk="1" fontAlgn="auto" latinLnBrk="0" hangingPunct="1">
              <a:lnSpc>
                <a:spcPct val="100000"/>
              </a:lnSpc>
              <a:spcBef>
                <a:spcPts val="0"/>
              </a:spcBef>
              <a:spcAft>
                <a:spcPts val="0"/>
              </a:spcAft>
              <a:buClrTx/>
              <a:buSzTx/>
              <a:buFontTx/>
              <a:buNone/>
              <a:tabLst/>
              <a:defRPr/>
            </a:pPr>
            <a:endParaRPr kumimoji="0" lang="en-GB" altLang="en-US" sz="267" b="0" i="0" u="none" strike="noStrike" kern="1200" cap="none" spc="0" normalizeH="0" baseline="0" noProof="0" dirty="0">
              <a:ln>
                <a:noFill/>
              </a:ln>
              <a:solidFill>
                <a:srgbClr val="454545"/>
              </a:solidFill>
              <a:effectLst/>
              <a:uLnTx/>
              <a:uFillTx/>
              <a:latin typeface="Arial" panose="020B0604020202020204"/>
              <a:ea typeface="+mn-ea"/>
              <a:cs typeface="+mn-cs"/>
            </a:endParaRPr>
          </a:p>
        </p:txBody>
      </p:sp>
      <p:graphicFrame>
        <p:nvGraphicFramePr>
          <p:cNvPr id="5" name="Table 4">
            <a:extLst>
              <a:ext uri="{FF2B5EF4-FFF2-40B4-BE49-F238E27FC236}">
                <a16:creationId xmlns:a16="http://schemas.microsoft.com/office/drawing/2014/main" id="{BE571A63-DADC-44E7-B2AC-025B4F43597B}"/>
              </a:ext>
            </a:extLst>
          </p:cNvPr>
          <p:cNvGraphicFramePr>
            <a:graphicFrameLocks noGrp="1"/>
          </p:cNvGraphicFramePr>
          <p:nvPr>
            <p:extLst>
              <p:ext uri="{D42A27DB-BD31-4B8C-83A1-F6EECF244321}">
                <p14:modId xmlns:p14="http://schemas.microsoft.com/office/powerpoint/2010/main" val="1677635573"/>
              </p:ext>
            </p:extLst>
          </p:nvPr>
        </p:nvGraphicFramePr>
        <p:xfrm>
          <a:off x="356663" y="946798"/>
          <a:ext cx="11521279" cy="4475807"/>
        </p:xfrm>
        <a:graphic>
          <a:graphicData uri="http://schemas.openxmlformats.org/drawingml/2006/table">
            <a:tbl>
              <a:tblPr firstRow="1" bandRow="1">
                <a:tableStyleId>{5C22544A-7EE6-4342-B048-85BDC9FD1C3A}</a:tableStyleId>
              </a:tblPr>
              <a:tblGrid>
                <a:gridCol w="5438545">
                  <a:extLst>
                    <a:ext uri="{9D8B030D-6E8A-4147-A177-3AD203B41FA5}">
                      <a16:colId xmlns:a16="http://schemas.microsoft.com/office/drawing/2014/main" val="2500286265"/>
                    </a:ext>
                  </a:extLst>
                </a:gridCol>
                <a:gridCol w="6082734">
                  <a:extLst>
                    <a:ext uri="{9D8B030D-6E8A-4147-A177-3AD203B41FA5}">
                      <a16:colId xmlns:a16="http://schemas.microsoft.com/office/drawing/2014/main" val="477721536"/>
                    </a:ext>
                  </a:extLst>
                </a:gridCol>
              </a:tblGrid>
              <a:tr h="710962">
                <a:tc>
                  <a:txBody>
                    <a:bodyPr/>
                    <a:lstStyle/>
                    <a:p>
                      <a:r>
                        <a:rPr lang="en-GB" baseline="0" dirty="0">
                          <a:latin typeface="Arial" panose="020B0604020202020204" pitchFamily="34" charset="0"/>
                          <a:cs typeface="Arial" panose="020B0604020202020204" pitchFamily="34" charset="0"/>
                        </a:rPr>
                        <a:t>Code Administrator comments</a:t>
                      </a:r>
                      <a:endParaRPr lang="en-US" dirty="0">
                        <a:latin typeface="Arial" panose="020B0604020202020204" pitchFamily="34" charset="0"/>
                        <a:cs typeface="Arial" panose="020B0604020202020204" pitchFamily="34" charset="0"/>
                      </a:endParaRPr>
                    </a:p>
                  </a:txBody>
                  <a:tcPr/>
                </a:tc>
                <a:tc>
                  <a:txBody>
                    <a:bodyPr/>
                    <a:lstStyle/>
                    <a:p>
                      <a:r>
                        <a:rPr lang="en-GB" dirty="0">
                          <a:latin typeface="Arial" panose="020B0604020202020204" pitchFamily="34" charset="0"/>
                          <a:cs typeface="Arial" panose="020B0604020202020204" pitchFamily="34" charset="0"/>
                        </a:rPr>
                        <a:t>Amendments made by the Proposer</a:t>
                      </a:r>
                      <a:endParaRPr lang="en-US"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78333255"/>
                  </a:ext>
                </a:extLst>
              </a:tr>
              <a:tr h="3764845">
                <a:tc>
                  <a:txBody>
                    <a:bodyPr/>
                    <a:lstStyle/>
                    <a:p>
                      <a:pPr marL="0" indent="0">
                        <a:buFont typeface="Wingdings" panose="05000000000000000000" pitchFamily="2" charset="2"/>
                        <a:buNone/>
                      </a:pPr>
                      <a:r>
                        <a:rPr lang="en-GB" sz="1800" baseline="0" dirty="0">
                          <a:latin typeface="Arial" panose="020B0604020202020204" pitchFamily="34" charset="0"/>
                          <a:cs typeface="Arial" panose="020B0604020202020204" pitchFamily="34" charset="0"/>
                        </a:rPr>
                        <a:t>Justification on the Fast Track Self- Governance route</a:t>
                      </a:r>
                    </a:p>
                    <a:p>
                      <a:pPr marL="0" indent="0">
                        <a:buFont typeface="Wingdings" panose="05000000000000000000" pitchFamily="2" charset="2"/>
                        <a:buNone/>
                      </a:pPr>
                      <a:endParaRPr lang="en-GB" sz="1800" baseline="0" dirty="0">
                        <a:latin typeface="Arial" panose="020B0604020202020204" pitchFamily="34" charset="0"/>
                        <a:cs typeface="Arial" panose="020B0604020202020204" pitchFamily="34" charset="0"/>
                      </a:endParaRPr>
                    </a:p>
                    <a:p>
                      <a:pPr marL="0" indent="0">
                        <a:buFont typeface="Wingdings" panose="05000000000000000000" pitchFamily="2" charset="2"/>
                        <a:buNone/>
                      </a:pPr>
                      <a:r>
                        <a:rPr lang="en-GB" sz="1800" baseline="0" dirty="0">
                          <a:latin typeface="Arial" panose="020B0604020202020204" pitchFamily="34" charset="0"/>
                          <a:cs typeface="Arial" panose="020B0604020202020204" pitchFamily="34" charset="0"/>
                        </a:rPr>
                        <a:t>Amendments to implementation date/approach </a:t>
                      </a:r>
                    </a:p>
                  </a:txBody>
                  <a:tcPr/>
                </a:tc>
                <a:tc>
                  <a:txBody>
                    <a:body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aseline="0" dirty="0">
                          <a:latin typeface="Arial" panose="020B0604020202020204" pitchFamily="34" charset="0"/>
                          <a:cs typeface="Arial" panose="020B0604020202020204" pitchFamily="34" charset="0"/>
                        </a:rPr>
                        <a:t>Proposer accepted all amendments made by the Code Administrator </a:t>
                      </a:r>
                    </a:p>
                  </a:txBody>
                  <a:tcPr/>
                </a:tc>
                <a:extLst>
                  <a:ext uri="{0D108BD9-81ED-4DB2-BD59-A6C34878D82A}">
                    <a16:rowId xmlns:a16="http://schemas.microsoft.com/office/drawing/2014/main" val="3453892812"/>
                  </a:ext>
                </a:extLst>
              </a:tr>
            </a:tbl>
          </a:graphicData>
        </a:graphic>
      </p:graphicFrame>
    </p:spTree>
    <p:extLst>
      <p:ext uri="{BB962C8B-B14F-4D97-AF65-F5344CB8AC3E}">
        <p14:creationId xmlns:p14="http://schemas.microsoft.com/office/powerpoint/2010/main" val="11786878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5689A-C375-43FA-9B00-7F6913C5DC6D}"/>
              </a:ext>
            </a:extLst>
          </p:cNvPr>
          <p:cNvSpPr>
            <a:spLocks noGrp="1"/>
          </p:cNvSpPr>
          <p:nvPr>
            <p:ph type="title"/>
          </p:nvPr>
        </p:nvSpPr>
        <p:spPr/>
        <p:txBody>
          <a:bodyPr/>
          <a:lstStyle/>
          <a:p>
            <a:r>
              <a:rPr lang="en-GB" dirty="0"/>
              <a:t>What’s the issue</a:t>
            </a:r>
          </a:p>
        </p:txBody>
      </p:sp>
      <p:sp>
        <p:nvSpPr>
          <p:cNvPr id="10" name="Text Placeholder 9">
            <a:extLst>
              <a:ext uri="{FF2B5EF4-FFF2-40B4-BE49-F238E27FC236}">
                <a16:creationId xmlns:a16="http://schemas.microsoft.com/office/drawing/2014/main" id="{16E55317-8425-4743-803D-B757134B2595}"/>
              </a:ext>
            </a:extLst>
          </p:cNvPr>
          <p:cNvSpPr>
            <a:spLocks noGrp="1"/>
          </p:cNvSpPr>
          <p:nvPr>
            <p:ph type="body" sz="quarter" idx="16"/>
          </p:nvPr>
        </p:nvSpPr>
        <p:spPr>
          <a:xfrm>
            <a:off x="432000" y="1416667"/>
            <a:ext cx="11424641" cy="5109091"/>
          </a:xfrm>
        </p:spPr>
        <p:txBody>
          <a:bodyPr/>
          <a:lstStyle/>
          <a:p>
            <a:pPr lvl="2"/>
            <a:r>
              <a:rPr lang="en-GB" dirty="0"/>
              <a:t>CUSC allows Suppliers to revise their Demand Forecast (that’s used for </a:t>
            </a:r>
            <a:r>
              <a:rPr lang="en-GB" dirty="0" err="1"/>
              <a:t>TNUoS</a:t>
            </a:r>
            <a:r>
              <a:rPr lang="en-GB" dirty="0"/>
              <a:t> charging) in response to significant changes in Demand. This is so these changes in Demand do not affect the Supplier’s Forecasting Performance. This is described in CUSC Section 3.23.7 and 3.23.8</a:t>
            </a:r>
          </a:p>
          <a:p>
            <a:pPr lvl="2"/>
            <a:r>
              <a:rPr lang="en-GB" dirty="0"/>
              <a:t>Point 5 and 8 in Appendix 2 of CUSC Section 3 states the formula under which the above changes are made</a:t>
            </a:r>
          </a:p>
          <a:p>
            <a:pPr lvl="2"/>
            <a:r>
              <a:rPr lang="en-GB" dirty="0"/>
              <a:t>These formulas do not function mathematically and therefore do not deliver the intent of CUSC.</a:t>
            </a:r>
          </a:p>
          <a:p>
            <a:pPr lvl="2"/>
            <a:r>
              <a:rPr lang="en-GB" dirty="0"/>
              <a:t>NGESO believe this error has existing since the introduction of CUSC. These provisions are very rarely used however NGESO have had some enquiries recently about these provisions.</a:t>
            </a:r>
          </a:p>
          <a:p>
            <a:pPr lvl="8"/>
            <a:r>
              <a:rPr lang="en-GB" dirty="0"/>
              <a:t>CMP352 looks to correct these formulas so they can function as intended</a:t>
            </a:r>
          </a:p>
          <a:p>
            <a:pPr lvl="5"/>
            <a:endParaRPr lang="en-GB" dirty="0"/>
          </a:p>
        </p:txBody>
      </p:sp>
    </p:spTree>
    <p:extLst>
      <p:ext uri="{BB962C8B-B14F-4D97-AF65-F5344CB8AC3E}">
        <p14:creationId xmlns:p14="http://schemas.microsoft.com/office/powerpoint/2010/main" val="27660331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Ed7XcCgTKWp151G8zpH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Ed7XcCgTKWp151G8zpHQ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MUorbDdSAu9Ug.6zw4z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nQNXCMlRA6fye2uUelQ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kfJHKLHS0ith1u8hhZm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GkBBpfMSDGnyl0KoZfC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kcUtaKmTeSmKeWci.bb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kcUtaKmTeSmKeWci.bb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j2jMQE8SuKcUMrnPOMaeQ"/>
</p:tagLst>
</file>

<file path=ppt/theme/theme1.xml><?xml version="1.0" encoding="utf-8"?>
<a:theme xmlns:a="http://schemas.openxmlformats.org/drawingml/2006/main" name="Office Theme">
  <a:themeElements>
    <a:clrScheme name="Custom 1">
      <a:dk1>
        <a:srgbClr val="000000"/>
      </a:dk1>
      <a:lt1>
        <a:srgbClr val="FFFFFF"/>
      </a:lt1>
      <a:dk2>
        <a:srgbClr val="44546A"/>
      </a:dk2>
      <a:lt2>
        <a:srgbClr val="E7E6E6"/>
      </a:lt2>
      <a:accent1>
        <a:srgbClr val="F0B900"/>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sz="3600" b="0" i="0" dirty="0" smtClean="0">
            <a:solidFill>
              <a:schemeClr val="bg1"/>
            </a:solidFill>
            <a:latin typeface="Helvetica Neue Light" panose="02000403000000020004" pitchFamily="2" charset="0"/>
            <a:ea typeface="Helvetica Neue Light" panose="02000403000000020004"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Office Theme">
  <a:themeElements>
    <a:clrScheme name="Custom 1">
      <a:dk1>
        <a:srgbClr val="000000"/>
      </a:dk1>
      <a:lt1>
        <a:srgbClr val="FFFFFF"/>
      </a:lt1>
      <a:dk2>
        <a:srgbClr val="44546A"/>
      </a:dk2>
      <a:lt2>
        <a:srgbClr val="E7E6E6"/>
      </a:lt2>
      <a:accent1>
        <a:srgbClr val="F0B900"/>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sz="3600" b="0" i="0" dirty="0" smtClean="0">
            <a:solidFill>
              <a:schemeClr val="bg1"/>
            </a:solidFill>
            <a:latin typeface="Helvetica Neue Light" panose="02000403000000020004" pitchFamily="2" charset="0"/>
            <a:ea typeface="Helvetica Neue Light" panose="02000403000000020004"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Office Theme">
  <a:themeElements>
    <a:clrScheme name="Custom 12">
      <a:dk1>
        <a:srgbClr val="454545"/>
      </a:dk1>
      <a:lt1>
        <a:sysClr val="window" lastClr="FFFFFF"/>
      </a:lt1>
      <a:dk2>
        <a:srgbClr val="727274"/>
      </a:dk2>
      <a:lt2>
        <a:srgbClr val="ACACAE"/>
      </a:lt2>
      <a:accent1>
        <a:srgbClr val="F26522"/>
      </a:accent1>
      <a:accent2>
        <a:srgbClr val="0079C1"/>
      </a:accent2>
      <a:accent3>
        <a:srgbClr val="5BCBF5"/>
      </a:accent3>
      <a:accent4>
        <a:srgbClr val="C2CD23"/>
      </a:accent4>
      <a:accent5>
        <a:srgbClr val="6A2C91"/>
      </a:accent5>
      <a:accent6>
        <a:srgbClr val="FFBF22"/>
      </a:accent6>
      <a:hlink>
        <a:srgbClr val="FFBF22"/>
      </a:hlink>
      <a:folHlink>
        <a:srgbClr val="FFBF2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olidFill>
        </a:ln>
      </a:spPr>
      <a:bodyPr wrap="square" lIns="0" tIns="0" rIns="0" bIns="0" rtlCol="0" anchor="ctr">
        <a:noAutofit/>
      </a:bodyPr>
      <a:lstStyle>
        <a:defPPr algn="ctr">
          <a:defRPr sz="1600" b="0" i="0" dirty="0" smtClean="0">
            <a:cs typeface="Helvetica" charset="0"/>
          </a:defRPr>
        </a:defPPr>
      </a:lst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Presentation2" id="{90A02606-5834-45DB-A316-77EE0BD6FAFA}" vid="{2B876F8A-9D56-494A-981E-8B7D09CDE914}"/>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rsted">
  <a:themeElements>
    <a:clrScheme name="Orsted">
      <a:dk1>
        <a:srgbClr val="000000"/>
      </a:dk1>
      <a:lt1>
        <a:srgbClr val="FFFFFF"/>
      </a:lt1>
      <a:dk2>
        <a:srgbClr val="3B4956"/>
      </a:dk2>
      <a:lt2>
        <a:srgbClr val="F5F6F7"/>
      </a:lt2>
      <a:accent1>
        <a:srgbClr val="4099DA"/>
      </a:accent1>
      <a:accent2>
        <a:srgbClr val="8ECDC8"/>
      </a:accent2>
      <a:accent3>
        <a:srgbClr val="644C76"/>
      </a:accent3>
      <a:accent4>
        <a:srgbClr val="D8D1CA"/>
      </a:accent4>
      <a:accent5>
        <a:srgbClr val="B7ADA5"/>
      </a:accent5>
      <a:accent6>
        <a:srgbClr val="99A4AE"/>
      </a:accent6>
      <a:hlink>
        <a:srgbClr val="4099DA"/>
      </a:hlink>
      <a:folHlink>
        <a:srgbClr val="4099DA"/>
      </a:folHlink>
    </a:clrScheme>
    <a:fontScheme name="Orsted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96000"/>
          </a:lnSpc>
          <a:defRPr sz="1300" noProof="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6000"/>
          </a:lnSpc>
          <a:spcBef>
            <a:spcPts val="1800"/>
          </a:spcBef>
          <a:defRPr sz="1300" dirty="0" smtClean="0">
            <a:solidFill>
              <a:schemeClr val="tx2"/>
            </a:solidFill>
          </a:defRPr>
        </a:defPPr>
      </a:lstStyle>
    </a:txDef>
  </a:objectDefaults>
  <a:extraClrSchemeLst/>
  <a:extLst>
    <a:ext uri="{05A4C25C-085E-4340-85A3-A5531E510DB2}">
      <thm15:themeFamily xmlns:thm15="http://schemas.microsoft.com/office/thememl/2012/main" name="16-9 Landscape Arial.potx" id="{0561035E-5CB3-4856-ABCE-8EBAD0463BD9}" vid="{7F2A9425-F1B4-4DF1-846A-F024CA7A0C1B}"/>
    </a:ext>
  </a:extLst>
</a:theme>
</file>

<file path=ppt/theme/theme3.xml><?xml version="1.0" encoding="utf-8"?>
<a:theme xmlns:a="http://schemas.openxmlformats.org/drawingml/2006/main" name="FirstSlid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resentationOfgem201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PresentationOfgem2015">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Office Theme">
  <a:themeElements>
    <a:clrScheme name="Custom 12">
      <a:dk1>
        <a:srgbClr val="454545"/>
      </a:dk1>
      <a:lt1>
        <a:sysClr val="window" lastClr="FFFFFF"/>
      </a:lt1>
      <a:dk2>
        <a:srgbClr val="727274"/>
      </a:dk2>
      <a:lt2>
        <a:srgbClr val="ACACAE"/>
      </a:lt2>
      <a:accent1>
        <a:srgbClr val="F26522"/>
      </a:accent1>
      <a:accent2>
        <a:srgbClr val="0079C1"/>
      </a:accent2>
      <a:accent3>
        <a:srgbClr val="5BCBF5"/>
      </a:accent3>
      <a:accent4>
        <a:srgbClr val="C2CD23"/>
      </a:accent4>
      <a:accent5>
        <a:srgbClr val="6A2C91"/>
      </a:accent5>
      <a:accent6>
        <a:srgbClr val="FFBF22"/>
      </a:accent6>
      <a:hlink>
        <a:srgbClr val="FFBF22"/>
      </a:hlink>
      <a:folHlink>
        <a:srgbClr val="FFBF2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olidFill>
        </a:ln>
      </a:spPr>
      <a:bodyPr wrap="square" lIns="0" tIns="0" rIns="0" bIns="0" rtlCol="0" anchor="ctr">
        <a:noAutofit/>
      </a:bodyPr>
      <a:lstStyle>
        <a:defPPr algn="ctr">
          <a:defRPr sz="1600" b="0" i="0" dirty="0" smtClean="0">
            <a:cs typeface="Helvetica" charset="0"/>
          </a:defRPr>
        </a:defPPr>
      </a:lst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ESO PowerPoint Template_16x9" id="{EC2A9EB9-C553-4533-8816-4607755CA4A0}" vid="{7372FB52-645C-48CB-BA91-663538C78E52}"/>
    </a:ext>
  </a:extLst>
</a:theme>
</file>

<file path=ppt/theme/theme7.xml><?xml version="1.0" encoding="utf-8"?>
<a:theme xmlns:a="http://schemas.openxmlformats.org/drawingml/2006/main" name="3_Office Theme">
  <a:themeElements>
    <a:clrScheme name="Custom 12">
      <a:dk1>
        <a:srgbClr val="454545"/>
      </a:dk1>
      <a:lt1>
        <a:sysClr val="window" lastClr="FFFFFF"/>
      </a:lt1>
      <a:dk2>
        <a:srgbClr val="727274"/>
      </a:dk2>
      <a:lt2>
        <a:srgbClr val="ACACAE"/>
      </a:lt2>
      <a:accent1>
        <a:srgbClr val="F26522"/>
      </a:accent1>
      <a:accent2>
        <a:srgbClr val="0079C1"/>
      </a:accent2>
      <a:accent3>
        <a:srgbClr val="5BCBF5"/>
      </a:accent3>
      <a:accent4>
        <a:srgbClr val="C2CD23"/>
      </a:accent4>
      <a:accent5>
        <a:srgbClr val="6A2C91"/>
      </a:accent5>
      <a:accent6>
        <a:srgbClr val="FFBF22"/>
      </a:accent6>
      <a:hlink>
        <a:srgbClr val="FFBF22"/>
      </a:hlink>
      <a:folHlink>
        <a:srgbClr val="FFBF2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olidFill>
        </a:ln>
      </a:spPr>
      <a:bodyPr wrap="square" lIns="0" tIns="0" rIns="0" bIns="0" rtlCol="0" anchor="ctr">
        <a:noAutofit/>
      </a:bodyPr>
      <a:lstStyle>
        <a:defPPr algn="ctr">
          <a:defRPr sz="1600" b="0" i="0" dirty="0" smtClean="0">
            <a:cs typeface="Helvetica" charset="0"/>
          </a:defRPr>
        </a:defPPr>
      </a:lst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ESO PowerPoint Template_16x9 [Read-Only]" id="{78972930-32E4-45E2-A6EA-B2C56DDEA950}" vid="{18E34579-71EB-4F83-ABBF-F01045F724C2}"/>
    </a:ext>
  </a:extLst>
</a:theme>
</file>

<file path=ppt/theme/theme8.xml><?xml version="1.0" encoding="utf-8"?>
<a:theme xmlns:a="http://schemas.openxmlformats.org/drawingml/2006/main" name="2_Office Theme">
  <a:themeElements>
    <a:clrScheme name="Custom 12">
      <a:dk1>
        <a:srgbClr val="454545"/>
      </a:dk1>
      <a:lt1>
        <a:sysClr val="window" lastClr="FFFFFF"/>
      </a:lt1>
      <a:dk2>
        <a:srgbClr val="727274"/>
      </a:dk2>
      <a:lt2>
        <a:srgbClr val="ACACAE"/>
      </a:lt2>
      <a:accent1>
        <a:srgbClr val="F26522"/>
      </a:accent1>
      <a:accent2>
        <a:srgbClr val="0079C1"/>
      </a:accent2>
      <a:accent3>
        <a:srgbClr val="5BCBF5"/>
      </a:accent3>
      <a:accent4>
        <a:srgbClr val="C2CD23"/>
      </a:accent4>
      <a:accent5>
        <a:srgbClr val="6A2C91"/>
      </a:accent5>
      <a:accent6>
        <a:srgbClr val="FFBF22"/>
      </a:accent6>
      <a:hlink>
        <a:srgbClr val="FFBF22"/>
      </a:hlink>
      <a:folHlink>
        <a:srgbClr val="FFBF2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accent1"/>
          </a:solidFill>
        </a:ln>
      </a:spPr>
      <a:bodyPr wrap="square" lIns="0" tIns="0" rIns="0" bIns="0" rtlCol="0" anchor="ctr">
        <a:noAutofit/>
      </a:bodyPr>
      <a:lstStyle>
        <a:defPPr algn="ctr">
          <a:defRPr sz="1600" b="0" i="0" dirty="0" smtClean="0">
            <a:cs typeface="Helvetica" charset="0"/>
          </a:defRPr>
        </a:defPPr>
      </a:lst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ESO PowerPoint Template_16x9 [Read-Only]" id="{555EBCBA-0525-4C1D-AB08-C150EB6B74ED}" vid="{0AC6A0BD-E710-44F5-BF72-67516B2373D8}"/>
    </a:ext>
  </a:extLst>
</a:theme>
</file>

<file path=ppt/theme/theme9.xml><?xml version="1.0" encoding="utf-8"?>
<a:theme xmlns:a="http://schemas.openxmlformats.org/drawingml/2006/main" name="4_Office Theme">
  <a:themeElements>
    <a:clrScheme name="Custom 1">
      <a:dk1>
        <a:srgbClr val="000000"/>
      </a:dk1>
      <a:lt1>
        <a:srgbClr val="FFFFFF"/>
      </a:lt1>
      <a:dk2>
        <a:srgbClr val="44546A"/>
      </a:dk2>
      <a:lt2>
        <a:srgbClr val="E7E6E6"/>
      </a:lt2>
      <a:accent1>
        <a:srgbClr val="F0B900"/>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lstStyle>
        <a:defPPr algn="l">
          <a:defRPr sz="3600" b="0" i="0" dirty="0" smtClean="0">
            <a:solidFill>
              <a:schemeClr val="bg1"/>
            </a:solidFill>
            <a:latin typeface="Helvetica Neue Light" panose="02000403000000020004" pitchFamily="2" charset="0"/>
            <a:ea typeface="Helvetica Neue Light" panose="02000403000000020004"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97b6fe81-1556-4112-94ca-31043ca39b71">
      <UserInfo>
        <DisplayName>Rivalland (ESO), Jessica</DisplayName>
        <AccountId>49</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95E1BDC5029614ABF43223A464FD248" ma:contentTypeVersion="12" ma:contentTypeDescription="Create a new document." ma:contentTypeScope="" ma:versionID="4b53638bea34a38d749e5d1ad7dcb647">
  <xsd:schema xmlns:xsd="http://www.w3.org/2001/XMLSchema" xmlns:xs="http://www.w3.org/2001/XMLSchema" xmlns:p="http://schemas.microsoft.com/office/2006/metadata/properties" xmlns:ns2="f71abe4e-f5ff-49cd-8eff-5f4949acc510" xmlns:ns3="97b6fe81-1556-4112-94ca-31043ca39b71" targetNamespace="http://schemas.microsoft.com/office/2006/metadata/properties" ma:root="true" ma:fieldsID="5fde6207ad4f461e79c1ad85c02ad47f" ns2:_="" ns3:_="">
    <xsd:import namespace="f71abe4e-f5ff-49cd-8eff-5f4949acc510"/>
    <xsd:import namespace="97b6fe81-1556-4112-94ca-31043ca39b7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abe4e-f5ff-49cd-8eff-5f4949acc5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b6fe81-1556-4112-94ca-31043ca39b7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B36002-CCFD-4C5D-814A-FF8D96969B7A}">
  <ds:schemaRefs>
    <ds:schemaRef ds:uri="http://purl.org/dc/terms/"/>
    <ds:schemaRef ds:uri="http://schemas.microsoft.com/office/2006/documentManagement/types"/>
    <ds:schemaRef ds:uri="http://schemas.microsoft.com/office/2006/metadata/properties"/>
    <ds:schemaRef ds:uri="http://purl.org/dc/elements/1.1/"/>
    <ds:schemaRef ds:uri="f71abe4e-f5ff-49cd-8eff-5f4949acc510"/>
    <ds:schemaRef ds:uri="http://schemas.microsoft.com/office/infopath/2007/PartnerControls"/>
    <ds:schemaRef ds:uri="http://schemas.openxmlformats.org/package/2006/metadata/core-properties"/>
    <ds:schemaRef ds:uri="97b6fe81-1556-4112-94ca-31043ca39b71"/>
    <ds:schemaRef ds:uri="http://www.w3.org/XML/1998/namespace"/>
    <ds:schemaRef ds:uri="http://purl.org/dc/dcmitype/"/>
  </ds:schemaRefs>
</ds:datastoreItem>
</file>

<file path=customXml/itemProps2.xml><?xml version="1.0" encoding="utf-8"?>
<ds:datastoreItem xmlns:ds="http://schemas.openxmlformats.org/officeDocument/2006/customXml" ds:itemID="{7892AB2D-6968-43B8-803A-5FE3C7FDA1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abe4e-f5ff-49cd-8eff-5f4949acc510"/>
    <ds:schemaRef ds:uri="97b6fe81-1556-4112-94ca-31043ca39b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26808D-2B4C-4333-ABB4-74F13E7BF81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839</TotalTime>
  <Words>4725</Words>
  <Application>Microsoft Office PowerPoint</Application>
  <PresentationFormat>Widescreen</PresentationFormat>
  <Paragraphs>673</Paragraphs>
  <Slides>55</Slides>
  <Notes>7</Notes>
  <HiddenSlides>0</HiddenSlides>
  <MMClips>0</MMClips>
  <ScaleCrop>false</ScaleCrop>
  <HeadingPairs>
    <vt:vector size="8" baseType="variant">
      <vt:variant>
        <vt:lpstr>Fonts Used</vt:lpstr>
      </vt:variant>
      <vt:variant>
        <vt:i4>27</vt:i4>
      </vt:variant>
      <vt:variant>
        <vt:lpstr>Theme</vt:lpstr>
      </vt:variant>
      <vt:variant>
        <vt:i4>12</vt:i4>
      </vt:variant>
      <vt:variant>
        <vt:lpstr>Embedded OLE Servers</vt:lpstr>
      </vt:variant>
      <vt:variant>
        <vt:i4>1</vt:i4>
      </vt:variant>
      <vt:variant>
        <vt:lpstr>Slide Titles</vt:lpstr>
      </vt:variant>
      <vt:variant>
        <vt:i4>55</vt:i4>
      </vt:variant>
    </vt:vector>
  </HeadingPairs>
  <TitlesOfParts>
    <vt:vector size="95" baseType="lpstr">
      <vt:lpstr>Arial</vt:lpstr>
      <vt:lpstr>Calibri</vt:lpstr>
      <vt:lpstr>Calibri Light</vt:lpstr>
      <vt:lpstr>Cambria Math</vt:lpstr>
      <vt:lpstr>Helvetica</vt:lpstr>
      <vt:lpstr>Helvetica Neue Condensed</vt:lpstr>
      <vt:lpstr>Helvetica Neue Light</vt:lpstr>
      <vt:lpstr>Helvetica Neue LT Pro 45 Light</vt:lpstr>
      <vt:lpstr>Helvetica Neue LT Pro 55 Roman</vt:lpstr>
      <vt:lpstr>Helvetica Neue LT Pro 65 Medium</vt:lpstr>
      <vt:lpstr>Helvetica Neue LT Std 35 Thin</vt:lpstr>
      <vt:lpstr>Helvetica Neue LT Std 45 Light</vt:lpstr>
      <vt:lpstr>Helvetica Neue LT Std 55 Roman</vt:lpstr>
      <vt:lpstr>Helvetica Neue LT Std 65 Medium</vt:lpstr>
      <vt:lpstr>Helvetica Neue LT Std 77 Bold C</vt:lpstr>
      <vt:lpstr>Helvetica Neue LT Std 87 Heavy </vt:lpstr>
      <vt:lpstr>Helvetica Neue LT Std 97 Black </vt:lpstr>
      <vt:lpstr>Helvetica Neue Medium</vt:lpstr>
      <vt:lpstr>HelveticaNeueLTPro-Blk</vt:lpstr>
      <vt:lpstr>HelveticaNeueLTPro-Hv</vt:lpstr>
      <vt:lpstr>HelveticaNeueLTPro-Roman</vt:lpstr>
      <vt:lpstr>Orsted Sans Office</vt:lpstr>
      <vt:lpstr>Symbol</vt:lpstr>
      <vt:lpstr>Times New Roman</vt:lpstr>
      <vt:lpstr>Verdana</vt:lpstr>
      <vt:lpstr>Wingdings</vt:lpstr>
      <vt:lpstr>Wingdings 2</vt:lpstr>
      <vt:lpstr>Office Theme</vt:lpstr>
      <vt:lpstr>Orsted</vt:lpstr>
      <vt:lpstr>FirstSlideMaster</vt:lpstr>
      <vt:lpstr>PresentationOfgem2015</vt:lpstr>
      <vt:lpstr>1_PresentationOfgem2015</vt:lpstr>
      <vt:lpstr>1_Office Theme</vt:lpstr>
      <vt:lpstr>3_Office Theme</vt:lpstr>
      <vt:lpstr>2_Office Theme</vt:lpstr>
      <vt:lpstr>4_Office Theme</vt:lpstr>
      <vt:lpstr>5_Office Theme</vt:lpstr>
      <vt:lpstr>6_Office Theme</vt:lpstr>
      <vt:lpstr>7_Office Theme</vt:lpstr>
      <vt:lpstr>think-cell Slide</vt:lpstr>
      <vt:lpstr>Friday 30 October 2020 Online Meeting via Teams</vt:lpstr>
      <vt:lpstr>PowerPoint Presentation</vt:lpstr>
      <vt:lpstr>PowerPoint Presentation</vt:lpstr>
      <vt:lpstr>PowerPoint Presentation</vt:lpstr>
      <vt:lpstr>PowerPoint Presentation</vt:lpstr>
      <vt:lpstr>PowerPoint Presentation</vt:lpstr>
      <vt:lpstr>PowerPoint Presentation</vt:lpstr>
      <vt:lpstr>Critical Friend Feedback – CMP352</vt:lpstr>
      <vt:lpstr>What’s the issue</vt:lpstr>
      <vt:lpstr>An Example (1)</vt:lpstr>
      <vt:lpstr>An Example (2)</vt:lpstr>
      <vt:lpstr>An Example (3)</vt:lpstr>
      <vt:lpstr>What’s the proposed solution</vt:lpstr>
      <vt:lpstr>Justification for Fast Track Self-Governance</vt:lpstr>
      <vt:lpstr>Next steps </vt:lpstr>
      <vt:lpstr>PowerPoint Presentation</vt:lpstr>
      <vt:lpstr>Critical Friend Feedback – CMP353</vt:lpstr>
      <vt:lpstr>Proposer Recommended Governance Route </vt:lpstr>
      <vt:lpstr>Ofgem’s Urgency Criteria</vt:lpstr>
      <vt:lpstr>Proposer’s Justification vs Ofgem’s Urgency Criteria</vt:lpstr>
      <vt:lpstr>Timeline for CMP353 – Proposed Urgent Timeline (Code Administrator Consultation)</vt:lpstr>
      <vt:lpstr>Timeline for CMP353 – Proposed Urgent Timeline (Workgroup)</vt:lpstr>
      <vt:lpstr>Panel Decision and Next Steps</vt:lpstr>
      <vt:lpstr>PowerPoint Presentation</vt:lpstr>
      <vt:lpstr>PowerPoint Presentation</vt:lpstr>
      <vt:lpstr>PowerPoint Presentation</vt:lpstr>
      <vt:lpstr>PowerPoint Presentation</vt:lpstr>
      <vt:lpstr>PowerPoint Presentation</vt:lpstr>
      <vt:lpstr>Asks of Panel (as at 27 October 2020)</vt:lpstr>
      <vt:lpstr>Timeline for CMP344 V2</vt:lpstr>
      <vt:lpstr>Brexit CUSC Changes Katharina Birkner</vt:lpstr>
      <vt:lpstr>Brexit situation and possible outcomes</vt:lpstr>
      <vt:lpstr>CUSC Impact</vt:lpstr>
      <vt:lpstr>Legal Text highlights</vt:lpstr>
      <vt:lpstr>PowerPoint Presentation</vt:lpstr>
      <vt:lpstr>Prioritisation Principles</vt:lpstr>
      <vt:lpstr>BREAK</vt:lpstr>
      <vt:lpstr>PowerPoint Presentation</vt:lpstr>
      <vt:lpstr>CMP300 Background</vt:lpstr>
      <vt:lpstr>CMP300 Solutions</vt:lpstr>
      <vt:lpstr>CMP300 Terms of Reference</vt:lpstr>
      <vt:lpstr>CMP300 Next Ste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itical Friend Feedback</vt:lpstr>
      <vt:lpstr>PowerPoint Presentation</vt:lpstr>
      <vt:lpstr>PowerPoint Presentation</vt:lpstr>
      <vt:lpstr>Next Panel Meeting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ursday 28 May 2020 Online Meeting via WebEx</dc:title>
  <dc:creator>Ahmed (ESO), Nisar</dc:creator>
  <cp:lastModifiedBy>Mullen (ESO), Paul J</cp:lastModifiedBy>
  <cp:revision>134</cp:revision>
  <dcterms:created xsi:type="dcterms:W3CDTF">2020-06-17T10:03:35Z</dcterms:created>
  <dcterms:modified xsi:type="dcterms:W3CDTF">2020-10-29T15:1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5E1BDC5029614ABF43223A464FD248</vt:lpwstr>
  </property>
</Properties>
</file>